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19" r:id="rId5"/>
    <p:sldMasterId id="2147483732" r:id="rId6"/>
  </p:sldMasterIdLst>
  <p:notesMasterIdLst>
    <p:notesMasterId r:id="rId32"/>
  </p:notesMasterIdLst>
  <p:handoutMasterIdLst>
    <p:handoutMasterId r:id="rId33"/>
  </p:handoutMasterIdLst>
  <p:sldIdLst>
    <p:sldId id="1062" r:id="rId7"/>
    <p:sldId id="748" r:id="rId8"/>
    <p:sldId id="785" r:id="rId9"/>
    <p:sldId id="1139" r:id="rId10"/>
    <p:sldId id="1228" r:id="rId11"/>
    <p:sldId id="1230" r:id="rId12"/>
    <p:sldId id="1223" r:id="rId13"/>
    <p:sldId id="1074" r:id="rId14"/>
    <p:sldId id="1065" r:id="rId15"/>
    <p:sldId id="1067" r:id="rId16"/>
    <p:sldId id="1068" r:id="rId17"/>
    <p:sldId id="1144" r:id="rId18"/>
    <p:sldId id="1151" r:id="rId19"/>
    <p:sldId id="1224" r:id="rId20"/>
    <p:sldId id="1234" r:id="rId21"/>
    <p:sldId id="1235" r:id="rId22"/>
    <p:sldId id="1236" r:id="rId23"/>
    <p:sldId id="1237" r:id="rId24"/>
    <p:sldId id="1238" r:id="rId25"/>
    <p:sldId id="1239" r:id="rId26"/>
    <p:sldId id="1225" r:id="rId27"/>
    <p:sldId id="1232" r:id="rId28"/>
    <p:sldId id="1233" r:id="rId29"/>
    <p:sldId id="1226" r:id="rId30"/>
    <p:sldId id="629" r:id="rId31"/>
  </p:sldIdLst>
  <p:sldSz cx="9144000" cy="6858000" type="screen4x3"/>
  <p:notesSz cx="6797675" cy="9926638"/>
  <p:custDataLst>
    <p:tags r:id="rId3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3" pos="204" userDrawn="1">
          <p15:clr>
            <a:srgbClr val="A4A3A4"/>
          </p15:clr>
        </p15:guide>
        <p15:guide id="4" orient="horz" pos="4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URMAUD Jean Yves" initials="BJY" lastIdx="40" clrIdx="0">
    <p:extLst/>
  </p:cmAuthor>
  <p:cmAuthor id="2" name="RTE" initials="RTE" lastIdx="2" clrIdx="1">
    <p:extLst/>
  </p:cmAuthor>
  <p:cmAuthor id="3" name="Alexei Blokhine" initials="AB" lastIdx="16" clrIdx="2">
    <p:extLst/>
  </p:cmAuthor>
  <p:cmAuthor id="4" name="Antoine de Veyrac" initials="AdV" lastIdx="15" clrIdx="3">
    <p:extLst/>
  </p:cmAuthor>
  <p:cmAuthor id="5" name="andy" initials="a" lastIdx="2" clrIdx="4"/>
  <p:cmAuthor id="6" name="Alexander Koistinen" initials="AK" lastIdx="2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7CE"/>
    <a:srgbClr val="DCE6F2"/>
    <a:srgbClr val="C00000"/>
    <a:srgbClr val="F9F9F9"/>
    <a:srgbClr val="DDE9F7"/>
    <a:srgbClr val="F71DA9"/>
    <a:srgbClr val="FBFBFB"/>
    <a:srgbClr val="FAFAFA"/>
    <a:srgbClr val="FFFFFF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531" autoAdjust="0"/>
    <p:restoredTop sz="90239" autoAdjust="0"/>
  </p:normalViewPr>
  <p:slideViewPr>
    <p:cSldViewPr>
      <p:cViewPr varScale="1">
        <p:scale>
          <a:sx n="95" d="100"/>
          <a:sy n="95" d="100"/>
        </p:scale>
        <p:origin x="294" y="72"/>
      </p:cViewPr>
      <p:guideLst>
        <p:guide orient="horz" pos="618"/>
        <p:guide pos="5556"/>
        <p:guide pos="204"/>
        <p:guide orient="horz" pos="40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97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5E5C887A-9579-428A-97CC-1B89700D2C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FF6835E-7208-4A4F-B055-60ED986B7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60024-F653-4C80-97A8-192D29827395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D0A527A-5A1B-4A73-B3E4-B8DB8B9FD1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FE825AD-2778-4650-9246-1EE6596368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753E49-4A7C-41C7-98AF-CF2971B9449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48150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594F8A28-930A-4DAB-B848-AF8ADEC772C0}" type="datetimeFigureOut">
              <a:rPr lang="fr-FR" smtClean="0"/>
              <a:pPr/>
              <a:t>24/06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561334EA-784F-4FAA-A6AE-D362D0EA046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6373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8788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53781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0585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1278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0649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85002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0781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3969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1334EA-784F-4FAA-A6AE-D362D0EA046E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5681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51520" y="1526927"/>
            <a:ext cx="3312368" cy="147002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51520" y="3284984"/>
            <a:ext cx="2736304" cy="1752600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548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251520" y="836712"/>
            <a:ext cx="8640960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" name="Groupe 5"/>
          <p:cNvGrpSpPr/>
          <p:nvPr userDrawn="1"/>
        </p:nvGrpSpPr>
        <p:grpSpPr>
          <a:xfrm>
            <a:off x="3048000" y="990600"/>
            <a:ext cx="4976813" cy="5240426"/>
            <a:chOff x="3048000" y="990600"/>
            <a:chExt cx="4976813" cy="5240426"/>
          </a:xfrm>
        </p:grpSpPr>
        <p:sp>
          <p:nvSpPr>
            <p:cNvPr id="9" name="RS" descr="80%"/>
            <p:cNvSpPr>
              <a:spLocks noChangeAspect="1"/>
            </p:cNvSpPr>
            <p:nvPr/>
          </p:nvSpPr>
          <p:spPr bwMode="auto">
            <a:xfrm>
              <a:off x="6699250" y="4576763"/>
              <a:ext cx="520700" cy="654050"/>
            </a:xfrm>
            <a:custGeom>
              <a:avLst/>
              <a:gdLst>
                <a:gd name="T0" fmla="*/ 152 w 414"/>
                <a:gd name="T1" fmla="*/ 4 h 550"/>
                <a:gd name="T2" fmla="*/ 213 w 414"/>
                <a:gd name="T3" fmla="*/ 1 h 550"/>
                <a:gd name="T4" fmla="*/ 228 w 414"/>
                <a:gd name="T5" fmla="*/ 17 h 550"/>
                <a:gd name="T6" fmla="*/ 237 w 414"/>
                <a:gd name="T7" fmla="*/ 30 h 550"/>
                <a:gd name="T8" fmla="*/ 248 w 414"/>
                <a:gd name="T9" fmla="*/ 82 h 550"/>
                <a:gd name="T10" fmla="*/ 282 w 414"/>
                <a:gd name="T11" fmla="*/ 94 h 550"/>
                <a:gd name="T12" fmla="*/ 297 w 414"/>
                <a:gd name="T13" fmla="*/ 168 h 550"/>
                <a:gd name="T14" fmla="*/ 319 w 414"/>
                <a:gd name="T15" fmla="*/ 188 h 550"/>
                <a:gd name="T16" fmla="*/ 357 w 414"/>
                <a:gd name="T17" fmla="*/ 181 h 550"/>
                <a:gd name="T18" fmla="*/ 384 w 414"/>
                <a:gd name="T19" fmla="*/ 222 h 550"/>
                <a:gd name="T20" fmla="*/ 381 w 414"/>
                <a:gd name="T21" fmla="*/ 256 h 550"/>
                <a:gd name="T22" fmla="*/ 376 w 414"/>
                <a:gd name="T23" fmla="*/ 274 h 550"/>
                <a:gd name="T24" fmla="*/ 387 w 414"/>
                <a:gd name="T25" fmla="*/ 326 h 550"/>
                <a:gd name="T26" fmla="*/ 414 w 414"/>
                <a:gd name="T27" fmla="*/ 347 h 550"/>
                <a:gd name="T28" fmla="*/ 377 w 414"/>
                <a:gd name="T29" fmla="*/ 411 h 550"/>
                <a:gd name="T30" fmla="*/ 373 w 414"/>
                <a:gd name="T31" fmla="*/ 488 h 550"/>
                <a:gd name="T32" fmla="*/ 343 w 414"/>
                <a:gd name="T33" fmla="*/ 505 h 550"/>
                <a:gd name="T34" fmla="*/ 305 w 414"/>
                <a:gd name="T35" fmla="*/ 513 h 550"/>
                <a:gd name="T36" fmla="*/ 259 w 414"/>
                <a:gd name="T37" fmla="*/ 525 h 550"/>
                <a:gd name="T38" fmla="*/ 225 w 414"/>
                <a:gd name="T39" fmla="*/ 501 h 550"/>
                <a:gd name="T40" fmla="*/ 194 w 414"/>
                <a:gd name="T41" fmla="*/ 483 h 550"/>
                <a:gd name="T42" fmla="*/ 171 w 414"/>
                <a:gd name="T43" fmla="*/ 461 h 550"/>
                <a:gd name="T44" fmla="*/ 133 w 414"/>
                <a:gd name="T45" fmla="*/ 461 h 550"/>
                <a:gd name="T46" fmla="*/ 115 w 414"/>
                <a:gd name="T47" fmla="*/ 509 h 550"/>
                <a:gd name="T48" fmla="*/ 16 w 414"/>
                <a:gd name="T49" fmla="*/ 454 h 550"/>
                <a:gd name="T50" fmla="*/ 23 w 414"/>
                <a:gd name="T51" fmla="*/ 402 h 550"/>
                <a:gd name="T52" fmla="*/ 42 w 414"/>
                <a:gd name="T53" fmla="*/ 360 h 550"/>
                <a:gd name="T54" fmla="*/ 69 w 414"/>
                <a:gd name="T55" fmla="*/ 324 h 550"/>
                <a:gd name="T56" fmla="*/ 95 w 414"/>
                <a:gd name="T57" fmla="*/ 287 h 550"/>
                <a:gd name="T58" fmla="*/ 106 w 414"/>
                <a:gd name="T59" fmla="*/ 252 h 550"/>
                <a:gd name="T60" fmla="*/ 107 w 414"/>
                <a:gd name="T61" fmla="*/ 175 h 550"/>
                <a:gd name="T62" fmla="*/ 91 w 414"/>
                <a:gd name="T63" fmla="*/ 112 h 550"/>
                <a:gd name="T64" fmla="*/ 69 w 414"/>
                <a:gd name="T65" fmla="*/ 38 h 550"/>
                <a:gd name="connsiteX0" fmla="*/ 1667 w 10000"/>
                <a:gd name="connsiteY0" fmla="*/ 691 h 10000"/>
                <a:gd name="connsiteX1" fmla="*/ 3671 w 10000"/>
                <a:gd name="connsiteY1" fmla="*/ 73 h 10000"/>
                <a:gd name="connsiteX2" fmla="*/ 4589 w 10000"/>
                <a:gd name="connsiteY2" fmla="*/ 0 h 10000"/>
                <a:gd name="connsiteX3" fmla="*/ 5145 w 10000"/>
                <a:gd name="connsiteY3" fmla="*/ 18 h 10000"/>
                <a:gd name="connsiteX4" fmla="*/ 5338 w 10000"/>
                <a:gd name="connsiteY4" fmla="*/ 145 h 10000"/>
                <a:gd name="connsiteX5" fmla="*/ 5507 w 10000"/>
                <a:gd name="connsiteY5" fmla="*/ 309 h 10000"/>
                <a:gd name="connsiteX6" fmla="*/ 5531 w 10000"/>
                <a:gd name="connsiteY6" fmla="*/ 491 h 10000"/>
                <a:gd name="connsiteX7" fmla="*/ 5725 w 10000"/>
                <a:gd name="connsiteY7" fmla="*/ 545 h 10000"/>
                <a:gd name="connsiteX8" fmla="*/ 5966 w 10000"/>
                <a:gd name="connsiteY8" fmla="*/ 927 h 10000"/>
                <a:gd name="connsiteX9" fmla="*/ 5990 w 10000"/>
                <a:gd name="connsiteY9" fmla="*/ 1491 h 10000"/>
                <a:gd name="connsiteX10" fmla="*/ 6232 w 10000"/>
                <a:gd name="connsiteY10" fmla="*/ 1709 h 10000"/>
                <a:gd name="connsiteX11" fmla="*/ 6812 w 10000"/>
                <a:gd name="connsiteY11" fmla="*/ 1709 h 10000"/>
                <a:gd name="connsiteX12" fmla="*/ 7174 w 10000"/>
                <a:gd name="connsiteY12" fmla="*/ 2509 h 10000"/>
                <a:gd name="connsiteX13" fmla="*/ 7174 w 10000"/>
                <a:gd name="connsiteY13" fmla="*/ 3055 h 10000"/>
                <a:gd name="connsiteX14" fmla="*/ 7440 w 10000"/>
                <a:gd name="connsiteY14" fmla="*/ 3418 h 10000"/>
                <a:gd name="connsiteX15" fmla="*/ 7705 w 10000"/>
                <a:gd name="connsiteY15" fmla="*/ 3418 h 10000"/>
                <a:gd name="connsiteX16" fmla="*/ 8285 w 10000"/>
                <a:gd name="connsiteY16" fmla="*/ 3055 h 10000"/>
                <a:gd name="connsiteX17" fmla="*/ 8623 w 10000"/>
                <a:gd name="connsiteY17" fmla="*/ 3291 h 10000"/>
                <a:gd name="connsiteX18" fmla="*/ 8647 w 10000"/>
                <a:gd name="connsiteY18" fmla="*/ 3745 h 10000"/>
                <a:gd name="connsiteX19" fmla="*/ 9275 w 10000"/>
                <a:gd name="connsiteY19" fmla="*/ 4036 h 10000"/>
                <a:gd name="connsiteX20" fmla="*/ 9179 w 10000"/>
                <a:gd name="connsiteY20" fmla="*/ 4527 h 10000"/>
                <a:gd name="connsiteX21" fmla="*/ 9203 w 10000"/>
                <a:gd name="connsiteY21" fmla="*/ 4655 h 10000"/>
                <a:gd name="connsiteX22" fmla="*/ 9300 w 10000"/>
                <a:gd name="connsiteY22" fmla="*/ 4727 h 10000"/>
                <a:gd name="connsiteX23" fmla="*/ 9082 w 10000"/>
                <a:gd name="connsiteY23" fmla="*/ 4982 h 10000"/>
                <a:gd name="connsiteX24" fmla="*/ 9010 w 10000"/>
                <a:gd name="connsiteY24" fmla="*/ 5291 h 10000"/>
                <a:gd name="connsiteX25" fmla="*/ 9348 w 10000"/>
                <a:gd name="connsiteY25" fmla="*/ 5927 h 10000"/>
                <a:gd name="connsiteX26" fmla="*/ 9855 w 10000"/>
                <a:gd name="connsiteY26" fmla="*/ 6000 h 10000"/>
                <a:gd name="connsiteX27" fmla="*/ 10000 w 10000"/>
                <a:gd name="connsiteY27" fmla="*/ 6309 h 10000"/>
                <a:gd name="connsiteX28" fmla="*/ 9855 w 10000"/>
                <a:gd name="connsiteY28" fmla="*/ 6927 h 10000"/>
                <a:gd name="connsiteX29" fmla="*/ 9106 w 10000"/>
                <a:gd name="connsiteY29" fmla="*/ 7473 h 10000"/>
                <a:gd name="connsiteX30" fmla="*/ 9300 w 10000"/>
                <a:gd name="connsiteY30" fmla="*/ 8455 h 10000"/>
                <a:gd name="connsiteX31" fmla="*/ 9010 w 10000"/>
                <a:gd name="connsiteY31" fmla="*/ 8873 h 10000"/>
                <a:gd name="connsiteX32" fmla="*/ 9203 w 10000"/>
                <a:gd name="connsiteY32" fmla="*/ 9327 h 10000"/>
                <a:gd name="connsiteX33" fmla="*/ 8285 w 10000"/>
                <a:gd name="connsiteY33" fmla="*/ 9182 h 10000"/>
                <a:gd name="connsiteX34" fmla="*/ 7826 w 10000"/>
                <a:gd name="connsiteY34" fmla="*/ 9327 h 10000"/>
                <a:gd name="connsiteX35" fmla="*/ 7367 w 10000"/>
                <a:gd name="connsiteY35" fmla="*/ 9327 h 10000"/>
                <a:gd name="connsiteX36" fmla="*/ 6812 w 10000"/>
                <a:gd name="connsiteY36" fmla="*/ 9455 h 10000"/>
                <a:gd name="connsiteX37" fmla="*/ 6256 w 10000"/>
                <a:gd name="connsiteY37" fmla="*/ 9545 h 10000"/>
                <a:gd name="connsiteX38" fmla="*/ 5411 w 10000"/>
                <a:gd name="connsiteY38" fmla="*/ 10000 h 10000"/>
                <a:gd name="connsiteX39" fmla="*/ 5435 w 10000"/>
                <a:gd name="connsiteY39" fmla="*/ 9109 h 10000"/>
                <a:gd name="connsiteX40" fmla="*/ 5266 w 10000"/>
                <a:gd name="connsiteY40" fmla="*/ 8873 h 10000"/>
                <a:gd name="connsiteX41" fmla="*/ 4686 w 10000"/>
                <a:gd name="connsiteY41" fmla="*/ 8782 h 10000"/>
                <a:gd name="connsiteX42" fmla="*/ 4493 w 10000"/>
                <a:gd name="connsiteY42" fmla="*/ 8400 h 10000"/>
                <a:gd name="connsiteX43" fmla="*/ 4130 w 10000"/>
                <a:gd name="connsiteY43" fmla="*/ 8382 h 10000"/>
                <a:gd name="connsiteX44" fmla="*/ 3961 w 10000"/>
                <a:gd name="connsiteY44" fmla="*/ 8473 h 10000"/>
                <a:gd name="connsiteX45" fmla="*/ 3213 w 10000"/>
                <a:gd name="connsiteY45" fmla="*/ 8382 h 10000"/>
                <a:gd name="connsiteX46" fmla="*/ 2923 w 10000"/>
                <a:gd name="connsiteY46" fmla="*/ 8564 h 10000"/>
                <a:gd name="connsiteX47" fmla="*/ 2778 w 10000"/>
                <a:gd name="connsiteY47" fmla="*/ 9255 h 10000"/>
                <a:gd name="connsiteX48" fmla="*/ 2464 w 10000"/>
                <a:gd name="connsiteY48" fmla="*/ 9800 h 10000"/>
                <a:gd name="connsiteX49" fmla="*/ 2000 w 10000"/>
                <a:gd name="connsiteY49" fmla="*/ 7090 h 10000"/>
                <a:gd name="connsiteX50" fmla="*/ 0 w 10000"/>
                <a:gd name="connsiteY50" fmla="*/ 7527 h 10000"/>
                <a:gd name="connsiteX51" fmla="*/ 556 w 10000"/>
                <a:gd name="connsiteY51" fmla="*/ 7309 h 10000"/>
                <a:gd name="connsiteX52" fmla="*/ 1014 w 10000"/>
                <a:gd name="connsiteY52" fmla="*/ 7127 h 10000"/>
                <a:gd name="connsiteX53" fmla="*/ 1014 w 10000"/>
                <a:gd name="connsiteY53" fmla="*/ 6545 h 10000"/>
                <a:gd name="connsiteX54" fmla="*/ 1473 w 10000"/>
                <a:gd name="connsiteY54" fmla="*/ 6309 h 10000"/>
                <a:gd name="connsiteX55" fmla="*/ 1667 w 10000"/>
                <a:gd name="connsiteY55" fmla="*/ 5891 h 10000"/>
                <a:gd name="connsiteX56" fmla="*/ 2198 w 10000"/>
                <a:gd name="connsiteY56" fmla="*/ 5618 h 10000"/>
                <a:gd name="connsiteX57" fmla="*/ 2295 w 10000"/>
                <a:gd name="connsiteY57" fmla="*/ 5218 h 10000"/>
                <a:gd name="connsiteX58" fmla="*/ 2222 w 10000"/>
                <a:gd name="connsiteY58" fmla="*/ 4800 h 10000"/>
                <a:gd name="connsiteX59" fmla="*/ 2560 w 10000"/>
                <a:gd name="connsiteY59" fmla="*/ 4582 h 10000"/>
                <a:gd name="connsiteX60" fmla="*/ 2101 w 10000"/>
                <a:gd name="connsiteY60" fmla="*/ 3982 h 10000"/>
                <a:gd name="connsiteX61" fmla="*/ 2585 w 10000"/>
                <a:gd name="connsiteY61" fmla="*/ 3182 h 10000"/>
                <a:gd name="connsiteX62" fmla="*/ 2053 w 10000"/>
                <a:gd name="connsiteY62" fmla="*/ 2636 h 10000"/>
                <a:gd name="connsiteX63" fmla="*/ 2198 w 10000"/>
                <a:gd name="connsiteY63" fmla="*/ 2036 h 10000"/>
                <a:gd name="connsiteX64" fmla="*/ 1667 w 10000"/>
                <a:gd name="connsiteY64" fmla="*/ 1491 h 10000"/>
                <a:gd name="connsiteX65" fmla="*/ 1667 w 10000"/>
                <a:gd name="connsiteY65" fmla="*/ 691 h 10000"/>
                <a:gd name="connsiteX0" fmla="*/ 1667 w 10000"/>
                <a:gd name="connsiteY0" fmla="*/ 691 h 10000"/>
                <a:gd name="connsiteX1" fmla="*/ 3671 w 10000"/>
                <a:gd name="connsiteY1" fmla="*/ 73 h 10000"/>
                <a:gd name="connsiteX2" fmla="*/ 4589 w 10000"/>
                <a:gd name="connsiteY2" fmla="*/ 0 h 10000"/>
                <a:gd name="connsiteX3" fmla="*/ 5145 w 10000"/>
                <a:gd name="connsiteY3" fmla="*/ 18 h 10000"/>
                <a:gd name="connsiteX4" fmla="*/ 5338 w 10000"/>
                <a:gd name="connsiteY4" fmla="*/ 145 h 10000"/>
                <a:gd name="connsiteX5" fmla="*/ 5507 w 10000"/>
                <a:gd name="connsiteY5" fmla="*/ 309 h 10000"/>
                <a:gd name="connsiteX6" fmla="*/ 5531 w 10000"/>
                <a:gd name="connsiteY6" fmla="*/ 491 h 10000"/>
                <a:gd name="connsiteX7" fmla="*/ 5725 w 10000"/>
                <a:gd name="connsiteY7" fmla="*/ 545 h 10000"/>
                <a:gd name="connsiteX8" fmla="*/ 5966 w 10000"/>
                <a:gd name="connsiteY8" fmla="*/ 927 h 10000"/>
                <a:gd name="connsiteX9" fmla="*/ 5990 w 10000"/>
                <a:gd name="connsiteY9" fmla="*/ 1491 h 10000"/>
                <a:gd name="connsiteX10" fmla="*/ 6232 w 10000"/>
                <a:gd name="connsiteY10" fmla="*/ 1709 h 10000"/>
                <a:gd name="connsiteX11" fmla="*/ 6812 w 10000"/>
                <a:gd name="connsiteY11" fmla="*/ 1709 h 10000"/>
                <a:gd name="connsiteX12" fmla="*/ 7174 w 10000"/>
                <a:gd name="connsiteY12" fmla="*/ 2509 h 10000"/>
                <a:gd name="connsiteX13" fmla="*/ 7174 w 10000"/>
                <a:gd name="connsiteY13" fmla="*/ 3055 h 10000"/>
                <a:gd name="connsiteX14" fmla="*/ 7440 w 10000"/>
                <a:gd name="connsiteY14" fmla="*/ 3418 h 10000"/>
                <a:gd name="connsiteX15" fmla="*/ 7705 w 10000"/>
                <a:gd name="connsiteY15" fmla="*/ 3418 h 10000"/>
                <a:gd name="connsiteX16" fmla="*/ 8285 w 10000"/>
                <a:gd name="connsiteY16" fmla="*/ 3055 h 10000"/>
                <a:gd name="connsiteX17" fmla="*/ 8623 w 10000"/>
                <a:gd name="connsiteY17" fmla="*/ 3291 h 10000"/>
                <a:gd name="connsiteX18" fmla="*/ 8647 w 10000"/>
                <a:gd name="connsiteY18" fmla="*/ 3745 h 10000"/>
                <a:gd name="connsiteX19" fmla="*/ 9275 w 10000"/>
                <a:gd name="connsiteY19" fmla="*/ 4036 h 10000"/>
                <a:gd name="connsiteX20" fmla="*/ 9179 w 10000"/>
                <a:gd name="connsiteY20" fmla="*/ 4527 h 10000"/>
                <a:gd name="connsiteX21" fmla="*/ 9203 w 10000"/>
                <a:gd name="connsiteY21" fmla="*/ 4655 h 10000"/>
                <a:gd name="connsiteX22" fmla="*/ 9300 w 10000"/>
                <a:gd name="connsiteY22" fmla="*/ 4727 h 10000"/>
                <a:gd name="connsiteX23" fmla="*/ 9082 w 10000"/>
                <a:gd name="connsiteY23" fmla="*/ 4982 h 10000"/>
                <a:gd name="connsiteX24" fmla="*/ 9010 w 10000"/>
                <a:gd name="connsiteY24" fmla="*/ 5291 h 10000"/>
                <a:gd name="connsiteX25" fmla="*/ 9348 w 10000"/>
                <a:gd name="connsiteY25" fmla="*/ 5927 h 10000"/>
                <a:gd name="connsiteX26" fmla="*/ 9855 w 10000"/>
                <a:gd name="connsiteY26" fmla="*/ 6000 h 10000"/>
                <a:gd name="connsiteX27" fmla="*/ 10000 w 10000"/>
                <a:gd name="connsiteY27" fmla="*/ 6309 h 10000"/>
                <a:gd name="connsiteX28" fmla="*/ 9855 w 10000"/>
                <a:gd name="connsiteY28" fmla="*/ 6927 h 10000"/>
                <a:gd name="connsiteX29" fmla="*/ 9106 w 10000"/>
                <a:gd name="connsiteY29" fmla="*/ 7473 h 10000"/>
                <a:gd name="connsiteX30" fmla="*/ 9300 w 10000"/>
                <a:gd name="connsiteY30" fmla="*/ 8455 h 10000"/>
                <a:gd name="connsiteX31" fmla="*/ 9010 w 10000"/>
                <a:gd name="connsiteY31" fmla="*/ 8873 h 10000"/>
                <a:gd name="connsiteX32" fmla="*/ 9203 w 10000"/>
                <a:gd name="connsiteY32" fmla="*/ 9327 h 10000"/>
                <a:gd name="connsiteX33" fmla="*/ 8285 w 10000"/>
                <a:gd name="connsiteY33" fmla="*/ 9182 h 10000"/>
                <a:gd name="connsiteX34" fmla="*/ 7826 w 10000"/>
                <a:gd name="connsiteY34" fmla="*/ 9327 h 10000"/>
                <a:gd name="connsiteX35" fmla="*/ 7367 w 10000"/>
                <a:gd name="connsiteY35" fmla="*/ 9327 h 10000"/>
                <a:gd name="connsiteX36" fmla="*/ 6812 w 10000"/>
                <a:gd name="connsiteY36" fmla="*/ 9455 h 10000"/>
                <a:gd name="connsiteX37" fmla="*/ 6256 w 10000"/>
                <a:gd name="connsiteY37" fmla="*/ 9545 h 10000"/>
                <a:gd name="connsiteX38" fmla="*/ 5411 w 10000"/>
                <a:gd name="connsiteY38" fmla="*/ 10000 h 10000"/>
                <a:gd name="connsiteX39" fmla="*/ 5435 w 10000"/>
                <a:gd name="connsiteY39" fmla="*/ 9109 h 10000"/>
                <a:gd name="connsiteX40" fmla="*/ 5266 w 10000"/>
                <a:gd name="connsiteY40" fmla="*/ 8873 h 10000"/>
                <a:gd name="connsiteX41" fmla="*/ 4686 w 10000"/>
                <a:gd name="connsiteY41" fmla="*/ 8782 h 10000"/>
                <a:gd name="connsiteX42" fmla="*/ 4493 w 10000"/>
                <a:gd name="connsiteY42" fmla="*/ 8400 h 10000"/>
                <a:gd name="connsiteX43" fmla="*/ 4130 w 10000"/>
                <a:gd name="connsiteY43" fmla="*/ 8382 h 10000"/>
                <a:gd name="connsiteX44" fmla="*/ 3961 w 10000"/>
                <a:gd name="connsiteY44" fmla="*/ 8473 h 10000"/>
                <a:gd name="connsiteX45" fmla="*/ 3213 w 10000"/>
                <a:gd name="connsiteY45" fmla="*/ 8382 h 10000"/>
                <a:gd name="connsiteX46" fmla="*/ 2923 w 10000"/>
                <a:gd name="connsiteY46" fmla="*/ 8564 h 10000"/>
                <a:gd name="connsiteX47" fmla="*/ 3406 w 10000"/>
                <a:gd name="connsiteY47" fmla="*/ 8173 h 10000"/>
                <a:gd name="connsiteX48" fmla="*/ 2464 w 10000"/>
                <a:gd name="connsiteY48" fmla="*/ 9800 h 10000"/>
                <a:gd name="connsiteX49" fmla="*/ 2000 w 10000"/>
                <a:gd name="connsiteY49" fmla="*/ 7090 h 10000"/>
                <a:gd name="connsiteX50" fmla="*/ 0 w 10000"/>
                <a:gd name="connsiteY50" fmla="*/ 7527 h 10000"/>
                <a:gd name="connsiteX51" fmla="*/ 556 w 10000"/>
                <a:gd name="connsiteY51" fmla="*/ 7309 h 10000"/>
                <a:gd name="connsiteX52" fmla="*/ 1014 w 10000"/>
                <a:gd name="connsiteY52" fmla="*/ 7127 h 10000"/>
                <a:gd name="connsiteX53" fmla="*/ 1014 w 10000"/>
                <a:gd name="connsiteY53" fmla="*/ 6545 h 10000"/>
                <a:gd name="connsiteX54" fmla="*/ 1473 w 10000"/>
                <a:gd name="connsiteY54" fmla="*/ 6309 h 10000"/>
                <a:gd name="connsiteX55" fmla="*/ 1667 w 10000"/>
                <a:gd name="connsiteY55" fmla="*/ 5891 h 10000"/>
                <a:gd name="connsiteX56" fmla="*/ 2198 w 10000"/>
                <a:gd name="connsiteY56" fmla="*/ 5618 h 10000"/>
                <a:gd name="connsiteX57" fmla="*/ 2295 w 10000"/>
                <a:gd name="connsiteY57" fmla="*/ 5218 h 10000"/>
                <a:gd name="connsiteX58" fmla="*/ 2222 w 10000"/>
                <a:gd name="connsiteY58" fmla="*/ 4800 h 10000"/>
                <a:gd name="connsiteX59" fmla="*/ 2560 w 10000"/>
                <a:gd name="connsiteY59" fmla="*/ 4582 h 10000"/>
                <a:gd name="connsiteX60" fmla="*/ 2101 w 10000"/>
                <a:gd name="connsiteY60" fmla="*/ 3982 h 10000"/>
                <a:gd name="connsiteX61" fmla="*/ 2585 w 10000"/>
                <a:gd name="connsiteY61" fmla="*/ 3182 h 10000"/>
                <a:gd name="connsiteX62" fmla="*/ 2053 w 10000"/>
                <a:gd name="connsiteY62" fmla="*/ 2636 h 10000"/>
                <a:gd name="connsiteX63" fmla="*/ 2198 w 10000"/>
                <a:gd name="connsiteY63" fmla="*/ 2036 h 10000"/>
                <a:gd name="connsiteX64" fmla="*/ 1667 w 10000"/>
                <a:gd name="connsiteY64" fmla="*/ 1491 h 10000"/>
                <a:gd name="connsiteX65" fmla="*/ 1667 w 10000"/>
                <a:gd name="connsiteY65" fmla="*/ 691 h 10000"/>
                <a:gd name="connsiteX0" fmla="*/ 1667 w 10000"/>
                <a:gd name="connsiteY0" fmla="*/ 691 h 10000"/>
                <a:gd name="connsiteX1" fmla="*/ 3671 w 10000"/>
                <a:gd name="connsiteY1" fmla="*/ 73 h 10000"/>
                <a:gd name="connsiteX2" fmla="*/ 4589 w 10000"/>
                <a:gd name="connsiteY2" fmla="*/ 0 h 10000"/>
                <a:gd name="connsiteX3" fmla="*/ 5145 w 10000"/>
                <a:gd name="connsiteY3" fmla="*/ 18 h 10000"/>
                <a:gd name="connsiteX4" fmla="*/ 5338 w 10000"/>
                <a:gd name="connsiteY4" fmla="*/ 145 h 10000"/>
                <a:gd name="connsiteX5" fmla="*/ 5507 w 10000"/>
                <a:gd name="connsiteY5" fmla="*/ 309 h 10000"/>
                <a:gd name="connsiteX6" fmla="*/ 5531 w 10000"/>
                <a:gd name="connsiteY6" fmla="*/ 491 h 10000"/>
                <a:gd name="connsiteX7" fmla="*/ 5725 w 10000"/>
                <a:gd name="connsiteY7" fmla="*/ 545 h 10000"/>
                <a:gd name="connsiteX8" fmla="*/ 5966 w 10000"/>
                <a:gd name="connsiteY8" fmla="*/ 927 h 10000"/>
                <a:gd name="connsiteX9" fmla="*/ 5990 w 10000"/>
                <a:gd name="connsiteY9" fmla="*/ 1491 h 10000"/>
                <a:gd name="connsiteX10" fmla="*/ 6232 w 10000"/>
                <a:gd name="connsiteY10" fmla="*/ 1709 h 10000"/>
                <a:gd name="connsiteX11" fmla="*/ 6812 w 10000"/>
                <a:gd name="connsiteY11" fmla="*/ 1709 h 10000"/>
                <a:gd name="connsiteX12" fmla="*/ 7174 w 10000"/>
                <a:gd name="connsiteY12" fmla="*/ 2509 h 10000"/>
                <a:gd name="connsiteX13" fmla="*/ 7174 w 10000"/>
                <a:gd name="connsiteY13" fmla="*/ 3055 h 10000"/>
                <a:gd name="connsiteX14" fmla="*/ 7440 w 10000"/>
                <a:gd name="connsiteY14" fmla="*/ 3418 h 10000"/>
                <a:gd name="connsiteX15" fmla="*/ 7705 w 10000"/>
                <a:gd name="connsiteY15" fmla="*/ 3418 h 10000"/>
                <a:gd name="connsiteX16" fmla="*/ 8285 w 10000"/>
                <a:gd name="connsiteY16" fmla="*/ 3055 h 10000"/>
                <a:gd name="connsiteX17" fmla="*/ 8623 w 10000"/>
                <a:gd name="connsiteY17" fmla="*/ 3291 h 10000"/>
                <a:gd name="connsiteX18" fmla="*/ 8647 w 10000"/>
                <a:gd name="connsiteY18" fmla="*/ 3745 h 10000"/>
                <a:gd name="connsiteX19" fmla="*/ 9275 w 10000"/>
                <a:gd name="connsiteY19" fmla="*/ 4036 h 10000"/>
                <a:gd name="connsiteX20" fmla="*/ 9179 w 10000"/>
                <a:gd name="connsiteY20" fmla="*/ 4527 h 10000"/>
                <a:gd name="connsiteX21" fmla="*/ 9203 w 10000"/>
                <a:gd name="connsiteY21" fmla="*/ 4655 h 10000"/>
                <a:gd name="connsiteX22" fmla="*/ 9300 w 10000"/>
                <a:gd name="connsiteY22" fmla="*/ 4727 h 10000"/>
                <a:gd name="connsiteX23" fmla="*/ 9082 w 10000"/>
                <a:gd name="connsiteY23" fmla="*/ 4982 h 10000"/>
                <a:gd name="connsiteX24" fmla="*/ 9010 w 10000"/>
                <a:gd name="connsiteY24" fmla="*/ 5291 h 10000"/>
                <a:gd name="connsiteX25" fmla="*/ 9348 w 10000"/>
                <a:gd name="connsiteY25" fmla="*/ 5927 h 10000"/>
                <a:gd name="connsiteX26" fmla="*/ 9855 w 10000"/>
                <a:gd name="connsiteY26" fmla="*/ 6000 h 10000"/>
                <a:gd name="connsiteX27" fmla="*/ 10000 w 10000"/>
                <a:gd name="connsiteY27" fmla="*/ 6309 h 10000"/>
                <a:gd name="connsiteX28" fmla="*/ 9855 w 10000"/>
                <a:gd name="connsiteY28" fmla="*/ 6927 h 10000"/>
                <a:gd name="connsiteX29" fmla="*/ 9106 w 10000"/>
                <a:gd name="connsiteY29" fmla="*/ 7473 h 10000"/>
                <a:gd name="connsiteX30" fmla="*/ 9300 w 10000"/>
                <a:gd name="connsiteY30" fmla="*/ 8455 h 10000"/>
                <a:gd name="connsiteX31" fmla="*/ 9010 w 10000"/>
                <a:gd name="connsiteY31" fmla="*/ 8873 h 10000"/>
                <a:gd name="connsiteX32" fmla="*/ 9203 w 10000"/>
                <a:gd name="connsiteY32" fmla="*/ 9327 h 10000"/>
                <a:gd name="connsiteX33" fmla="*/ 8285 w 10000"/>
                <a:gd name="connsiteY33" fmla="*/ 9182 h 10000"/>
                <a:gd name="connsiteX34" fmla="*/ 7826 w 10000"/>
                <a:gd name="connsiteY34" fmla="*/ 9327 h 10000"/>
                <a:gd name="connsiteX35" fmla="*/ 7367 w 10000"/>
                <a:gd name="connsiteY35" fmla="*/ 9327 h 10000"/>
                <a:gd name="connsiteX36" fmla="*/ 6812 w 10000"/>
                <a:gd name="connsiteY36" fmla="*/ 9455 h 10000"/>
                <a:gd name="connsiteX37" fmla="*/ 6256 w 10000"/>
                <a:gd name="connsiteY37" fmla="*/ 9545 h 10000"/>
                <a:gd name="connsiteX38" fmla="*/ 5411 w 10000"/>
                <a:gd name="connsiteY38" fmla="*/ 10000 h 10000"/>
                <a:gd name="connsiteX39" fmla="*/ 5435 w 10000"/>
                <a:gd name="connsiteY39" fmla="*/ 9109 h 10000"/>
                <a:gd name="connsiteX40" fmla="*/ 5266 w 10000"/>
                <a:gd name="connsiteY40" fmla="*/ 8873 h 10000"/>
                <a:gd name="connsiteX41" fmla="*/ 4686 w 10000"/>
                <a:gd name="connsiteY41" fmla="*/ 8782 h 10000"/>
                <a:gd name="connsiteX42" fmla="*/ 4493 w 10000"/>
                <a:gd name="connsiteY42" fmla="*/ 8400 h 10000"/>
                <a:gd name="connsiteX43" fmla="*/ 4130 w 10000"/>
                <a:gd name="connsiteY43" fmla="*/ 8382 h 10000"/>
                <a:gd name="connsiteX44" fmla="*/ 3961 w 10000"/>
                <a:gd name="connsiteY44" fmla="*/ 8473 h 10000"/>
                <a:gd name="connsiteX45" fmla="*/ 3213 w 10000"/>
                <a:gd name="connsiteY45" fmla="*/ 8382 h 10000"/>
                <a:gd name="connsiteX46" fmla="*/ 2923 w 10000"/>
                <a:gd name="connsiteY46" fmla="*/ 8564 h 10000"/>
                <a:gd name="connsiteX47" fmla="*/ 3406 w 10000"/>
                <a:gd name="connsiteY47" fmla="*/ 8173 h 10000"/>
                <a:gd name="connsiteX48" fmla="*/ 3989 w 10000"/>
                <a:gd name="connsiteY48" fmla="*/ 7969 h 10000"/>
                <a:gd name="connsiteX49" fmla="*/ 2000 w 10000"/>
                <a:gd name="connsiteY49" fmla="*/ 7090 h 10000"/>
                <a:gd name="connsiteX50" fmla="*/ 0 w 10000"/>
                <a:gd name="connsiteY50" fmla="*/ 7527 h 10000"/>
                <a:gd name="connsiteX51" fmla="*/ 556 w 10000"/>
                <a:gd name="connsiteY51" fmla="*/ 7309 h 10000"/>
                <a:gd name="connsiteX52" fmla="*/ 1014 w 10000"/>
                <a:gd name="connsiteY52" fmla="*/ 7127 h 10000"/>
                <a:gd name="connsiteX53" fmla="*/ 1014 w 10000"/>
                <a:gd name="connsiteY53" fmla="*/ 6545 h 10000"/>
                <a:gd name="connsiteX54" fmla="*/ 1473 w 10000"/>
                <a:gd name="connsiteY54" fmla="*/ 6309 h 10000"/>
                <a:gd name="connsiteX55" fmla="*/ 1667 w 10000"/>
                <a:gd name="connsiteY55" fmla="*/ 5891 h 10000"/>
                <a:gd name="connsiteX56" fmla="*/ 2198 w 10000"/>
                <a:gd name="connsiteY56" fmla="*/ 5618 h 10000"/>
                <a:gd name="connsiteX57" fmla="*/ 2295 w 10000"/>
                <a:gd name="connsiteY57" fmla="*/ 5218 h 10000"/>
                <a:gd name="connsiteX58" fmla="*/ 2222 w 10000"/>
                <a:gd name="connsiteY58" fmla="*/ 4800 h 10000"/>
                <a:gd name="connsiteX59" fmla="*/ 2560 w 10000"/>
                <a:gd name="connsiteY59" fmla="*/ 4582 h 10000"/>
                <a:gd name="connsiteX60" fmla="*/ 2101 w 10000"/>
                <a:gd name="connsiteY60" fmla="*/ 3982 h 10000"/>
                <a:gd name="connsiteX61" fmla="*/ 2585 w 10000"/>
                <a:gd name="connsiteY61" fmla="*/ 3182 h 10000"/>
                <a:gd name="connsiteX62" fmla="*/ 2053 w 10000"/>
                <a:gd name="connsiteY62" fmla="*/ 2636 h 10000"/>
                <a:gd name="connsiteX63" fmla="*/ 2198 w 10000"/>
                <a:gd name="connsiteY63" fmla="*/ 2036 h 10000"/>
                <a:gd name="connsiteX64" fmla="*/ 1667 w 10000"/>
                <a:gd name="connsiteY64" fmla="*/ 1491 h 10000"/>
                <a:gd name="connsiteX65" fmla="*/ 1667 w 10000"/>
                <a:gd name="connsiteY65" fmla="*/ 691 h 10000"/>
                <a:gd name="connsiteX0" fmla="*/ 1111 w 9444"/>
                <a:gd name="connsiteY0" fmla="*/ 691 h 10000"/>
                <a:gd name="connsiteX1" fmla="*/ 3115 w 9444"/>
                <a:gd name="connsiteY1" fmla="*/ 73 h 10000"/>
                <a:gd name="connsiteX2" fmla="*/ 4033 w 9444"/>
                <a:gd name="connsiteY2" fmla="*/ 0 h 10000"/>
                <a:gd name="connsiteX3" fmla="*/ 4589 w 9444"/>
                <a:gd name="connsiteY3" fmla="*/ 18 h 10000"/>
                <a:gd name="connsiteX4" fmla="*/ 4782 w 9444"/>
                <a:gd name="connsiteY4" fmla="*/ 145 h 10000"/>
                <a:gd name="connsiteX5" fmla="*/ 4951 w 9444"/>
                <a:gd name="connsiteY5" fmla="*/ 309 h 10000"/>
                <a:gd name="connsiteX6" fmla="*/ 4975 w 9444"/>
                <a:gd name="connsiteY6" fmla="*/ 491 h 10000"/>
                <a:gd name="connsiteX7" fmla="*/ 5169 w 9444"/>
                <a:gd name="connsiteY7" fmla="*/ 545 h 10000"/>
                <a:gd name="connsiteX8" fmla="*/ 5410 w 9444"/>
                <a:gd name="connsiteY8" fmla="*/ 927 h 10000"/>
                <a:gd name="connsiteX9" fmla="*/ 5434 w 9444"/>
                <a:gd name="connsiteY9" fmla="*/ 1491 h 10000"/>
                <a:gd name="connsiteX10" fmla="*/ 5676 w 9444"/>
                <a:gd name="connsiteY10" fmla="*/ 1709 h 10000"/>
                <a:gd name="connsiteX11" fmla="*/ 6256 w 9444"/>
                <a:gd name="connsiteY11" fmla="*/ 1709 h 10000"/>
                <a:gd name="connsiteX12" fmla="*/ 6618 w 9444"/>
                <a:gd name="connsiteY12" fmla="*/ 2509 h 10000"/>
                <a:gd name="connsiteX13" fmla="*/ 6618 w 9444"/>
                <a:gd name="connsiteY13" fmla="*/ 3055 h 10000"/>
                <a:gd name="connsiteX14" fmla="*/ 6884 w 9444"/>
                <a:gd name="connsiteY14" fmla="*/ 3418 h 10000"/>
                <a:gd name="connsiteX15" fmla="*/ 7149 w 9444"/>
                <a:gd name="connsiteY15" fmla="*/ 3418 h 10000"/>
                <a:gd name="connsiteX16" fmla="*/ 7729 w 9444"/>
                <a:gd name="connsiteY16" fmla="*/ 3055 h 10000"/>
                <a:gd name="connsiteX17" fmla="*/ 8067 w 9444"/>
                <a:gd name="connsiteY17" fmla="*/ 3291 h 10000"/>
                <a:gd name="connsiteX18" fmla="*/ 8091 w 9444"/>
                <a:gd name="connsiteY18" fmla="*/ 3745 h 10000"/>
                <a:gd name="connsiteX19" fmla="*/ 8719 w 9444"/>
                <a:gd name="connsiteY19" fmla="*/ 4036 h 10000"/>
                <a:gd name="connsiteX20" fmla="*/ 8623 w 9444"/>
                <a:gd name="connsiteY20" fmla="*/ 4527 h 10000"/>
                <a:gd name="connsiteX21" fmla="*/ 8647 w 9444"/>
                <a:gd name="connsiteY21" fmla="*/ 4655 h 10000"/>
                <a:gd name="connsiteX22" fmla="*/ 8744 w 9444"/>
                <a:gd name="connsiteY22" fmla="*/ 4727 h 10000"/>
                <a:gd name="connsiteX23" fmla="*/ 8526 w 9444"/>
                <a:gd name="connsiteY23" fmla="*/ 4982 h 10000"/>
                <a:gd name="connsiteX24" fmla="*/ 8454 w 9444"/>
                <a:gd name="connsiteY24" fmla="*/ 5291 h 10000"/>
                <a:gd name="connsiteX25" fmla="*/ 8792 w 9444"/>
                <a:gd name="connsiteY25" fmla="*/ 5927 h 10000"/>
                <a:gd name="connsiteX26" fmla="*/ 9299 w 9444"/>
                <a:gd name="connsiteY26" fmla="*/ 6000 h 10000"/>
                <a:gd name="connsiteX27" fmla="*/ 9444 w 9444"/>
                <a:gd name="connsiteY27" fmla="*/ 6309 h 10000"/>
                <a:gd name="connsiteX28" fmla="*/ 9299 w 9444"/>
                <a:gd name="connsiteY28" fmla="*/ 6927 h 10000"/>
                <a:gd name="connsiteX29" fmla="*/ 8550 w 9444"/>
                <a:gd name="connsiteY29" fmla="*/ 7473 h 10000"/>
                <a:gd name="connsiteX30" fmla="*/ 8744 w 9444"/>
                <a:gd name="connsiteY30" fmla="*/ 8455 h 10000"/>
                <a:gd name="connsiteX31" fmla="*/ 8454 w 9444"/>
                <a:gd name="connsiteY31" fmla="*/ 8873 h 10000"/>
                <a:gd name="connsiteX32" fmla="*/ 8647 w 9444"/>
                <a:gd name="connsiteY32" fmla="*/ 9327 h 10000"/>
                <a:gd name="connsiteX33" fmla="*/ 7729 w 9444"/>
                <a:gd name="connsiteY33" fmla="*/ 9182 h 10000"/>
                <a:gd name="connsiteX34" fmla="*/ 7270 w 9444"/>
                <a:gd name="connsiteY34" fmla="*/ 9327 h 10000"/>
                <a:gd name="connsiteX35" fmla="*/ 6811 w 9444"/>
                <a:gd name="connsiteY35" fmla="*/ 9327 h 10000"/>
                <a:gd name="connsiteX36" fmla="*/ 6256 w 9444"/>
                <a:gd name="connsiteY36" fmla="*/ 9455 h 10000"/>
                <a:gd name="connsiteX37" fmla="*/ 5700 w 9444"/>
                <a:gd name="connsiteY37" fmla="*/ 9545 h 10000"/>
                <a:gd name="connsiteX38" fmla="*/ 4855 w 9444"/>
                <a:gd name="connsiteY38" fmla="*/ 10000 h 10000"/>
                <a:gd name="connsiteX39" fmla="*/ 4879 w 9444"/>
                <a:gd name="connsiteY39" fmla="*/ 9109 h 10000"/>
                <a:gd name="connsiteX40" fmla="*/ 4710 w 9444"/>
                <a:gd name="connsiteY40" fmla="*/ 8873 h 10000"/>
                <a:gd name="connsiteX41" fmla="*/ 4130 w 9444"/>
                <a:gd name="connsiteY41" fmla="*/ 8782 h 10000"/>
                <a:gd name="connsiteX42" fmla="*/ 3937 w 9444"/>
                <a:gd name="connsiteY42" fmla="*/ 8400 h 10000"/>
                <a:gd name="connsiteX43" fmla="*/ 3574 w 9444"/>
                <a:gd name="connsiteY43" fmla="*/ 8382 h 10000"/>
                <a:gd name="connsiteX44" fmla="*/ 3405 w 9444"/>
                <a:gd name="connsiteY44" fmla="*/ 8473 h 10000"/>
                <a:gd name="connsiteX45" fmla="*/ 2657 w 9444"/>
                <a:gd name="connsiteY45" fmla="*/ 8382 h 10000"/>
                <a:gd name="connsiteX46" fmla="*/ 2367 w 9444"/>
                <a:gd name="connsiteY46" fmla="*/ 8564 h 10000"/>
                <a:gd name="connsiteX47" fmla="*/ 2850 w 9444"/>
                <a:gd name="connsiteY47" fmla="*/ 8173 h 10000"/>
                <a:gd name="connsiteX48" fmla="*/ 3433 w 9444"/>
                <a:gd name="connsiteY48" fmla="*/ 7969 h 10000"/>
                <a:gd name="connsiteX49" fmla="*/ 1444 w 9444"/>
                <a:gd name="connsiteY49" fmla="*/ 7090 h 10000"/>
                <a:gd name="connsiteX50" fmla="*/ 1238 w 9444"/>
                <a:gd name="connsiteY50" fmla="*/ 6861 h 10000"/>
                <a:gd name="connsiteX51" fmla="*/ 0 w 9444"/>
                <a:gd name="connsiteY51" fmla="*/ 7309 h 10000"/>
                <a:gd name="connsiteX52" fmla="*/ 458 w 9444"/>
                <a:gd name="connsiteY52" fmla="*/ 7127 h 10000"/>
                <a:gd name="connsiteX53" fmla="*/ 458 w 9444"/>
                <a:gd name="connsiteY53" fmla="*/ 6545 h 10000"/>
                <a:gd name="connsiteX54" fmla="*/ 917 w 9444"/>
                <a:gd name="connsiteY54" fmla="*/ 6309 h 10000"/>
                <a:gd name="connsiteX55" fmla="*/ 1111 w 9444"/>
                <a:gd name="connsiteY55" fmla="*/ 5891 h 10000"/>
                <a:gd name="connsiteX56" fmla="*/ 1642 w 9444"/>
                <a:gd name="connsiteY56" fmla="*/ 5618 h 10000"/>
                <a:gd name="connsiteX57" fmla="*/ 1739 w 9444"/>
                <a:gd name="connsiteY57" fmla="*/ 5218 h 10000"/>
                <a:gd name="connsiteX58" fmla="*/ 1666 w 9444"/>
                <a:gd name="connsiteY58" fmla="*/ 4800 h 10000"/>
                <a:gd name="connsiteX59" fmla="*/ 2004 w 9444"/>
                <a:gd name="connsiteY59" fmla="*/ 4582 h 10000"/>
                <a:gd name="connsiteX60" fmla="*/ 1545 w 9444"/>
                <a:gd name="connsiteY60" fmla="*/ 3982 h 10000"/>
                <a:gd name="connsiteX61" fmla="*/ 2029 w 9444"/>
                <a:gd name="connsiteY61" fmla="*/ 3182 h 10000"/>
                <a:gd name="connsiteX62" fmla="*/ 1497 w 9444"/>
                <a:gd name="connsiteY62" fmla="*/ 2636 h 10000"/>
                <a:gd name="connsiteX63" fmla="*/ 1642 w 9444"/>
                <a:gd name="connsiteY63" fmla="*/ 2036 h 10000"/>
                <a:gd name="connsiteX64" fmla="*/ 1111 w 9444"/>
                <a:gd name="connsiteY64" fmla="*/ 1491 h 10000"/>
                <a:gd name="connsiteX65" fmla="*/ 1111 w 9444"/>
                <a:gd name="connsiteY65" fmla="*/ 691 h 10000"/>
                <a:gd name="connsiteX0" fmla="*/ 691 w 9515"/>
                <a:gd name="connsiteY0" fmla="*/ 691 h 10000"/>
                <a:gd name="connsiteX1" fmla="*/ 2813 w 9515"/>
                <a:gd name="connsiteY1" fmla="*/ 73 h 10000"/>
                <a:gd name="connsiteX2" fmla="*/ 3785 w 9515"/>
                <a:gd name="connsiteY2" fmla="*/ 0 h 10000"/>
                <a:gd name="connsiteX3" fmla="*/ 4374 w 9515"/>
                <a:gd name="connsiteY3" fmla="*/ 18 h 10000"/>
                <a:gd name="connsiteX4" fmla="*/ 4579 w 9515"/>
                <a:gd name="connsiteY4" fmla="*/ 145 h 10000"/>
                <a:gd name="connsiteX5" fmla="*/ 4757 w 9515"/>
                <a:gd name="connsiteY5" fmla="*/ 309 h 10000"/>
                <a:gd name="connsiteX6" fmla="*/ 4783 w 9515"/>
                <a:gd name="connsiteY6" fmla="*/ 491 h 10000"/>
                <a:gd name="connsiteX7" fmla="*/ 4988 w 9515"/>
                <a:gd name="connsiteY7" fmla="*/ 545 h 10000"/>
                <a:gd name="connsiteX8" fmla="*/ 5244 w 9515"/>
                <a:gd name="connsiteY8" fmla="*/ 927 h 10000"/>
                <a:gd name="connsiteX9" fmla="*/ 5269 w 9515"/>
                <a:gd name="connsiteY9" fmla="*/ 1491 h 10000"/>
                <a:gd name="connsiteX10" fmla="*/ 5525 w 9515"/>
                <a:gd name="connsiteY10" fmla="*/ 1709 h 10000"/>
                <a:gd name="connsiteX11" fmla="*/ 6139 w 9515"/>
                <a:gd name="connsiteY11" fmla="*/ 1709 h 10000"/>
                <a:gd name="connsiteX12" fmla="*/ 6523 w 9515"/>
                <a:gd name="connsiteY12" fmla="*/ 2509 h 10000"/>
                <a:gd name="connsiteX13" fmla="*/ 6523 w 9515"/>
                <a:gd name="connsiteY13" fmla="*/ 3055 h 10000"/>
                <a:gd name="connsiteX14" fmla="*/ 6804 w 9515"/>
                <a:gd name="connsiteY14" fmla="*/ 3418 h 10000"/>
                <a:gd name="connsiteX15" fmla="*/ 7085 w 9515"/>
                <a:gd name="connsiteY15" fmla="*/ 3418 h 10000"/>
                <a:gd name="connsiteX16" fmla="*/ 7699 w 9515"/>
                <a:gd name="connsiteY16" fmla="*/ 3055 h 10000"/>
                <a:gd name="connsiteX17" fmla="*/ 8057 w 9515"/>
                <a:gd name="connsiteY17" fmla="*/ 3291 h 10000"/>
                <a:gd name="connsiteX18" fmla="*/ 8082 w 9515"/>
                <a:gd name="connsiteY18" fmla="*/ 3745 h 10000"/>
                <a:gd name="connsiteX19" fmla="*/ 8747 w 9515"/>
                <a:gd name="connsiteY19" fmla="*/ 4036 h 10000"/>
                <a:gd name="connsiteX20" fmla="*/ 8646 w 9515"/>
                <a:gd name="connsiteY20" fmla="*/ 4527 h 10000"/>
                <a:gd name="connsiteX21" fmla="*/ 8671 w 9515"/>
                <a:gd name="connsiteY21" fmla="*/ 4655 h 10000"/>
                <a:gd name="connsiteX22" fmla="*/ 8774 w 9515"/>
                <a:gd name="connsiteY22" fmla="*/ 4727 h 10000"/>
                <a:gd name="connsiteX23" fmla="*/ 8543 w 9515"/>
                <a:gd name="connsiteY23" fmla="*/ 4982 h 10000"/>
                <a:gd name="connsiteX24" fmla="*/ 8467 w 9515"/>
                <a:gd name="connsiteY24" fmla="*/ 5291 h 10000"/>
                <a:gd name="connsiteX25" fmla="*/ 8825 w 9515"/>
                <a:gd name="connsiteY25" fmla="*/ 5927 h 10000"/>
                <a:gd name="connsiteX26" fmla="*/ 9361 w 9515"/>
                <a:gd name="connsiteY26" fmla="*/ 6000 h 10000"/>
                <a:gd name="connsiteX27" fmla="*/ 9515 w 9515"/>
                <a:gd name="connsiteY27" fmla="*/ 6309 h 10000"/>
                <a:gd name="connsiteX28" fmla="*/ 9361 w 9515"/>
                <a:gd name="connsiteY28" fmla="*/ 6927 h 10000"/>
                <a:gd name="connsiteX29" fmla="*/ 8568 w 9515"/>
                <a:gd name="connsiteY29" fmla="*/ 7473 h 10000"/>
                <a:gd name="connsiteX30" fmla="*/ 8774 w 9515"/>
                <a:gd name="connsiteY30" fmla="*/ 8455 h 10000"/>
                <a:gd name="connsiteX31" fmla="*/ 8467 w 9515"/>
                <a:gd name="connsiteY31" fmla="*/ 8873 h 10000"/>
                <a:gd name="connsiteX32" fmla="*/ 8671 w 9515"/>
                <a:gd name="connsiteY32" fmla="*/ 9327 h 10000"/>
                <a:gd name="connsiteX33" fmla="*/ 7699 w 9515"/>
                <a:gd name="connsiteY33" fmla="*/ 9182 h 10000"/>
                <a:gd name="connsiteX34" fmla="*/ 7213 w 9515"/>
                <a:gd name="connsiteY34" fmla="*/ 9327 h 10000"/>
                <a:gd name="connsiteX35" fmla="*/ 6727 w 9515"/>
                <a:gd name="connsiteY35" fmla="*/ 9327 h 10000"/>
                <a:gd name="connsiteX36" fmla="*/ 6139 w 9515"/>
                <a:gd name="connsiteY36" fmla="*/ 9455 h 10000"/>
                <a:gd name="connsiteX37" fmla="*/ 5551 w 9515"/>
                <a:gd name="connsiteY37" fmla="*/ 9545 h 10000"/>
                <a:gd name="connsiteX38" fmla="*/ 4656 w 9515"/>
                <a:gd name="connsiteY38" fmla="*/ 10000 h 10000"/>
                <a:gd name="connsiteX39" fmla="*/ 4681 w 9515"/>
                <a:gd name="connsiteY39" fmla="*/ 9109 h 10000"/>
                <a:gd name="connsiteX40" fmla="*/ 4502 w 9515"/>
                <a:gd name="connsiteY40" fmla="*/ 8873 h 10000"/>
                <a:gd name="connsiteX41" fmla="*/ 3888 w 9515"/>
                <a:gd name="connsiteY41" fmla="*/ 8782 h 10000"/>
                <a:gd name="connsiteX42" fmla="*/ 3684 w 9515"/>
                <a:gd name="connsiteY42" fmla="*/ 8400 h 10000"/>
                <a:gd name="connsiteX43" fmla="*/ 3299 w 9515"/>
                <a:gd name="connsiteY43" fmla="*/ 8382 h 10000"/>
                <a:gd name="connsiteX44" fmla="*/ 3120 w 9515"/>
                <a:gd name="connsiteY44" fmla="*/ 8473 h 10000"/>
                <a:gd name="connsiteX45" fmla="*/ 2328 w 9515"/>
                <a:gd name="connsiteY45" fmla="*/ 8382 h 10000"/>
                <a:gd name="connsiteX46" fmla="*/ 2021 w 9515"/>
                <a:gd name="connsiteY46" fmla="*/ 8564 h 10000"/>
                <a:gd name="connsiteX47" fmla="*/ 2533 w 9515"/>
                <a:gd name="connsiteY47" fmla="*/ 8173 h 10000"/>
                <a:gd name="connsiteX48" fmla="*/ 3150 w 9515"/>
                <a:gd name="connsiteY48" fmla="*/ 7969 h 10000"/>
                <a:gd name="connsiteX49" fmla="*/ 1044 w 9515"/>
                <a:gd name="connsiteY49" fmla="*/ 7090 h 10000"/>
                <a:gd name="connsiteX50" fmla="*/ 826 w 9515"/>
                <a:gd name="connsiteY50" fmla="*/ 6861 h 10000"/>
                <a:gd name="connsiteX51" fmla="*/ 1034 w 9515"/>
                <a:gd name="connsiteY51" fmla="*/ 6726 h 10000"/>
                <a:gd name="connsiteX52" fmla="*/ 0 w 9515"/>
                <a:gd name="connsiteY52" fmla="*/ 7127 h 10000"/>
                <a:gd name="connsiteX53" fmla="*/ 0 w 9515"/>
                <a:gd name="connsiteY53" fmla="*/ 6545 h 10000"/>
                <a:gd name="connsiteX54" fmla="*/ 486 w 9515"/>
                <a:gd name="connsiteY54" fmla="*/ 6309 h 10000"/>
                <a:gd name="connsiteX55" fmla="*/ 691 w 9515"/>
                <a:gd name="connsiteY55" fmla="*/ 5891 h 10000"/>
                <a:gd name="connsiteX56" fmla="*/ 1254 w 9515"/>
                <a:gd name="connsiteY56" fmla="*/ 5618 h 10000"/>
                <a:gd name="connsiteX57" fmla="*/ 1356 w 9515"/>
                <a:gd name="connsiteY57" fmla="*/ 5218 h 10000"/>
                <a:gd name="connsiteX58" fmla="*/ 1279 w 9515"/>
                <a:gd name="connsiteY58" fmla="*/ 4800 h 10000"/>
                <a:gd name="connsiteX59" fmla="*/ 1637 w 9515"/>
                <a:gd name="connsiteY59" fmla="*/ 4582 h 10000"/>
                <a:gd name="connsiteX60" fmla="*/ 1151 w 9515"/>
                <a:gd name="connsiteY60" fmla="*/ 3982 h 10000"/>
                <a:gd name="connsiteX61" fmla="*/ 1663 w 9515"/>
                <a:gd name="connsiteY61" fmla="*/ 3182 h 10000"/>
                <a:gd name="connsiteX62" fmla="*/ 1100 w 9515"/>
                <a:gd name="connsiteY62" fmla="*/ 2636 h 10000"/>
                <a:gd name="connsiteX63" fmla="*/ 1254 w 9515"/>
                <a:gd name="connsiteY63" fmla="*/ 2036 h 10000"/>
                <a:gd name="connsiteX64" fmla="*/ 691 w 9515"/>
                <a:gd name="connsiteY64" fmla="*/ 1491 h 10000"/>
                <a:gd name="connsiteX65" fmla="*/ 691 w 9515"/>
                <a:gd name="connsiteY65" fmla="*/ 691 h 10000"/>
                <a:gd name="connsiteX0" fmla="*/ 726 w 10000"/>
                <a:gd name="connsiteY0" fmla="*/ 691 h 10000"/>
                <a:gd name="connsiteX1" fmla="*/ 2956 w 10000"/>
                <a:gd name="connsiteY1" fmla="*/ 73 h 10000"/>
                <a:gd name="connsiteX2" fmla="*/ 3978 w 10000"/>
                <a:gd name="connsiteY2" fmla="*/ 0 h 10000"/>
                <a:gd name="connsiteX3" fmla="*/ 4597 w 10000"/>
                <a:gd name="connsiteY3" fmla="*/ 18 h 10000"/>
                <a:gd name="connsiteX4" fmla="*/ 4812 w 10000"/>
                <a:gd name="connsiteY4" fmla="*/ 145 h 10000"/>
                <a:gd name="connsiteX5" fmla="*/ 4999 w 10000"/>
                <a:gd name="connsiteY5" fmla="*/ 309 h 10000"/>
                <a:gd name="connsiteX6" fmla="*/ 5027 w 10000"/>
                <a:gd name="connsiteY6" fmla="*/ 491 h 10000"/>
                <a:gd name="connsiteX7" fmla="*/ 5242 w 10000"/>
                <a:gd name="connsiteY7" fmla="*/ 545 h 10000"/>
                <a:gd name="connsiteX8" fmla="*/ 5511 w 10000"/>
                <a:gd name="connsiteY8" fmla="*/ 927 h 10000"/>
                <a:gd name="connsiteX9" fmla="*/ 5538 w 10000"/>
                <a:gd name="connsiteY9" fmla="*/ 1491 h 10000"/>
                <a:gd name="connsiteX10" fmla="*/ 5807 w 10000"/>
                <a:gd name="connsiteY10" fmla="*/ 1709 h 10000"/>
                <a:gd name="connsiteX11" fmla="*/ 6452 w 10000"/>
                <a:gd name="connsiteY11" fmla="*/ 1709 h 10000"/>
                <a:gd name="connsiteX12" fmla="*/ 6855 w 10000"/>
                <a:gd name="connsiteY12" fmla="*/ 2509 h 10000"/>
                <a:gd name="connsiteX13" fmla="*/ 6855 w 10000"/>
                <a:gd name="connsiteY13" fmla="*/ 3055 h 10000"/>
                <a:gd name="connsiteX14" fmla="*/ 7151 w 10000"/>
                <a:gd name="connsiteY14" fmla="*/ 3418 h 10000"/>
                <a:gd name="connsiteX15" fmla="*/ 7446 w 10000"/>
                <a:gd name="connsiteY15" fmla="*/ 3418 h 10000"/>
                <a:gd name="connsiteX16" fmla="*/ 8091 w 10000"/>
                <a:gd name="connsiteY16" fmla="*/ 3055 h 10000"/>
                <a:gd name="connsiteX17" fmla="*/ 8468 w 10000"/>
                <a:gd name="connsiteY17" fmla="*/ 3291 h 10000"/>
                <a:gd name="connsiteX18" fmla="*/ 8494 w 10000"/>
                <a:gd name="connsiteY18" fmla="*/ 3745 h 10000"/>
                <a:gd name="connsiteX19" fmla="*/ 9193 w 10000"/>
                <a:gd name="connsiteY19" fmla="*/ 4036 h 10000"/>
                <a:gd name="connsiteX20" fmla="*/ 9087 w 10000"/>
                <a:gd name="connsiteY20" fmla="*/ 4527 h 10000"/>
                <a:gd name="connsiteX21" fmla="*/ 9113 w 10000"/>
                <a:gd name="connsiteY21" fmla="*/ 4655 h 10000"/>
                <a:gd name="connsiteX22" fmla="*/ 9221 w 10000"/>
                <a:gd name="connsiteY22" fmla="*/ 4727 h 10000"/>
                <a:gd name="connsiteX23" fmla="*/ 8978 w 10000"/>
                <a:gd name="connsiteY23" fmla="*/ 4982 h 10000"/>
                <a:gd name="connsiteX24" fmla="*/ 8899 w 10000"/>
                <a:gd name="connsiteY24" fmla="*/ 5291 h 10000"/>
                <a:gd name="connsiteX25" fmla="*/ 9275 w 10000"/>
                <a:gd name="connsiteY25" fmla="*/ 5927 h 10000"/>
                <a:gd name="connsiteX26" fmla="*/ 9838 w 10000"/>
                <a:gd name="connsiteY26" fmla="*/ 6000 h 10000"/>
                <a:gd name="connsiteX27" fmla="*/ 10000 w 10000"/>
                <a:gd name="connsiteY27" fmla="*/ 6309 h 10000"/>
                <a:gd name="connsiteX28" fmla="*/ 9838 w 10000"/>
                <a:gd name="connsiteY28" fmla="*/ 6927 h 10000"/>
                <a:gd name="connsiteX29" fmla="*/ 9005 w 10000"/>
                <a:gd name="connsiteY29" fmla="*/ 7473 h 10000"/>
                <a:gd name="connsiteX30" fmla="*/ 9221 w 10000"/>
                <a:gd name="connsiteY30" fmla="*/ 8455 h 10000"/>
                <a:gd name="connsiteX31" fmla="*/ 8899 w 10000"/>
                <a:gd name="connsiteY31" fmla="*/ 8873 h 10000"/>
                <a:gd name="connsiteX32" fmla="*/ 9113 w 10000"/>
                <a:gd name="connsiteY32" fmla="*/ 9327 h 10000"/>
                <a:gd name="connsiteX33" fmla="*/ 8091 w 10000"/>
                <a:gd name="connsiteY33" fmla="*/ 9182 h 10000"/>
                <a:gd name="connsiteX34" fmla="*/ 7581 w 10000"/>
                <a:gd name="connsiteY34" fmla="*/ 9327 h 10000"/>
                <a:gd name="connsiteX35" fmla="*/ 7070 w 10000"/>
                <a:gd name="connsiteY35" fmla="*/ 9327 h 10000"/>
                <a:gd name="connsiteX36" fmla="*/ 6452 w 10000"/>
                <a:gd name="connsiteY36" fmla="*/ 9455 h 10000"/>
                <a:gd name="connsiteX37" fmla="*/ 5834 w 10000"/>
                <a:gd name="connsiteY37" fmla="*/ 9545 h 10000"/>
                <a:gd name="connsiteX38" fmla="*/ 4893 w 10000"/>
                <a:gd name="connsiteY38" fmla="*/ 10000 h 10000"/>
                <a:gd name="connsiteX39" fmla="*/ 4920 w 10000"/>
                <a:gd name="connsiteY39" fmla="*/ 9109 h 10000"/>
                <a:gd name="connsiteX40" fmla="*/ 4731 w 10000"/>
                <a:gd name="connsiteY40" fmla="*/ 8873 h 10000"/>
                <a:gd name="connsiteX41" fmla="*/ 4086 w 10000"/>
                <a:gd name="connsiteY41" fmla="*/ 8782 h 10000"/>
                <a:gd name="connsiteX42" fmla="*/ 3872 w 10000"/>
                <a:gd name="connsiteY42" fmla="*/ 8400 h 10000"/>
                <a:gd name="connsiteX43" fmla="*/ 3467 w 10000"/>
                <a:gd name="connsiteY43" fmla="*/ 8382 h 10000"/>
                <a:gd name="connsiteX44" fmla="*/ 3279 w 10000"/>
                <a:gd name="connsiteY44" fmla="*/ 8473 h 10000"/>
                <a:gd name="connsiteX45" fmla="*/ 2447 w 10000"/>
                <a:gd name="connsiteY45" fmla="*/ 8382 h 10000"/>
                <a:gd name="connsiteX46" fmla="*/ 2124 w 10000"/>
                <a:gd name="connsiteY46" fmla="*/ 8564 h 10000"/>
                <a:gd name="connsiteX47" fmla="*/ 2662 w 10000"/>
                <a:gd name="connsiteY47" fmla="*/ 8173 h 10000"/>
                <a:gd name="connsiteX48" fmla="*/ 3311 w 10000"/>
                <a:gd name="connsiteY48" fmla="*/ 7969 h 10000"/>
                <a:gd name="connsiteX49" fmla="*/ 1097 w 10000"/>
                <a:gd name="connsiteY49" fmla="*/ 7090 h 10000"/>
                <a:gd name="connsiteX50" fmla="*/ 868 w 10000"/>
                <a:gd name="connsiteY50" fmla="*/ 6861 h 10000"/>
                <a:gd name="connsiteX51" fmla="*/ 1087 w 10000"/>
                <a:gd name="connsiteY51" fmla="*/ 6726 h 10000"/>
                <a:gd name="connsiteX52" fmla="*/ 1497 w 10000"/>
                <a:gd name="connsiteY52" fmla="*/ 6877 h 10000"/>
                <a:gd name="connsiteX53" fmla="*/ 0 w 10000"/>
                <a:gd name="connsiteY53" fmla="*/ 6545 h 10000"/>
                <a:gd name="connsiteX54" fmla="*/ 511 w 10000"/>
                <a:gd name="connsiteY54" fmla="*/ 6309 h 10000"/>
                <a:gd name="connsiteX55" fmla="*/ 726 w 10000"/>
                <a:gd name="connsiteY55" fmla="*/ 5891 h 10000"/>
                <a:gd name="connsiteX56" fmla="*/ 1318 w 10000"/>
                <a:gd name="connsiteY56" fmla="*/ 5618 h 10000"/>
                <a:gd name="connsiteX57" fmla="*/ 1425 w 10000"/>
                <a:gd name="connsiteY57" fmla="*/ 5218 h 10000"/>
                <a:gd name="connsiteX58" fmla="*/ 1344 w 10000"/>
                <a:gd name="connsiteY58" fmla="*/ 4800 h 10000"/>
                <a:gd name="connsiteX59" fmla="*/ 1720 w 10000"/>
                <a:gd name="connsiteY59" fmla="*/ 4582 h 10000"/>
                <a:gd name="connsiteX60" fmla="*/ 1210 w 10000"/>
                <a:gd name="connsiteY60" fmla="*/ 3982 h 10000"/>
                <a:gd name="connsiteX61" fmla="*/ 1748 w 10000"/>
                <a:gd name="connsiteY61" fmla="*/ 3182 h 10000"/>
                <a:gd name="connsiteX62" fmla="*/ 1156 w 10000"/>
                <a:gd name="connsiteY62" fmla="*/ 2636 h 10000"/>
                <a:gd name="connsiteX63" fmla="*/ 1318 w 10000"/>
                <a:gd name="connsiteY63" fmla="*/ 2036 h 10000"/>
                <a:gd name="connsiteX64" fmla="*/ 726 w 10000"/>
                <a:gd name="connsiteY64" fmla="*/ 1491 h 10000"/>
                <a:gd name="connsiteX65" fmla="*/ 726 w 10000"/>
                <a:gd name="connsiteY65" fmla="*/ 691 h 10000"/>
                <a:gd name="connsiteX0" fmla="*/ 215 w 9489"/>
                <a:gd name="connsiteY0" fmla="*/ 691 h 10000"/>
                <a:gd name="connsiteX1" fmla="*/ 2445 w 9489"/>
                <a:gd name="connsiteY1" fmla="*/ 73 h 10000"/>
                <a:gd name="connsiteX2" fmla="*/ 3467 w 9489"/>
                <a:gd name="connsiteY2" fmla="*/ 0 h 10000"/>
                <a:gd name="connsiteX3" fmla="*/ 4086 w 9489"/>
                <a:gd name="connsiteY3" fmla="*/ 18 h 10000"/>
                <a:gd name="connsiteX4" fmla="*/ 4301 w 9489"/>
                <a:gd name="connsiteY4" fmla="*/ 145 h 10000"/>
                <a:gd name="connsiteX5" fmla="*/ 4488 w 9489"/>
                <a:gd name="connsiteY5" fmla="*/ 309 h 10000"/>
                <a:gd name="connsiteX6" fmla="*/ 4516 w 9489"/>
                <a:gd name="connsiteY6" fmla="*/ 491 h 10000"/>
                <a:gd name="connsiteX7" fmla="*/ 4731 w 9489"/>
                <a:gd name="connsiteY7" fmla="*/ 545 h 10000"/>
                <a:gd name="connsiteX8" fmla="*/ 5000 w 9489"/>
                <a:gd name="connsiteY8" fmla="*/ 927 h 10000"/>
                <a:gd name="connsiteX9" fmla="*/ 5027 w 9489"/>
                <a:gd name="connsiteY9" fmla="*/ 1491 h 10000"/>
                <a:gd name="connsiteX10" fmla="*/ 5296 w 9489"/>
                <a:gd name="connsiteY10" fmla="*/ 1709 h 10000"/>
                <a:gd name="connsiteX11" fmla="*/ 5941 w 9489"/>
                <a:gd name="connsiteY11" fmla="*/ 1709 h 10000"/>
                <a:gd name="connsiteX12" fmla="*/ 6344 w 9489"/>
                <a:gd name="connsiteY12" fmla="*/ 2509 h 10000"/>
                <a:gd name="connsiteX13" fmla="*/ 6344 w 9489"/>
                <a:gd name="connsiteY13" fmla="*/ 3055 h 10000"/>
                <a:gd name="connsiteX14" fmla="*/ 6640 w 9489"/>
                <a:gd name="connsiteY14" fmla="*/ 3418 h 10000"/>
                <a:gd name="connsiteX15" fmla="*/ 6935 w 9489"/>
                <a:gd name="connsiteY15" fmla="*/ 3418 h 10000"/>
                <a:gd name="connsiteX16" fmla="*/ 7580 w 9489"/>
                <a:gd name="connsiteY16" fmla="*/ 3055 h 10000"/>
                <a:gd name="connsiteX17" fmla="*/ 7957 w 9489"/>
                <a:gd name="connsiteY17" fmla="*/ 3291 h 10000"/>
                <a:gd name="connsiteX18" fmla="*/ 7983 w 9489"/>
                <a:gd name="connsiteY18" fmla="*/ 3745 h 10000"/>
                <a:gd name="connsiteX19" fmla="*/ 8682 w 9489"/>
                <a:gd name="connsiteY19" fmla="*/ 4036 h 10000"/>
                <a:gd name="connsiteX20" fmla="*/ 8576 w 9489"/>
                <a:gd name="connsiteY20" fmla="*/ 4527 h 10000"/>
                <a:gd name="connsiteX21" fmla="*/ 8602 w 9489"/>
                <a:gd name="connsiteY21" fmla="*/ 4655 h 10000"/>
                <a:gd name="connsiteX22" fmla="*/ 8710 w 9489"/>
                <a:gd name="connsiteY22" fmla="*/ 4727 h 10000"/>
                <a:gd name="connsiteX23" fmla="*/ 8467 w 9489"/>
                <a:gd name="connsiteY23" fmla="*/ 4982 h 10000"/>
                <a:gd name="connsiteX24" fmla="*/ 8388 w 9489"/>
                <a:gd name="connsiteY24" fmla="*/ 5291 h 10000"/>
                <a:gd name="connsiteX25" fmla="*/ 8764 w 9489"/>
                <a:gd name="connsiteY25" fmla="*/ 5927 h 10000"/>
                <a:gd name="connsiteX26" fmla="*/ 9327 w 9489"/>
                <a:gd name="connsiteY26" fmla="*/ 6000 h 10000"/>
                <a:gd name="connsiteX27" fmla="*/ 9489 w 9489"/>
                <a:gd name="connsiteY27" fmla="*/ 6309 h 10000"/>
                <a:gd name="connsiteX28" fmla="*/ 9327 w 9489"/>
                <a:gd name="connsiteY28" fmla="*/ 6927 h 10000"/>
                <a:gd name="connsiteX29" fmla="*/ 8494 w 9489"/>
                <a:gd name="connsiteY29" fmla="*/ 7473 h 10000"/>
                <a:gd name="connsiteX30" fmla="*/ 8710 w 9489"/>
                <a:gd name="connsiteY30" fmla="*/ 8455 h 10000"/>
                <a:gd name="connsiteX31" fmla="*/ 8388 w 9489"/>
                <a:gd name="connsiteY31" fmla="*/ 8873 h 10000"/>
                <a:gd name="connsiteX32" fmla="*/ 8602 w 9489"/>
                <a:gd name="connsiteY32" fmla="*/ 9327 h 10000"/>
                <a:gd name="connsiteX33" fmla="*/ 7580 w 9489"/>
                <a:gd name="connsiteY33" fmla="*/ 9182 h 10000"/>
                <a:gd name="connsiteX34" fmla="*/ 7070 w 9489"/>
                <a:gd name="connsiteY34" fmla="*/ 9327 h 10000"/>
                <a:gd name="connsiteX35" fmla="*/ 6559 w 9489"/>
                <a:gd name="connsiteY35" fmla="*/ 9327 h 10000"/>
                <a:gd name="connsiteX36" fmla="*/ 5941 w 9489"/>
                <a:gd name="connsiteY36" fmla="*/ 9455 h 10000"/>
                <a:gd name="connsiteX37" fmla="*/ 5323 w 9489"/>
                <a:gd name="connsiteY37" fmla="*/ 9545 h 10000"/>
                <a:gd name="connsiteX38" fmla="*/ 4382 w 9489"/>
                <a:gd name="connsiteY38" fmla="*/ 10000 h 10000"/>
                <a:gd name="connsiteX39" fmla="*/ 4409 w 9489"/>
                <a:gd name="connsiteY39" fmla="*/ 9109 h 10000"/>
                <a:gd name="connsiteX40" fmla="*/ 4220 w 9489"/>
                <a:gd name="connsiteY40" fmla="*/ 8873 h 10000"/>
                <a:gd name="connsiteX41" fmla="*/ 3575 w 9489"/>
                <a:gd name="connsiteY41" fmla="*/ 8782 h 10000"/>
                <a:gd name="connsiteX42" fmla="*/ 3361 w 9489"/>
                <a:gd name="connsiteY42" fmla="*/ 8400 h 10000"/>
                <a:gd name="connsiteX43" fmla="*/ 2956 w 9489"/>
                <a:gd name="connsiteY43" fmla="*/ 8382 h 10000"/>
                <a:gd name="connsiteX44" fmla="*/ 2768 w 9489"/>
                <a:gd name="connsiteY44" fmla="*/ 8473 h 10000"/>
                <a:gd name="connsiteX45" fmla="*/ 1936 w 9489"/>
                <a:gd name="connsiteY45" fmla="*/ 8382 h 10000"/>
                <a:gd name="connsiteX46" fmla="*/ 1613 w 9489"/>
                <a:gd name="connsiteY46" fmla="*/ 8564 h 10000"/>
                <a:gd name="connsiteX47" fmla="*/ 2151 w 9489"/>
                <a:gd name="connsiteY47" fmla="*/ 8173 h 10000"/>
                <a:gd name="connsiteX48" fmla="*/ 2800 w 9489"/>
                <a:gd name="connsiteY48" fmla="*/ 7969 h 10000"/>
                <a:gd name="connsiteX49" fmla="*/ 586 w 9489"/>
                <a:gd name="connsiteY49" fmla="*/ 7090 h 10000"/>
                <a:gd name="connsiteX50" fmla="*/ 357 w 9489"/>
                <a:gd name="connsiteY50" fmla="*/ 6861 h 10000"/>
                <a:gd name="connsiteX51" fmla="*/ 576 w 9489"/>
                <a:gd name="connsiteY51" fmla="*/ 6726 h 10000"/>
                <a:gd name="connsiteX52" fmla="*/ 986 w 9489"/>
                <a:gd name="connsiteY52" fmla="*/ 6877 h 10000"/>
                <a:gd name="connsiteX53" fmla="*/ 587 w 9489"/>
                <a:gd name="connsiteY53" fmla="*/ 6295 h 10000"/>
                <a:gd name="connsiteX54" fmla="*/ 0 w 9489"/>
                <a:gd name="connsiteY54" fmla="*/ 6309 h 10000"/>
                <a:gd name="connsiteX55" fmla="*/ 215 w 9489"/>
                <a:gd name="connsiteY55" fmla="*/ 5891 h 10000"/>
                <a:gd name="connsiteX56" fmla="*/ 807 w 9489"/>
                <a:gd name="connsiteY56" fmla="*/ 5618 h 10000"/>
                <a:gd name="connsiteX57" fmla="*/ 914 w 9489"/>
                <a:gd name="connsiteY57" fmla="*/ 5218 h 10000"/>
                <a:gd name="connsiteX58" fmla="*/ 833 w 9489"/>
                <a:gd name="connsiteY58" fmla="*/ 4800 h 10000"/>
                <a:gd name="connsiteX59" fmla="*/ 1209 w 9489"/>
                <a:gd name="connsiteY59" fmla="*/ 4582 h 10000"/>
                <a:gd name="connsiteX60" fmla="*/ 699 w 9489"/>
                <a:gd name="connsiteY60" fmla="*/ 3982 h 10000"/>
                <a:gd name="connsiteX61" fmla="*/ 1237 w 9489"/>
                <a:gd name="connsiteY61" fmla="*/ 3182 h 10000"/>
                <a:gd name="connsiteX62" fmla="*/ 645 w 9489"/>
                <a:gd name="connsiteY62" fmla="*/ 2636 h 10000"/>
                <a:gd name="connsiteX63" fmla="*/ 807 w 9489"/>
                <a:gd name="connsiteY63" fmla="*/ 2036 h 10000"/>
                <a:gd name="connsiteX64" fmla="*/ 215 w 9489"/>
                <a:gd name="connsiteY64" fmla="*/ 1491 h 10000"/>
                <a:gd name="connsiteX65" fmla="*/ 215 w 9489"/>
                <a:gd name="connsiteY65" fmla="*/ 691 h 10000"/>
                <a:gd name="connsiteX0" fmla="*/ 227 w 10000"/>
                <a:gd name="connsiteY0" fmla="*/ 691 h 10000"/>
                <a:gd name="connsiteX1" fmla="*/ 2577 w 10000"/>
                <a:gd name="connsiteY1" fmla="*/ 73 h 10000"/>
                <a:gd name="connsiteX2" fmla="*/ 3654 w 10000"/>
                <a:gd name="connsiteY2" fmla="*/ 0 h 10000"/>
                <a:gd name="connsiteX3" fmla="*/ 4306 w 10000"/>
                <a:gd name="connsiteY3" fmla="*/ 18 h 10000"/>
                <a:gd name="connsiteX4" fmla="*/ 4533 w 10000"/>
                <a:gd name="connsiteY4" fmla="*/ 145 h 10000"/>
                <a:gd name="connsiteX5" fmla="*/ 4730 w 10000"/>
                <a:gd name="connsiteY5" fmla="*/ 309 h 10000"/>
                <a:gd name="connsiteX6" fmla="*/ 4759 w 10000"/>
                <a:gd name="connsiteY6" fmla="*/ 491 h 10000"/>
                <a:gd name="connsiteX7" fmla="*/ 4986 w 10000"/>
                <a:gd name="connsiteY7" fmla="*/ 545 h 10000"/>
                <a:gd name="connsiteX8" fmla="*/ 5269 w 10000"/>
                <a:gd name="connsiteY8" fmla="*/ 927 h 10000"/>
                <a:gd name="connsiteX9" fmla="*/ 5298 w 10000"/>
                <a:gd name="connsiteY9" fmla="*/ 1491 h 10000"/>
                <a:gd name="connsiteX10" fmla="*/ 5581 w 10000"/>
                <a:gd name="connsiteY10" fmla="*/ 1709 h 10000"/>
                <a:gd name="connsiteX11" fmla="*/ 6261 w 10000"/>
                <a:gd name="connsiteY11" fmla="*/ 1709 h 10000"/>
                <a:gd name="connsiteX12" fmla="*/ 6686 w 10000"/>
                <a:gd name="connsiteY12" fmla="*/ 2509 h 10000"/>
                <a:gd name="connsiteX13" fmla="*/ 6686 w 10000"/>
                <a:gd name="connsiteY13" fmla="*/ 3055 h 10000"/>
                <a:gd name="connsiteX14" fmla="*/ 6998 w 10000"/>
                <a:gd name="connsiteY14" fmla="*/ 3418 h 10000"/>
                <a:gd name="connsiteX15" fmla="*/ 7308 w 10000"/>
                <a:gd name="connsiteY15" fmla="*/ 3418 h 10000"/>
                <a:gd name="connsiteX16" fmla="*/ 7988 w 10000"/>
                <a:gd name="connsiteY16" fmla="*/ 3055 h 10000"/>
                <a:gd name="connsiteX17" fmla="*/ 8385 w 10000"/>
                <a:gd name="connsiteY17" fmla="*/ 3291 h 10000"/>
                <a:gd name="connsiteX18" fmla="*/ 8413 w 10000"/>
                <a:gd name="connsiteY18" fmla="*/ 3745 h 10000"/>
                <a:gd name="connsiteX19" fmla="*/ 9150 w 10000"/>
                <a:gd name="connsiteY19" fmla="*/ 4036 h 10000"/>
                <a:gd name="connsiteX20" fmla="*/ 9038 w 10000"/>
                <a:gd name="connsiteY20" fmla="*/ 4527 h 10000"/>
                <a:gd name="connsiteX21" fmla="*/ 9065 w 10000"/>
                <a:gd name="connsiteY21" fmla="*/ 4655 h 10000"/>
                <a:gd name="connsiteX22" fmla="*/ 9179 w 10000"/>
                <a:gd name="connsiteY22" fmla="*/ 4727 h 10000"/>
                <a:gd name="connsiteX23" fmla="*/ 8923 w 10000"/>
                <a:gd name="connsiteY23" fmla="*/ 4982 h 10000"/>
                <a:gd name="connsiteX24" fmla="*/ 8840 w 10000"/>
                <a:gd name="connsiteY24" fmla="*/ 5291 h 10000"/>
                <a:gd name="connsiteX25" fmla="*/ 9236 w 10000"/>
                <a:gd name="connsiteY25" fmla="*/ 5927 h 10000"/>
                <a:gd name="connsiteX26" fmla="*/ 9829 w 10000"/>
                <a:gd name="connsiteY26" fmla="*/ 6000 h 10000"/>
                <a:gd name="connsiteX27" fmla="*/ 10000 w 10000"/>
                <a:gd name="connsiteY27" fmla="*/ 6309 h 10000"/>
                <a:gd name="connsiteX28" fmla="*/ 9829 w 10000"/>
                <a:gd name="connsiteY28" fmla="*/ 6927 h 10000"/>
                <a:gd name="connsiteX29" fmla="*/ 8951 w 10000"/>
                <a:gd name="connsiteY29" fmla="*/ 7473 h 10000"/>
                <a:gd name="connsiteX30" fmla="*/ 9179 w 10000"/>
                <a:gd name="connsiteY30" fmla="*/ 8455 h 10000"/>
                <a:gd name="connsiteX31" fmla="*/ 8840 w 10000"/>
                <a:gd name="connsiteY31" fmla="*/ 8873 h 10000"/>
                <a:gd name="connsiteX32" fmla="*/ 9065 w 10000"/>
                <a:gd name="connsiteY32" fmla="*/ 9327 h 10000"/>
                <a:gd name="connsiteX33" fmla="*/ 7988 w 10000"/>
                <a:gd name="connsiteY33" fmla="*/ 9182 h 10000"/>
                <a:gd name="connsiteX34" fmla="*/ 7451 w 10000"/>
                <a:gd name="connsiteY34" fmla="*/ 9327 h 10000"/>
                <a:gd name="connsiteX35" fmla="*/ 6912 w 10000"/>
                <a:gd name="connsiteY35" fmla="*/ 9327 h 10000"/>
                <a:gd name="connsiteX36" fmla="*/ 6261 w 10000"/>
                <a:gd name="connsiteY36" fmla="*/ 9455 h 10000"/>
                <a:gd name="connsiteX37" fmla="*/ 5610 w 10000"/>
                <a:gd name="connsiteY37" fmla="*/ 9545 h 10000"/>
                <a:gd name="connsiteX38" fmla="*/ 4618 w 10000"/>
                <a:gd name="connsiteY38" fmla="*/ 10000 h 10000"/>
                <a:gd name="connsiteX39" fmla="*/ 4646 w 10000"/>
                <a:gd name="connsiteY39" fmla="*/ 9109 h 10000"/>
                <a:gd name="connsiteX40" fmla="*/ 4447 w 10000"/>
                <a:gd name="connsiteY40" fmla="*/ 8873 h 10000"/>
                <a:gd name="connsiteX41" fmla="*/ 3768 w 10000"/>
                <a:gd name="connsiteY41" fmla="*/ 8782 h 10000"/>
                <a:gd name="connsiteX42" fmla="*/ 3542 w 10000"/>
                <a:gd name="connsiteY42" fmla="*/ 8400 h 10000"/>
                <a:gd name="connsiteX43" fmla="*/ 3115 w 10000"/>
                <a:gd name="connsiteY43" fmla="*/ 8382 h 10000"/>
                <a:gd name="connsiteX44" fmla="*/ 2917 w 10000"/>
                <a:gd name="connsiteY44" fmla="*/ 8473 h 10000"/>
                <a:gd name="connsiteX45" fmla="*/ 2040 w 10000"/>
                <a:gd name="connsiteY45" fmla="*/ 8382 h 10000"/>
                <a:gd name="connsiteX46" fmla="*/ 1700 w 10000"/>
                <a:gd name="connsiteY46" fmla="*/ 8564 h 10000"/>
                <a:gd name="connsiteX47" fmla="*/ 2267 w 10000"/>
                <a:gd name="connsiteY47" fmla="*/ 8173 h 10000"/>
                <a:gd name="connsiteX48" fmla="*/ 2951 w 10000"/>
                <a:gd name="connsiteY48" fmla="*/ 7969 h 10000"/>
                <a:gd name="connsiteX49" fmla="*/ 618 w 10000"/>
                <a:gd name="connsiteY49" fmla="*/ 7090 h 10000"/>
                <a:gd name="connsiteX50" fmla="*/ 1112 w 10000"/>
                <a:gd name="connsiteY50" fmla="*/ 6778 h 10000"/>
                <a:gd name="connsiteX51" fmla="*/ 607 w 10000"/>
                <a:gd name="connsiteY51" fmla="*/ 6726 h 10000"/>
                <a:gd name="connsiteX52" fmla="*/ 1039 w 10000"/>
                <a:gd name="connsiteY52" fmla="*/ 6877 h 10000"/>
                <a:gd name="connsiteX53" fmla="*/ 619 w 10000"/>
                <a:gd name="connsiteY53" fmla="*/ 6295 h 10000"/>
                <a:gd name="connsiteX54" fmla="*/ 0 w 10000"/>
                <a:gd name="connsiteY54" fmla="*/ 6309 h 10000"/>
                <a:gd name="connsiteX55" fmla="*/ 227 w 10000"/>
                <a:gd name="connsiteY55" fmla="*/ 5891 h 10000"/>
                <a:gd name="connsiteX56" fmla="*/ 850 w 10000"/>
                <a:gd name="connsiteY56" fmla="*/ 5618 h 10000"/>
                <a:gd name="connsiteX57" fmla="*/ 963 w 10000"/>
                <a:gd name="connsiteY57" fmla="*/ 5218 h 10000"/>
                <a:gd name="connsiteX58" fmla="*/ 878 w 10000"/>
                <a:gd name="connsiteY58" fmla="*/ 4800 h 10000"/>
                <a:gd name="connsiteX59" fmla="*/ 1274 w 10000"/>
                <a:gd name="connsiteY59" fmla="*/ 4582 h 10000"/>
                <a:gd name="connsiteX60" fmla="*/ 737 w 10000"/>
                <a:gd name="connsiteY60" fmla="*/ 3982 h 10000"/>
                <a:gd name="connsiteX61" fmla="*/ 1304 w 10000"/>
                <a:gd name="connsiteY61" fmla="*/ 3182 h 10000"/>
                <a:gd name="connsiteX62" fmla="*/ 680 w 10000"/>
                <a:gd name="connsiteY62" fmla="*/ 2636 h 10000"/>
                <a:gd name="connsiteX63" fmla="*/ 850 w 10000"/>
                <a:gd name="connsiteY63" fmla="*/ 2036 h 10000"/>
                <a:gd name="connsiteX64" fmla="*/ 227 w 10000"/>
                <a:gd name="connsiteY64" fmla="*/ 1491 h 10000"/>
                <a:gd name="connsiteX65" fmla="*/ 227 w 10000"/>
                <a:gd name="connsiteY65" fmla="*/ 691 h 10000"/>
                <a:gd name="connsiteX0" fmla="*/ 227 w 10000"/>
                <a:gd name="connsiteY0" fmla="*/ 691 h 10000"/>
                <a:gd name="connsiteX1" fmla="*/ 2577 w 10000"/>
                <a:gd name="connsiteY1" fmla="*/ 73 h 10000"/>
                <a:gd name="connsiteX2" fmla="*/ 3654 w 10000"/>
                <a:gd name="connsiteY2" fmla="*/ 0 h 10000"/>
                <a:gd name="connsiteX3" fmla="*/ 4306 w 10000"/>
                <a:gd name="connsiteY3" fmla="*/ 18 h 10000"/>
                <a:gd name="connsiteX4" fmla="*/ 4533 w 10000"/>
                <a:gd name="connsiteY4" fmla="*/ 145 h 10000"/>
                <a:gd name="connsiteX5" fmla="*/ 4730 w 10000"/>
                <a:gd name="connsiteY5" fmla="*/ 309 h 10000"/>
                <a:gd name="connsiteX6" fmla="*/ 4759 w 10000"/>
                <a:gd name="connsiteY6" fmla="*/ 491 h 10000"/>
                <a:gd name="connsiteX7" fmla="*/ 4986 w 10000"/>
                <a:gd name="connsiteY7" fmla="*/ 545 h 10000"/>
                <a:gd name="connsiteX8" fmla="*/ 5269 w 10000"/>
                <a:gd name="connsiteY8" fmla="*/ 927 h 10000"/>
                <a:gd name="connsiteX9" fmla="*/ 5298 w 10000"/>
                <a:gd name="connsiteY9" fmla="*/ 1491 h 10000"/>
                <a:gd name="connsiteX10" fmla="*/ 5581 w 10000"/>
                <a:gd name="connsiteY10" fmla="*/ 1709 h 10000"/>
                <a:gd name="connsiteX11" fmla="*/ 6261 w 10000"/>
                <a:gd name="connsiteY11" fmla="*/ 1709 h 10000"/>
                <a:gd name="connsiteX12" fmla="*/ 6686 w 10000"/>
                <a:gd name="connsiteY12" fmla="*/ 2509 h 10000"/>
                <a:gd name="connsiteX13" fmla="*/ 6686 w 10000"/>
                <a:gd name="connsiteY13" fmla="*/ 3055 h 10000"/>
                <a:gd name="connsiteX14" fmla="*/ 6998 w 10000"/>
                <a:gd name="connsiteY14" fmla="*/ 3418 h 10000"/>
                <a:gd name="connsiteX15" fmla="*/ 7308 w 10000"/>
                <a:gd name="connsiteY15" fmla="*/ 3418 h 10000"/>
                <a:gd name="connsiteX16" fmla="*/ 7988 w 10000"/>
                <a:gd name="connsiteY16" fmla="*/ 3055 h 10000"/>
                <a:gd name="connsiteX17" fmla="*/ 8385 w 10000"/>
                <a:gd name="connsiteY17" fmla="*/ 3291 h 10000"/>
                <a:gd name="connsiteX18" fmla="*/ 8413 w 10000"/>
                <a:gd name="connsiteY18" fmla="*/ 3745 h 10000"/>
                <a:gd name="connsiteX19" fmla="*/ 9150 w 10000"/>
                <a:gd name="connsiteY19" fmla="*/ 4036 h 10000"/>
                <a:gd name="connsiteX20" fmla="*/ 9038 w 10000"/>
                <a:gd name="connsiteY20" fmla="*/ 4527 h 10000"/>
                <a:gd name="connsiteX21" fmla="*/ 9065 w 10000"/>
                <a:gd name="connsiteY21" fmla="*/ 4655 h 10000"/>
                <a:gd name="connsiteX22" fmla="*/ 9179 w 10000"/>
                <a:gd name="connsiteY22" fmla="*/ 4727 h 10000"/>
                <a:gd name="connsiteX23" fmla="*/ 8923 w 10000"/>
                <a:gd name="connsiteY23" fmla="*/ 4982 h 10000"/>
                <a:gd name="connsiteX24" fmla="*/ 8840 w 10000"/>
                <a:gd name="connsiteY24" fmla="*/ 5291 h 10000"/>
                <a:gd name="connsiteX25" fmla="*/ 9236 w 10000"/>
                <a:gd name="connsiteY25" fmla="*/ 5927 h 10000"/>
                <a:gd name="connsiteX26" fmla="*/ 9829 w 10000"/>
                <a:gd name="connsiteY26" fmla="*/ 6000 h 10000"/>
                <a:gd name="connsiteX27" fmla="*/ 10000 w 10000"/>
                <a:gd name="connsiteY27" fmla="*/ 6309 h 10000"/>
                <a:gd name="connsiteX28" fmla="*/ 9829 w 10000"/>
                <a:gd name="connsiteY28" fmla="*/ 6927 h 10000"/>
                <a:gd name="connsiteX29" fmla="*/ 8951 w 10000"/>
                <a:gd name="connsiteY29" fmla="*/ 7473 h 10000"/>
                <a:gd name="connsiteX30" fmla="*/ 9179 w 10000"/>
                <a:gd name="connsiteY30" fmla="*/ 8455 h 10000"/>
                <a:gd name="connsiteX31" fmla="*/ 8840 w 10000"/>
                <a:gd name="connsiteY31" fmla="*/ 8873 h 10000"/>
                <a:gd name="connsiteX32" fmla="*/ 9065 w 10000"/>
                <a:gd name="connsiteY32" fmla="*/ 9327 h 10000"/>
                <a:gd name="connsiteX33" fmla="*/ 7988 w 10000"/>
                <a:gd name="connsiteY33" fmla="*/ 9182 h 10000"/>
                <a:gd name="connsiteX34" fmla="*/ 7451 w 10000"/>
                <a:gd name="connsiteY34" fmla="*/ 9327 h 10000"/>
                <a:gd name="connsiteX35" fmla="*/ 6912 w 10000"/>
                <a:gd name="connsiteY35" fmla="*/ 9327 h 10000"/>
                <a:gd name="connsiteX36" fmla="*/ 6261 w 10000"/>
                <a:gd name="connsiteY36" fmla="*/ 9455 h 10000"/>
                <a:gd name="connsiteX37" fmla="*/ 5610 w 10000"/>
                <a:gd name="connsiteY37" fmla="*/ 9545 h 10000"/>
                <a:gd name="connsiteX38" fmla="*/ 4618 w 10000"/>
                <a:gd name="connsiteY38" fmla="*/ 10000 h 10000"/>
                <a:gd name="connsiteX39" fmla="*/ 4646 w 10000"/>
                <a:gd name="connsiteY39" fmla="*/ 9109 h 10000"/>
                <a:gd name="connsiteX40" fmla="*/ 4447 w 10000"/>
                <a:gd name="connsiteY40" fmla="*/ 8873 h 10000"/>
                <a:gd name="connsiteX41" fmla="*/ 3768 w 10000"/>
                <a:gd name="connsiteY41" fmla="*/ 8782 h 10000"/>
                <a:gd name="connsiteX42" fmla="*/ 3542 w 10000"/>
                <a:gd name="connsiteY42" fmla="*/ 8400 h 10000"/>
                <a:gd name="connsiteX43" fmla="*/ 3115 w 10000"/>
                <a:gd name="connsiteY43" fmla="*/ 8382 h 10000"/>
                <a:gd name="connsiteX44" fmla="*/ 2917 w 10000"/>
                <a:gd name="connsiteY44" fmla="*/ 8473 h 10000"/>
                <a:gd name="connsiteX45" fmla="*/ 2040 w 10000"/>
                <a:gd name="connsiteY45" fmla="*/ 8382 h 10000"/>
                <a:gd name="connsiteX46" fmla="*/ 1700 w 10000"/>
                <a:gd name="connsiteY46" fmla="*/ 8564 h 10000"/>
                <a:gd name="connsiteX47" fmla="*/ 2267 w 10000"/>
                <a:gd name="connsiteY47" fmla="*/ 8173 h 10000"/>
                <a:gd name="connsiteX48" fmla="*/ 2951 w 10000"/>
                <a:gd name="connsiteY48" fmla="*/ 7969 h 10000"/>
                <a:gd name="connsiteX49" fmla="*/ 1901 w 10000"/>
                <a:gd name="connsiteY49" fmla="*/ 7254 h 10000"/>
                <a:gd name="connsiteX50" fmla="*/ 618 w 10000"/>
                <a:gd name="connsiteY50" fmla="*/ 7090 h 10000"/>
                <a:gd name="connsiteX51" fmla="*/ 1112 w 10000"/>
                <a:gd name="connsiteY51" fmla="*/ 6778 h 10000"/>
                <a:gd name="connsiteX52" fmla="*/ 607 w 10000"/>
                <a:gd name="connsiteY52" fmla="*/ 6726 h 10000"/>
                <a:gd name="connsiteX53" fmla="*/ 1039 w 10000"/>
                <a:gd name="connsiteY53" fmla="*/ 6877 h 10000"/>
                <a:gd name="connsiteX54" fmla="*/ 619 w 10000"/>
                <a:gd name="connsiteY54" fmla="*/ 6295 h 10000"/>
                <a:gd name="connsiteX55" fmla="*/ 0 w 10000"/>
                <a:gd name="connsiteY55" fmla="*/ 6309 h 10000"/>
                <a:gd name="connsiteX56" fmla="*/ 227 w 10000"/>
                <a:gd name="connsiteY56" fmla="*/ 5891 h 10000"/>
                <a:gd name="connsiteX57" fmla="*/ 850 w 10000"/>
                <a:gd name="connsiteY57" fmla="*/ 5618 h 10000"/>
                <a:gd name="connsiteX58" fmla="*/ 963 w 10000"/>
                <a:gd name="connsiteY58" fmla="*/ 5218 h 10000"/>
                <a:gd name="connsiteX59" fmla="*/ 878 w 10000"/>
                <a:gd name="connsiteY59" fmla="*/ 4800 h 10000"/>
                <a:gd name="connsiteX60" fmla="*/ 1274 w 10000"/>
                <a:gd name="connsiteY60" fmla="*/ 4582 h 10000"/>
                <a:gd name="connsiteX61" fmla="*/ 737 w 10000"/>
                <a:gd name="connsiteY61" fmla="*/ 3982 h 10000"/>
                <a:gd name="connsiteX62" fmla="*/ 1304 w 10000"/>
                <a:gd name="connsiteY62" fmla="*/ 3182 h 10000"/>
                <a:gd name="connsiteX63" fmla="*/ 680 w 10000"/>
                <a:gd name="connsiteY63" fmla="*/ 2636 h 10000"/>
                <a:gd name="connsiteX64" fmla="*/ 850 w 10000"/>
                <a:gd name="connsiteY64" fmla="*/ 2036 h 10000"/>
                <a:gd name="connsiteX65" fmla="*/ 227 w 10000"/>
                <a:gd name="connsiteY65" fmla="*/ 1491 h 10000"/>
                <a:gd name="connsiteX66" fmla="*/ 227 w 10000"/>
                <a:gd name="connsiteY66" fmla="*/ 691 h 10000"/>
                <a:gd name="connsiteX0" fmla="*/ 227 w 10000"/>
                <a:gd name="connsiteY0" fmla="*/ 691 h 10000"/>
                <a:gd name="connsiteX1" fmla="*/ 2577 w 10000"/>
                <a:gd name="connsiteY1" fmla="*/ 73 h 10000"/>
                <a:gd name="connsiteX2" fmla="*/ 3654 w 10000"/>
                <a:gd name="connsiteY2" fmla="*/ 0 h 10000"/>
                <a:gd name="connsiteX3" fmla="*/ 4306 w 10000"/>
                <a:gd name="connsiteY3" fmla="*/ 18 h 10000"/>
                <a:gd name="connsiteX4" fmla="*/ 4533 w 10000"/>
                <a:gd name="connsiteY4" fmla="*/ 145 h 10000"/>
                <a:gd name="connsiteX5" fmla="*/ 4730 w 10000"/>
                <a:gd name="connsiteY5" fmla="*/ 309 h 10000"/>
                <a:gd name="connsiteX6" fmla="*/ 4759 w 10000"/>
                <a:gd name="connsiteY6" fmla="*/ 491 h 10000"/>
                <a:gd name="connsiteX7" fmla="*/ 4986 w 10000"/>
                <a:gd name="connsiteY7" fmla="*/ 545 h 10000"/>
                <a:gd name="connsiteX8" fmla="*/ 5269 w 10000"/>
                <a:gd name="connsiteY8" fmla="*/ 927 h 10000"/>
                <a:gd name="connsiteX9" fmla="*/ 5298 w 10000"/>
                <a:gd name="connsiteY9" fmla="*/ 1491 h 10000"/>
                <a:gd name="connsiteX10" fmla="*/ 5581 w 10000"/>
                <a:gd name="connsiteY10" fmla="*/ 1709 h 10000"/>
                <a:gd name="connsiteX11" fmla="*/ 6261 w 10000"/>
                <a:gd name="connsiteY11" fmla="*/ 1709 h 10000"/>
                <a:gd name="connsiteX12" fmla="*/ 6686 w 10000"/>
                <a:gd name="connsiteY12" fmla="*/ 2509 h 10000"/>
                <a:gd name="connsiteX13" fmla="*/ 6686 w 10000"/>
                <a:gd name="connsiteY13" fmla="*/ 3055 h 10000"/>
                <a:gd name="connsiteX14" fmla="*/ 6998 w 10000"/>
                <a:gd name="connsiteY14" fmla="*/ 3418 h 10000"/>
                <a:gd name="connsiteX15" fmla="*/ 7308 w 10000"/>
                <a:gd name="connsiteY15" fmla="*/ 3418 h 10000"/>
                <a:gd name="connsiteX16" fmla="*/ 7988 w 10000"/>
                <a:gd name="connsiteY16" fmla="*/ 3055 h 10000"/>
                <a:gd name="connsiteX17" fmla="*/ 8385 w 10000"/>
                <a:gd name="connsiteY17" fmla="*/ 3291 h 10000"/>
                <a:gd name="connsiteX18" fmla="*/ 8413 w 10000"/>
                <a:gd name="connsiteY18" fmla="*/ 3745 h 10000"/>
                <a:gd name="connsiteX19" fmla="*/ 9150 w 10000"/>
                <a:gd name="connsiteY19" fmla="*/ 4036 h 10000"/>
                <a:gd name="connsiteX20" fmla="*/ 9038 w 10000"/>
                <a:gd name="connsiteY20" fmla="*/ 4527 h 10000"/>
                <a:gd name="connsiteX21" fmla="*/ 9065 w 10000"/>
                <a:gd name="connsiteY21" fmla="*/ 4655 h 10000"/>
                <a:gd name="connsiteX22" fmla="*/ 9179 w 10000"/>
                <a:gd name="connsiteY22" fmla="*/ 4727 h 10000"/>
                <a:gd name="connsiteX23" fmla="*/ 8923 w 10000"/>
                <a:gd name="connsiteY23" fmla="*/ 4982 h 10000"/>
                <a:gd name="connsiteX24" fmla="*/ 8840 w 10000"/>
                <a:gd name="connsiteY24" fmla="*/ 5291 h 10000"/>
                <a:gd name="connsiteX25" fmla="*/ 9236 w 10000"/>
                <a:gd name="connsiteY25" fmla="*/ 5927 h 10000"/>
                <a:gd name="connsiteX26" fmla="*/ 9829 w 10000"/>
                <a:gd name="connsiteY26" fmla="*/ 6000 h 10000"/>
                <a:gd name="connsiteX27" fmla="*/ 10000 w 10000"/>
                <a:gd name="connsiteY27" fmla="*/ 6309 h 10000"/>
                <a:gd name="connsiteX28" fmla="*/ 9829 w 10000"/>
                <a:gd name="connsiteY28" fmla="*/ 6927 h 10000"/>
                <a:gd name="connsiteX29" fmla="*/ 8951 w 10000"/>
                <a:gd name="connsiteY29" fmla="*/ 7473 h 10000"/>
                <a:gd name="connsiteX30" fmla="*/ 9179 w 10000"/>
                <a:gd name="connsiteY30" fmla="*/ 8455 h 10000"/>
                <a:gd name="connsiteX31" fmla="*/ 8840 w 10000"/>
                <a:gd name="connsiteY31" fmla="*/ 8873 h 10000"/>
                <a:gd name="connsiteX32" fmla="*/ 9065 w 10000"/>
                <a:gd name="connsiteY32" fmla="*/ 9327 h 10000"/>
                <a:gd name="connsiteX33" fmla="*/ 7988 w 10000"/>
                <a:gd name="connsiteY33" fmla="*/ 9182 h 10000"/>
                <a:gd name="connsiteX34" fmla="*/ 7451 w 10000"/>
                <a:gd name="connsiteY34" fmla="*/ 9327 h 10000"/>
                <a:gd name="connsiteX35" fmla="*/ 6912 w 10000"/>
                <a:gd name="connsiteY35" fmla="*/ 9327 h 10000"/>
                <a:gd name="connsiteX36" fmla="*/ 6261 w 10000"/>
                <a:gd name="connsiteY36" fmla="*/ 9455 h 10000"/>
                <a:gd name="connsiteX37" fmla="*/ 5610 w 10000"/>
                <a:gd name="connsiteY37" fmla="*/ 9545 h 10000"/>
                <a:gd name="connsiteX38" fmla="*/ 4618 w 10000"/>
                <a:gd name="connsiteY38" fmla="*/ 10000 h 10000"/>
                <a:gd name="connsiteX39" fmla="*/ 4646 w 10000"/>
                <a:gd name="connsiteY39" fmla="*/ 9109 h 10000"/>
                <a:gd name="connsiteX40" fmla="*/ 4447 w 10000"/>
                <a:gd name="connsiteY40" fmla="*/ 8873 h 10000"/>
                <a:gd name="connsiteX41" fmla="*/ 3768 w 10000"/>
                <a:gd name="connsiteY41" fmla="*/ 8782 h 10000"/>
                <a:gd name="connsiteX42" fmla="*/ 3542 w 10000"/>
                <a:gd name="connsiteY42" fmla="*/ 8400 h 10000"/>
                <a:gd name="connsiteX43" fmla="*/ 3115 w 10000"/>
                <a:gd name="connsiteY43" fmla="*/ 8382 h 10000"/>
                <a:gd name="connsiteX44" fmla="*/ 2917 w 10000"/>
                <a:gd name="connsiteY44" fmla="*/ 8473 h 10000"/>
                <a:gd name="connsiteX45" fmla="*/ 2040 w 10000"/>
                <a:gd name="connsiteY45" fmla="*/ 8382 h 10000"/>
                <a:gd name="connsiteX46" fmla="*/ 1700 w 10000"/>
                <a:gd name="connsiteY46" fmla="*/ 8564 h 10000"/>
                <a:gd name="connsiteX47" fmla="*/ 2267 w 10000"/>
                <a:gd name="connsiteY47" fmla="*/ 8173 h 10000"/>
                <a:gd name="connsiteX48" fmla="*/ 2951 w 10000"/>
                <a:gd name="connsiteY48" fmla="*/ 7969 h 10000"/>
                <a:gd name="connsiteX49" fmla="*/ 1901 w 10000"/>
                <a:gd name="connsiteY49" fmla="*/ 7254 h 10000"/>
                <a:gd name="connsiteX50" fmla="*/ 1144 w 10000"/>
                <a:gd name="connsiteY50" fmla="*/ 6840 h 10000"/>
                <a:gd name="connsiteX51" fmla="*/ 1112 w 10000"/>
                <a:gd name="connsiteY51" fmla="*/ 6778 h 10000"/>
                <a:gd name="connsiteX52" fmla="*/ 607 w 10000"/>
                <a:gd name="connsiteY52" fmla="*/ 6726 h 10000"/>
                <a:gd name="connsiteX53" fmla="*/ 1039 w 10000"/>
                <a:gd name="connsiteY53" fmla="*/ 6877 h 10000"/>
                <a:gd name="connsiteX54" fmla="*/ 619 w 10000"/>
                <a:gd name="connsiteY54" fmla="*/ 6295 h 10000"/>
                <a:gd name="connsiteX55" fmla="*/ 0 w 10000"/>
                <a:gd name="connsiteY55" fmla="*/ 6309 h 10000"/>
                <a:gd name="connsiteX56" fmla="*/ 227 w 10000"/>
                <a:gd name="connsiteY56" fmla="*/ 5891 h 10000"/>
                <a:gd name="connsiteX57" fmla="*/ 850 w 10000"/>
                <a:gd name="connsiteY57" fmla="*/ 5618 h 10000"/>
                <a:gd name="connsiteX58" fmla="*/ 963 w 10000"/>
                <a:gd name="connsiteY58" fmla="*/ 5218 h 10000"/>
                <a:gd name="connsiteX59" fmla="*/ 878 w 10000"/>
                <a:gd name="connsiteY59" fmla="*/ 4800 h 10000"/>
                <a:gd name="connsiteX60" fmla="*/ 1274 w 10000"/>
                <a:gd name="connsiteY60" fmla="*/ 4582 h 10000"/>
                <a:gd name="connsiteX61" fmla="*/ 737 w 10000"/>
                <a:gd name="connsiteY61" fmla="*/ 3982 h 10000"/>
                <a:gd name="connsiteX62" fmla="*/ 1304 w 10000"/>
                <a:gd name="connsiteY62" fmla="*/ 3182 h 10000"/>
                <a:gd name="connsiteX63" fmla="*/ 680 w 10000"/>
                <a:gd name="connsiteY63" fmla="*/ 2636 h 10000"/>
                <a:gd name="connsiteX64" fmla="*/ 850 w 10000"/>
                <a:gd name="connsiteY64" fmla="*/ 2036 h 10000"/>
                <a:gd name="connsiteX65" fmla="*/ 227 w 10000"/>
                <a:gd name="connsiteY65" fmla="*/ 1491 h 10000"/>
                <a:gd name="connsiteX66" fmla="*/ 227 w 10000"/>
                <a:gd name="connsiteY66" fmla="*/ 691 h 10000"/>
                <a:gd name="connsiteX0" fmla="*/ 227 w 10000"/>
                <a:gd name="connsiteY0" fmla="*/ 691 h 10000"/>
                <a:gd name="connsiteX1" fmla="*/ 2577 w 10000"/>
                <a:gd name="connsiteY1" fmla="*/ 73 h 10000"/>
                <a:gd name="connsiteX2" fmla="*/ 3654 w 10000"/>
                <a:gd name="connsiteY2" fmla="*/ 0 h 10000"/>
                <a:gd name="connsiteX3" fmla="*/ 4306 w 10000"/>
                <a:gd name="connsiteY3" fmla="*/ 18 h 10000"/>
                <a:gd name="connsiteX4" fmla="*/ 4533 w 10000"/>
                <a:gd name="connsiteY4" fmla="*/ 145 h 10000"/>
                <a:gd name="connsiteX5" fmla="*/ 4730 w 10000"/>
                <a:gd name="connsiteY5" fmla="*/ 309 h 10000"/>
                <a:gd name="connsiteX6" fmla="*/ 4759 w 10000"/>
                <a:gd name="connsiteY6" fmla="*/ 491 h 10000"/>
                <a:gd name="connsiteX7" fmla="*/ 4986 w 10000"/>
                <a:gd name="connsiteY7" fmla="*/ 545 h 10000"/>
                <a:gd name="connsiteX8" fmla="*/ 5269 w 10000"/>
                <a:gd name="connsiteY8" fmla="*/ 927 h 10000"/>
                <a:gd name="connsiteX9" fmla="*/ 5298 w 10000"/>
                <a:gd name="connsiteY9" fmla="*/ 1491 h 10000"/>
                <a:gd name="connsiteX10" fmla="*/ 5581 w 10000"/>
                <a:gd name="connsiteY10" fmla="*/ 1709 h 10000"/>
                <a:gd name="connsiteX11" fmla="*/ 6261 w 10000"/>
                <a:gd name="connsiteY11" fmla="*/ 1709 h 10000"/>
                <a:gd name="connsiteX12" fmla="*/ 6686 w 10000"/>
                <a:gd name="connsiteY12" fmla="*/ 2509 h 10000"/>
                <a:gd name="connsiteX13" fmla="*/ 6686 w 10000"/>
                <a:gd name="connsiteY13" fmla="*/ 3055 h 10000"/>
                <a:gd name="connsiteX14" fmla="*/ 6998 w 10000"/>
                <a:gd name="connsiteY14" fmla="*/ 3418 h 10000"/>
                <a:gd name="connsiteX15" fmla="*/ 7308 w 10000"/>
                <a:gd name="connsiteY15" fmla="*/ 3418 h 10000"/>
                <a:gd name="connsiteX16" fmla="*/ 7988 w 10000"/>
                <a:gd name="connsiteY16" fmla="*/ 3055 h 10000"/>
                <a:gd name="connsiteX17" fmla="*/ 8385 w 10000"/>
                <a:gd name="connsiteY17" fmla="*/ 3291 h 10000"/>
                <a:gd name="connsiteX18" fmla="*/ 8413 w 10000"/>
                <a:gd name="connsiteY18" fmla="*/ 3745 h 10000"/>
                <a:gd name="connsiteX19" fmla="*/ 9150 w 10000"/>
                <a:gd name="connsiteY19" fmla="*/ 4036 h 10000"/>
                <a:gd name="connsiteX20" fmla="*/ 9038 w 10000"/>
                <a:gd name="connsiteY20" fmla="*/ 4527 h 10000"/>
                <a:gd name="connsiteX21" fmla="*/ 9065 w 10000"/>
                <a:gd name="connsiteY21" fmla="*/ 4655 h 10000"/>
                <a:gd name="connsiteX22" fmla="*/ 9179 w 10000"/>
                <a:gd name="connsiteY22" fmla="*/ 4727 h 10000"/>
                <a:gd name="connsiteX23" fmla="*/ 8923 w 10000"/>
                <a:gd name="connsiteY23" fmla="*/ 4982 h 10000"/>
                <a:gd name="connsiteX24" fmla="*/ 8840 w 10000"/>
                <a:gd name="connsiteY24" fmla="*/ 5291 h 10000"/>
                <a:gd name="connsiteX25" fmla="*/ 9236 w 10000"/>
                <a:gd name="connsiteY25" fmla="*/ 5927 h 10000"/>
                <a:gd name="connsiteX26" fmla="*/ 9829 w 10000"/>
                <a:gd name="connsiteY26" fmla="*/ 6000 h 10000"/>
                <a:gd name="connsiteX27" fmla="*/ 10000 w 10000"/>
                <a:gd name="connsiteY27" fmla="*/ 6309 h 10000"/>
                <a:gd name="connsiteX28" fmla="*/ 9829 w 10000"/>
                <a:gd name="connsiteY28" fmla="*/ 6927 h 10000"/>
                <a:gd name="connsiteX29" fmla="*/ 8951 w 10000"/>
                <a:gd name="connsiteY29" fmla="*/ 7473 h 10000"/>
                <a:gd name="connsiteX30" fmla="*/ 9179 w 10000"/>
                <a:gd name="connsiteY30" fmla="*/ 8455 h 10000"/>
                <a:gd name="connsiteX31" fmla="*/ 8840 w 10000"/>
                <a:gd name="connsiteY31" fmla="*/ 8873 h 10000"/>
                <a:gd name="connsiteX32" fmla="*/ 9065 w 10000"/>
                <a:gd name="connsiteY32" fmla="*/ 9327 h 10000"/>
                <a:gd name="connsiteX33" fmla="*/ 7988 w 10000"/>
                <a:gd name="connsiteY33" fmla="*/ 9182 h 10000"/>
                <a:gd name="connsiteX34" fmla="*/ 7451 w 10000"/>
                <a:gd name="connsiteY34" fmla="*/ 9327 h 10000"/>
                <a:gd name="connsiteX35" fmla="*/ 6912 w 10000"/>
                <a:gd name="connsiteY35" fmla="*/ 9327 h 10000"/>
                <a:gd name="connsiteX36" fmla="*/ 6261 w 10000"/>
                <a:gd name="connsiteY36" fmla="*/ 9455 h 10000"/>
                <a:gd name="connsiteX37" fmla="*/ 5610 w 10000"/>
                <a:gd name="connsiteY37" fmla="*/ 9545 h 10000"/>
                <a:gd name="connsiteX38" fmla="*/ 4618 w 10000"/>
                <a:gd name="connsiteY38" fmla="*/ 10000 h 10000"/>
                <a:gd name="connsiteX39" fmla="*/ 4646 w 10000"/>
                <a:gd name="connsiteY39" fmla="*/ 9109 h 10000"/>
                <a:gd name="connsiteX40" fmla="*/ 4447 w 10000"/>
                <a:gd name="connsiteY40" fmla="*/ 8873 h 10000"/>
                <a:gd name="connsiteX41" fmla="*/ 3768 w 10000"/>
                <a:gd name="connsiteY41" fmla="*/ 8782 h 10000"/>
                <a:gd name="connsiteX42" fmla="*/ 3542 w 10000"/>
                <a:gd name="connsiteY42" fmla="*/ 8400 h 10000"/>
                <a:gd name="connsiteX43" fmla="*/ 3115 w 10000"/>
                <a:gd name="connsiteY43" fmla="*/ 8382 h 10000"/>
                <a:gd name="connsiteX44" fmla="*/ 2917 w 10000"/>
                <a:gd name="connsiteY44" fmla="*/ 8473 h 10000"/>
                <a:gd name="connsiteX45" fmla="*/ 2040 w 10000"/>
                <a:gd name="connsiteY45" fmla="*/ 8382 h 10000"/>
                <a:gd name="connsiteX46" fmla="*/ 1700 w 10000"/>
                <a:gd name="connsiteY46" fmla="*/ 8564 h 10000"/>
                <a:gd name="connsiteX47" fmla="*/ 2267 w 10000"/>
                <a:gd name="connsiteY47" fmla="*/ 8173 h 10000"/>
                <a:gd name="connsiteX48" fmla="*/ 2583 w 10000"/>
                <a:gd name="connsiteY48" fmla="*/ 8144 h 10000"/>
                <a:gd name="connsiteX49" fmla="*/ 1901 w 10000"/>
                <a:gd name="connsiteY49" fmla="*/ 7254 h 10000"/>
                <a:gd name="connsiteX50" fmla="*/ 1144 w 10000"/>
                <a:gd name="connsiteY50" fmla="*/ 6840 h 10000"/>
                <a:gd name="connsiteX51" fmla="*/ 1112 w 10000"/>
                <a:gd name="connsiteY51" fmla="*/ 6778 h 10000"/>
                <a:gd name="connsiteX52" fmla="*/ 607 w 10000"/>
                <a:gd name="connsiteY52" fmla="*/ 6726 h 10000"/>
                <a:gd name="connsiteX53" fmla="*/ 1039 w 10000"/>
                <a:gd name="connsiteY53" fmla="*/ 6877 h 10000"/>
                <a:gd name="connsiteX54" fmla="*/ 619 w 10000"/>
                <a:gd name="connsiteY54" fmla="*/ 6295 h 10000"/>
                <a:gd name="connsiteX55" fmla="*/ 0 w 10000"/>
                <a:gd name="connsiteY55" fmla="*/ 6309 h 10000"/>
                <a:gd name="connsiteX56" fmla="*/ 227 w 10000"/>
                <a:gd name="connsiteY56" fmla="*/ 5891 h 10000"/>
                <a:gd name="connsiteX57" fmla="*/ 850 w 10000"/>
                <a:gd name="connsiteY57" fmla="*/ 5618 h 10000"/>
                <a:gd name="connsiteX58" fmla="*/ 963 w 10000"/>
                <a:gd name="connsiteY58" fmla="*/ 5218 h 10000"/>
                <a:gd name="connsiteX59" fmla="*/ 878 w 10000"/>
                <a:gd name="connsiteY59" fmla="*/ 4800 h 10000"/>
                <a:gd name="connsiteX60" fmla="*/ 1274 w 10000"/>
                <a:gd name="connsiteY60" fmla="*/ 4582 h 10000"/>
                <a:gd name="connsiteX61" fmla="*/ 737 w 10000"/>
                <a:gd name="connsiteY61" fmla="*/ 3982 h 10000"/>
                <a:gd name="connsiteX62" fmla="*/ 1304 w 10000"/>
                <a:gd name="connsiteY62" fmla="*/ 3182 h 10000"/>
                <a:gd name="connsiteX63" fmla="*/ 680 w 10000"/>
                <a:gd name="connsiteY63" fmla="*/ 2636 h 10000"/>
                <a:gd name="connsiteX64" fmla="*/ 850 w 10000"/>
                <a:gd name="connsiteY64" fmla="*/ 2036 h 10000"/>
                <a:gd name="connsiteX65" fmla="*/ 227 w 10000"/>
                <a:gd name="connsiteY65" fmla="*/ 1491 h 10000"/>
                <a:gd name="connsiteX66" fmla="*/ 227 w 10000"/>
                <a:gd name="connsiteY66" fmla="*/ 691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000" h="10000">
                  <a:moveTo>
                    <a:pt x="227" y="691"/>
                  </a:moveTo>
                  <a:lnTo>
                    <a:pt x="2577" y="73"/>
                  </a:lnTo>
                  <a:lnTo>
                    <a:pt x="3654" y="0"/>
                  </a:lnTo>
                  <a:lnTo>
                    <a:pt x="4306" y="18"/>
                  </a:lnTo>
                  <a:lnTo>
                    <a:pt x="4533" y="145"/>
                  </a:lnTo>
                  <a:cubicBezTo>
                    <a:pt x="4598" y="200"/>
                    <a:pt x="4664" y="254"/>
                    <a:pt x="4730" y="309"/>
                  </a:cubicBezTo>
                  <a:cubicBezTo>
                    <a:pt x="4740" y="370"/>
                    <a:pt x="4749" y="430"/>
                    <a:pt x="4759" y="491"/>
                  </a:cubicBezTo>
                  <a:lnTo>
                    <a:pt x="4986" y="545"/>
                  </a:lnTo>
                  <a:lnTo>
                    <a:pt x="5269" y="927"/>
                  </a:lnTo>
                  <a:cubicBezTo>
                    <a:pt x="5279" y="1115"/>
                    <a:pt x="5288" y="1303"/>
                    <a:pt x="5298" y="1491"/>
                  </a:cubicBezTo>
                  <a:lnTo>
                    <a:pt x="5581" y="1709"/>
                  </a:lnTo>
                  <a:lnTo>
                    <a:pt x="6261" y="1709"/>
                  </a:lnTo>
                  <a:lnTo>
                    <a:pt x="6686" y="2509"/>
                  </a:lnTo>
                  <a:lnTo>
                    <a:pt x="6686" y="3055"/>
                  </a:lnTo>
                  <a:lnTo>
                    <a:pt x="6998" y="3418"/>
                  </a:lnTo>
                  <a:lnTo>
                    <a:pt x="7308" y="3418"/>
                  </a:lnTo>
                  <a:lnTo>
                    <a:pt x="7988" y="3055"/>
                  </a:lnTo>
                  <a:lnTo>
                    <a:pt x="8385" y="3291"/>
                  </a:lnTo>
                  <a:cubicBezTo>
                    <a:pt x="8394" y="3442"/>
                    <a:pt x="8404" y="3594"/>
                    <a:pt x="8413" y="3745"/>
                  </a:cubicBezTo>
                  <a:lnTo>
                    <a:pt x="9150" y="4036"/>
                  </a:lnTo>
                  <a:cubicBezTo>
                    <a:pt x="9112" y="4200"/>
                    <a:pt x="9075" y="4363"/>
                    <a:pt x="9038" y="4527"/>
                  </a:cubicBezTo>
                  <a:cubicBezTo>
                    <a:pt x="9046" y="4570"/>
                    <a:pt x="9057" y="4612"/>
                    <a:pt x="9065" y="4655"/>
                  </a:cubicBezTo>
                  <a:lnTo>
                    <a:pt x="9179" y="4727"/>
                  </a:lnTo>
                  <a:lnTo>
                    <a:pt x="8923" y="4982"/>
                  </a:lnTo>
                  <a:cubicBezTo>
                    <a:pt x="8896" y="5085"/>
                    <a:pt x="8867" y="5188"/>
                    <a:pt x="8840" y="5291"/>
                  </a:cubicBezTo>
                  <a:lnTo>
                    <a:pt x="9236" y="5927"/>
                  </a:lnTo>
                  <a:lnTo>
                    <a:pt x="9829" y="6000"/>
                  </a:lnTo>
                  <a:lnTo>
                    <a:pt x="10000" y="6309"/>
                  </a:lnTo>
                  <a:lnTo>
                    <a:pt x="9829" y="6927"/>
                  </a:lnTo>
                  <a:lnTo>
                    <a:pt x="8951" y="7473"/>
                  </a:lnTo>
                  <a:lnTo>
                    <a:pt x="9179" y="8455"/>
                  </a:lnTo>
                  <a:lnTo>
                    <a:pt x="8840" y="8873"/>
                  </a:lnTo>
                  <a:lnTo>
                    <a:pt x="9065" y="9327"/>
                  </a:lnTo>
                  <a:lnTo>
                    <a:pt x="7988" y="9182"/>
                  </a:lnTo>
                  <a:lnTo>
                    <a:pt x="7451" y="9327"/>
                  </a:lnTo>
                  <a:lnTo>
                    <a:pt x="6912" y="9327"/>
                  </a:lnTo>
                  <a:lnTo>
                    <a:pt x="6261" y="9455"/>
                  </a:lnTo>
                  <a:lnTo>
                    <a:pt x="5610" y="9545"/>
                  </a:lnTo>
                  <a:lnTo>
                    <a:pt x="4618" y="10000"/>
                  </a:lnTo>
                  <a:cubicBezTo>
                    <a:pt x="4627" y="9703"/>
                    <a:pt x="4637" y="9406"/>
                    <a:pt x="4646" y="9109"/>
                  </a:cubicBezTo>
                  <a:cubicBezTo>
                    <a:pt x="4581" y="9030"/>
                    <a:pt x="4515" y="8952"/>
                    <a:pt x="4447" y="8873"/>
                  </a:cubicBezTo>
                  <a:lnTo>
                    <a:pt x="3768" y="8782"/>
                  </a:lnTo>
                  <a:lnTo>
                    <a:pt x="3542" y="8400"/>
                  </a:lnTo>
                  <a:lnTo>
                    <a:pt x="3115" y="8382"/>
                  </a:lnTo>
                  <a:lnTo>
                    <a:pt x="2917" y="8473"/>
                  </a:lnTo>
                  <a:lnTo>
                    <a:pt x="2040" y="8382"/>
                  </a:lnTo>
                  <a:lnTo>
                    <a:pt x="1700" y="8564"/>
                  </a:lnTo>
                  <a:cubicBezTo>
                    <a:pt x="1644" y="8794"/>
                    <a:pt x="2324" y="7943"/>
                    <a:pt x="2267" y="8173"/>
                  </a:cubicBezTo>
                  <a:lnTo>
                    <a:pt x="2583" y="8144"/>
                  </a:lnTo>
                  <a:cubicBezTo>
                    <a:pt x="2364" y="8005"/>
                    <a:pt x="2290" y="7400"/>
                    <a:pt x="1901" y="7254"/>
                  </a:cubicBezTo>
                  <a:cubicBezTo>
                    <a:pt x="1512" y="7108"/>
                    <a:pt x="1118" y="6933"/>
                    <a:pt x="1144" y="6840"/>
                  </a:cubicBezTo>
                  <a:cubicBezTo>
                    <a:pt x="1133" y="6819"/>
                    <a:pt x="1123" y="6799"/>
                    <a:pt x="1112" y="6778"/>
                  </a:cubicBezTo>
                  <a:lnTo>
                    <a:pt x="607" y="6726"/>
                  </a:lnTo>
                  <a:lnTo>
                    <a:pt x="1039" y="6877"/>
                  </a:lnTo>
                  <a:lnTo>
                    <a:pt x="619" y="6295"/>
                  </a:lnTo>
                  <a:lnTo>
                    <a:pt x="0" y="6309"/>
                  </a:lnTo>
                  <a:cubicBezTo>
                    <a:pt x="76" y="6170"/>
                    <a:pt x="152" y="6030"/>
                    <a:pt x="227" y="5891"/>
                  </a:cubicBezTo>
                  <a:lnTo>
                    <a:pt x="850" y="5618"/>
                  </a:lnTo>
                  <a:cubicBezTo>
                    <a:pt x="888" y="5485"/>
                    <a:pt x="925" y="5351"/>
                    <a:pt x="963" y="5218"/>
                  </a:cubicBezTo>
                  <a:cubicBezTo>
                    <a:pt x="936" y="5079"/>
                    <a:pt x="905" y="4939"/>
                    <a:pt x="878" y="4800"/>
                  </a:cubicBezTo>
                  <a:lnTo>
                    <a:pt x="1274" y="4582"/>
                  </a:lnTo>
                  <a:lnTo>
                    <a:pt x="737" y="3982"/>
                  </a:lnTo>
                  <a:lnTo>
                    <a:pt x="1304" y="3182"/>
                  </a:lnTo>
                  <a:lnTo>
                    <a:pt x="680" y="2636"/>
                  </a:lnTo>
                  <a:cubicBezTo>
                    <a:pt x="737" y="2436"/>
                    <a:pt x="793" y="2236"/>
                    <a:pt x="850" y="2036"/>
                  </a:cubicBezTo>
                  <a:lnTo>
                    <a:pt x="227" y="1491"/>
                  </a:lnTo>
                  <a:lnTo>
                    <a:pt x="227" y="69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0" name="AL"/>
            <p:cNvSpPr>
              <a:spLocks noChangeAspect="1"/>
            </p:cNvSpPr>
            <p:nvPr/>
          </p:nvSpPr>
          <p:spPr bwMode="auto">
            <a:xfrm>
              <a:off x="6745288" y="5126038"/>
              <a:ext cx="276225" cy="419100"/>
            </a:xfrm>
            <a:custGeom>
              <a:avLst/>
              <a:gdLst>
                <a:gd name="T0" fmla="*/ 14 w 188"/>
                <a:gd name="T1" fmla="*/ 80 h 353"/>
                <a:gd name="T2" fmla="*/ 26 w 188"/>
                <a:gd name="T3" fmla="*/ 90 h 353"/>
                <a:gd name="T4" fmla="*/ 26 w 188"/>
                <a:gd name="T5" fmla="*/ 106 h 353"/>
                <a:gd name="T6" fmla="*/ 24 w 188"/>
                <a:gd name="T7" fmla="*/ 116 h 353"/>
                <a:gd name="T8" fmla="*/ 17 w 188"/>
                <a:gd name="T9" fmla="*/ 130 h 353"/>
                <a:gd name="T10" fmla="*/ 17 w 188"/>
                <a:gd name="T11" fmla="*/ 164 h 353"/>
                <a:gd name="T12" fmla="*/ 22 w 188"/>
                <a:gd name="T13" fmla="*/ 177 h 353"/>
                <a:gd name="T14" fmla="*/ 5 w 188"/>
                <a:gd name="T15" fmla="*/ 205 h 353"/>
                <a:gd name="T16" fmla="*/ 9 w 188"/>
                <a:gd name="T17" fmla="*/ 211 h 353"/>
                <a:gd name="T18" fmla="*/ 0 w 188"/>
                <a:gd name="T19" fmla="*/ 226 h 353"/>
                <a:gd name="T20" fmla="*/ 8 w 188"/>
                <a:gd name="T21" fmla="*/ 242 h 353"/>
                <a:gd name="T22" fmla="*/ 9 w 188"/>
                <a:gd name="T23" fmla="*/ 253 h 353"/>
                <a:gd name="T24" fmla="*/ 14 w 188"/>
                <a:gd name="T25" fmla="*/ 239 h 353"/>
                <a:gd name="T26" fmla="*/ 28 w 188"/>
                <a:gd name="T27" fmla="*/ 258 h 353"/>
                <a:gd name="T28" fmla="*/ 26 w 188"/>
                <a:gd name="T29" fmla="*/ 276 h 353"/>
                <a:gd name="T30" fmla="*/ 19 w 188"/>
                <a:gd name="T31" fmla="*/ 285 h 353"/>
                <a:gd name="T32" fmla="*/ 28 w 188"/>
                <a:gd name="T33" fmla="*/ 300 h 353"/>
                <a:gd name="T34" fmla="*/ 40 w 188"/>
                <a:gd name="T35" fmla="*/ 306 h 353"/>
                <a:gd name="T36" fmla="*/ 59 w 188"/>
                <a:gd name="T37" fmla="*/ 319 h 353"/>
                <a:gd name="T38" fmla="*/ 75 w 188"/>
                <a:gd name="T39" fmla="*/ 335 h 353"/>
                <a:gd name="T40" fmla="*/ 78 w 188"/>
                <a:gd name="T41" fmla="*/ 345 h 353"/>
                <a:gd name="T42" fmla="*/ 97 w 188"/>
                <a:gd name="T43" fmla="*/ 353 h 353"/>
                <a:gd name="T44" fmla="*/ 113 w 188"/>
                <a:gd name="T45" fmla="*/ 345 h 353"/>
                <a:gd name="T46" fmla="*/ 133 w 188"/>
                <a:gd name="T47" fmla="*/ 332 h 353"/>
                <a:gd name="T48" fmla="*/ 143 w 188"/>
                <a:gd name="T49" fmla="*/ 309 h 353"/>
                <a:gd name="T50" fmla="*/ 152 w 188"/>
                <a:gd name="T51" fmla="*/ 295 h 353"/>
                <a:gd name="T52" fmla="*/ 169 w 188"/>
                <a:gd name="T53" fmla="*/ 261 h 353"/>
                <a:gd name="T54" fmla="*/ 174 w 188"/>
                <a:gd name="T55" fmla="*/ 235 h 353"/>
                <a:gd name="T56" fmla="*/ 176 w 188"/>
                <a:gd name="T57" fmla="*/ 211 h 353"/>
                <a:gd name="T58" fmla="*/ 188 w 188"/>
                <a:gd name="T59" fmla="*/ 195 h 353"/>
                <a:gd name="T60" fmla="*/ 169 w 188"/>
                <a:gd name="T61" fmla="*/ 189 h 353"/>
                <a:gd name="T62" fmla="*/ 162 w 188"/>
                <a:gd name="T63" fmla="*/ 180 h 353"/>
                <a:gd name="T64" fmla="*/ 152 w 188"/>
                <a:gd name="T65" fmla="*/ 182 h 353"/>
                <a:gd name="T66" fmla="*/ 136 w 188"/>
                <a:gd name="T67" fmla="*/ 174 h 353"/>
                <a:gd name="T68" fmla="*/ 132 w 188"/>
                <a:gd name="T69" fmla="*/ 150 h 353"/>
                <a:gd name="T70" fmla="*/ 127 w 188"/>
                <a:gd name="T71" fmla="*/ 133 h 353"/>
                <a:gd name="T72" fmla="*/ 136 w 188"/>
                <a:gd name="T73" fmla="*/ 114 h 353"/>
                <a:gd name="T74" fmla="*/ 136 w 188"/>
                <a:gd name="T75" fmla="*/ 59 h 353"/>
                <a:gd name="T76" fmla="*/ 136 w 188"/>
                <a:gd name="T77" fmla="*/ 40 h 353"/>
                <a:gd name="T78" fmla="*/ 127 w 188"/>
                <a:gd name="T79" fmla="*/ 29 h 353"/>
                <a:gd name="T80" fmla="*/ 110 w 188"/>
                <a:gd name="T81" fmla="*/ 27 h 353"/>
                <a:gd name="T82" fmla="*/ 99 w 188"/>
                <a:gd name="T83" fmla="*/ 22 h 353"/>
                <a:gd name="T84" fmla="*/ 89 w 188"/>
                <a:gd name="T85" fmla="*/ 3 h 353"/>
                <a:gd name="T86" fmla="*/ 78 w 188"/>
                <a:gd name="T87" fmla="*/ 0 h 353"/>
                <a:gd name="T88" fmla="*/ 72 w 188"/>
                <a:gd name="T89" fmla="*/ 9 h 353"/>
                <a:gd name="T90" fmla="*/ 71 w 188"/>
                <a:gd name="T91" fmla="*/ 3 h 353"/>
                <a:gd name="T92" fmla="*/ 52 w 188"/>
                <a:gd name="T93" fmla="*/ 6 h 353"/>
                <a:gd name="T94" fmla="*/ 42 w 188"/>
                <a:gd name="T95" fmla="*/ 0 h 353"/>
                <a:gd name="T96" fmla="*/ 28 w 188"/>
                <a:gd name="T97" fmla="*/ 10 h 353"/>
                <a:gd name="T98" fmla="*/ 26 w 188"/>
                <a:gd name="T99" fmla="*/ 43 h 353"/>
                <a:gd name="T100" fmla="*/ 22 w 188"/>
                <a:gd name="T101" fmla="*/ 63 h 353"/>
                <a:gd name="T102" fmla="*/ 14 w 188"/>
                <a:gd name="T103" fmla="*/ 8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8" h="353">
                  <a:moveTo>
                    <a:pt x="14" y="80"/>
                  </a:moveTo>
                  <a:lnTo>
                    <a:pt x="26" y="90"/>
                  </a:lnTo>
                  <a:lnTo>
                    <a:pt x="26" y="106"/>
                  </a:lnTo>
                  <a:lnTo>
                    <a:pt x="24" y="116"/>
                  </a:lnTo>
                  <a:lnTo>
                    <a:pt x="17" y="130"/>
                  </a:lnTo>
                  <a:lnTo>
                    <a:pt x="17" y="164"/>
                  </a:lnTo>
                  <a:lnTo>
                    <a:pt x="22" y="177"/>
                  </a:lnTo>
                  <a:lnTo>
                    <a:pt x="5" y="205"/>
                  </a:lnTo>
                  <a:lnTo>
                    <a:pt x="9" y="211"/>
                  </a:lnTo>
                  <a:lnTo>
                    <a:pt x="0" y="226"/>
                  </a:lnTo>
                  <a:lnTo>
                    <a:pt x="8" y="242"/>
                  </a:lnTo>
                  <a:lnTo>
                    <a:pt x="9" y="253"/>
                  </a:lnTo>
                  <a:lnTo>
                    <a:pt x="14" y="239"/>
                  </a:lnTo>
                  <a:lnTo>
                    <a:pt x="28" y="258"/>
                  </a:lnTo>
                  <a:lnTo>
                    <a:pt x="26" y="276"/>
                  </a:lnTo>
                  <a:lnTo>
                    <a:pt x="19" y="285"/>
                  </a:lnTo>
                  <a:lnTo>
                    <a:pt x="28" y="300"/>
                  </a:lnTo>
                  <a:lnTo>
                    <a:pt x="40" y="306"/>
                  </a:lnTo>
                  <a:lnTo>
                    <a:pt x="59" y="319"/>
                  </a:lnTo>
                  <a:lnTo>
                    <a:pt x="75" y="335"/>
                  </a:lnTo>
                  <a:lnTo>
                    <a:pt x="78" y="345"/>
                  </a:lnTo>
                  <a:lnTo>
                    <a:pt x="97" y="353"/>
                  </a:lnTo>
                  <a:lnTo>
                    <a:pt x="113" y="345"/>
                  </a:lnTo>
                  <a:lnTo>
                    <a:pt x="133" y="332"/>
                  </a:lnTo>
                  <a:lnTo>
                    <a:pt x="143" y="309"/>
                  </a:lnTo>
                  <a:lnTo>
                    <a:pt x="152" y="295"/>
                  </a:lnTo>
                  <a:lnTo>
                    <a:pt x="169" y="261"/>
                  </a:lnTo>
                  <a:lnTo>
                    <a:pt x="174" y="235"/>
                  </a:lnTo>
                  <a:lnTo>
                    <a:pt x="176" y="211"/>
                  </a:lnTo>
                  <a:lnTo>
                    <a:pt x="188" y="195"/>
                  </a:lnTo>
                  <a:lnTo>
                    <a:pt x="169" y="189"/>
                  </a:lnTo>
                  <a:lnTo>
                    <a:pt x="162" y="180"/>
                  </a:lnTo>
                  <a:lnTo>
                    <a:pt x="152" y="182"/>
                  </a:lnTo>
                  <a:lnTo>
                    <a:pt x="136" y="174"/>
                  </a:lnTo>
                  <a:lnTo>
                    <a:pt x="132" y="150"/>
                  </a:lnTo>
                  <a:lnTo>
                    <a:pt x="127" y="133"/>
                  </a:lnTo>
                  <a:lnTo>
                    <a:pt x="136" y="114"/>
                  </a:lnTo>
                  <a:lnTo>
                    <a:pt x="136" y="59"/>
                  </a:lnTo>
                  <a:lnTo>
                    <a:pt x="136" y="40"/>
                  </a:lnTo>
                  <a:lnTo>
                    <a:pt x="127" y="29"/>
                  </a:lnTo>
                  <a:lnTo>
                    <a:pt x="110" y="27"/>
                  </a:lnTo>
                  <a:lnTo>
                    <a:pt x="99" y="22"/>
                  </a:lnTo>
                  <a:lnTo>
                    <a:pt x="89" y="3"/>
                  </a:lnTo>
                  <a:lnTo>
                    <a:pt x="78" y="0"/>
                  </a:lnTo>
                  <a:lnTo>
                    <a:pt x="72" y="9"/>
                  </a:lnTo>
                  <a:lnTo>
                    <a:pt x="71" y="3"/>
                  </a:lnTo>
                  <a:lnTo>
                    <a:pt x="52" y="6"/>
                  </a:lnTo>
                  <a:lnTo>
                    <a:pt x="42" y="0"/>
                  </a:lnTo>
                  <a:lnTo>
                    <a:pt x="28" y="10"/>
                  </a:lnTo>
                  <a:lnTo>
                    <a:pt x="26" y="43"/>
                  </a:lnTo>
                  <a:lnTo>
                    <a:pt x="22" y="63"/>
                  </a:lnTo>
                  <a:lnTo>
                    <a:pt x="14" y="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1" name="BA"/>
            <p:cNvSpPr>
              <a:spLocks noChangeAspect="1"/>
            </p:cNvSpPr>
            <p:nvPr/>
          </p:nvSpPr>
          <p:spPr bwMode="auto">
            <a:xfrm>
              <a:off x="6326188" y="4695825"/>
              <a:ext cx="444500" cy="369888"/>
            </a:xfrm>
            <a:custGeom>
              <a:avLst/>
              <a:gdLst>
                <a:gd name="T0" fmla="*/ 277 w 300"/>
                <a:gd name="T1" fmla="*/ 44 h 313"/>
                <a:gd name="T2" fmla="*/ 262 w 300"/>
                <a:gd name="T3" fmla="*/ 44 h 313"/>
                <a:gd name="T4" fmla="*/ 245 w 300"/>
                <a:gd name="T5" fmla="*/ 31 h 313"/>
                <a:gd name="T6" fmla="*/ 224 w 300"/>
                <a:gd name="T7" fmla="*/ 18 h 313"/>
                <a:gd name="T8" fmla="*/ 197 w 300"/>
                <a:gd name="T9" fmla="*/ 34 h 313"/>
                <a:gd name="T10" fmla="*/ 173 w 300"/>
                <a:gd name="T11" fmla="*/ 27 h 313"/>
                <a:gd name="T12" fmla="*/ 152 w 300"/>
                <a:gd name="T13" fmla="*/ 38 h 313"/>
                <a:gd name="T14" fmla="*/ 150 w 300"/>
                <a:gd name="T15" fmla="*/ 27 h 313"/>
                <a:gd name="T16" fmla="*/ 131 w 300"/>
                <a:gd name="T17" fmla="*/ 26 h 313"/>
                <a:gd name="T18" fmla="*/ 109 w 300"/>
                <a:gd name="T19" fmla="*/ 0 h 313"/>
                <a:gd name="T20" fmla="*/ 74 w 300"/>
                <a:gd name="T21" fmla="*/ 43 h 313"/>
                <a:gd name="T22" fmla="*/ 21 w 300"/>
                <a:gd name="T23" fmla="*/ 23 h 313"/>
                <a:gd name="T24" fmla="*/ 0 w 300"/>
                <a:gd name="T25" fmla="*/ 30 h 313"/>
                <a:gd name="T26" fmla="*/ 0 w 300"/>
                <a:gd name="T27" fmla="*/ 44 h 313"/>
                <a:gd name="T28" fmla="*/ 57 w 300"/>
                <a:gd name="T29" fmla="*/ 111 h 313"/>
                <a:gd name="T30" fmla="*/ 71 w 300"/>
                <a:gd name="T31" fmla="*/ 155 h 313"/>
                <a:gd name="T32" fmla="*/ 101 w 300"/>
                <a:gd name="T33" fmla="*/ 181 h 313"/>
                <a:gd name="T34" fmla="*/ 114 w 300"/>
                <a:gd name="T35" fmla="*/ 176 h 313"/>
                <a:gd name="T36" fmla="*/ 188 w 300"/>
                <a:gd name="T37" fmla="*/ 266 h 313"/>
                <a:gd name="T38" fmla="*/ 193 w 300"/>
                <a:gd name="T39" fmla="*/ 286 h 313"/>
                <a:gd name="T40" fmla="*/ 188 w 300"/>
                <a:gd name="T41" fmla="*/ 299 h 313"/>
                <a:gd name="T42" fmla="*/ 193 w 300"/>
                <a:gd name="T43" fmla="*/ 313 h 313"/>
                <a:gd name="T44" fmla="*/ 215 w 300"/>
                <a:gd name="T45" fmla="*/ 300 h 313"/>
                <a:gd name="T46" fmla="*/ 231 w 300"/>
                <a:gd name="T47" fmla="*/ 294 h 313"/>
                <a:gd name="T48" fmla="*/ 231 w 300"/>
                <a:gd name="T49" fmla="*/ 265 h 313"/>
                <a:gd name="T50" fmla="*/ 253 w 300"/>
                <a:gd name="T51" fmla="*/ 245 h 313"/>
                <a:gd name="T52" fmla="*/ 262 w 300"/>
                <a:gd name="T53" fmla="*/ 223 h 313"/>
                <a:gd name="T54" fmla="*/ 285 w 300"/>
                <a:gd name="T55" fmla="*/ 213 h 313"/>
                <a:gd name="T56" fmla="*/ 288 w 300"/>
                <a:gd name="T57" fmla="*/ 188 h 313"/>
                <a:gd name="T58" fmla="*/ 285 w 300"/>
                <a:gd name="T59" fmla="*/ 164 h 313"/>
                <a:gd name="T60" fmla="*/ 296 w 300"/>
                <a:gd name="T61" fmla="*/ 154 h 313"/>
                <a:gd name="T62" fmla="*/ 276 w 300"/>
                <a:gd name="T63" fmla="*/ 121 h 313"/>
                <a:gd name="T64" fmla="*/ 300 w 300"/>
                <a:gd name="T65" fmla="*/ 74 h 313"/>
                <a:gd name="T66" fmla="*/ 277 w 300"/>
                <a:gd name="T67" fmla="*/ 44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0" h="313">
                  <a:moveTo>
                    <a:pt x="277" y="44"/>
                  </a:moveTo>
                  <a:lnTo>
                    <a:pt x="262" y="44"/>
                  </a:lnTo>
                  <a:lnTo>
                    <a:pt x="245" y="31"/>
                  </a:lnTo>
                  <a:lnTo>
                    <a:pt x="224" y="18"/>
                  </a:lnTo>
                  <a:lnTo>
                    <a:pt x="197" y="34"/>
                  </a:lnTo>
                  <a:lnTo>
                    <a:pt x="173" y="27"/>
                  </a:lnTo>
                  <a:lnTo>
                    <a:pt x="152" y="38"/>
                  </a:lnTo>
                  <a:lnTo>
                    <a:pt x="150" y="27"/>
                  </a:lnTo>
                  <a:lnTo>
                    <a:pt x="131" y="26"/>
                  </a:lnTo>
                  <a:lnTo>
                    <a:pt x="109" y="0"/>
                  </a:lnTo>
                  <a:lnTo>
                    <a:pt x="74" y="43"/>
                  </a:lnTo>
                  <a:lnTo>
                    <a:pt x="21" y="23"/>
                  </a:lnTo>
                  <a:lnTo>
                    <a:pt x="0" y="30"/>
                  </a:lnTo>
                  <a:lnTo>
                    <a:pt x="0" y="44"/>
                  </a:lnTo>
                  <a:lnTo>
                    <a:pt x="57" y="111"/>
                  </a:lnTo>
                  <a:lnTo>
                    <a:pt x="71" y="155"/>
                  </a:lnTo>
                  <a:lnTo>
                    <a:pt x="101" y="181"/>
                  </a:lnTo>
                  <a:lnTo>
                    <a:pt x="114" y="176"/>
                  </a:lnTo>
                  <a:lnTo>
                    <a:pt x="188" y="266"/>
                  </a:lnTo>
                  <a:lnTo>
                    <a:pt x="193" y="286"/>
                  </a:lnTo>
                  <a:lnTo>
                    <a:pt x="188" y="299"/>
                  </a:lnTo>
                  <a:lnTo>
                    <a:pt x="193" y="313"/>
                  </a:lnTo>
                  <a:lnTo>
                    <a:pt x="215" y="300"/>
                  </a:lnTo>
                  <a:lnTo>
                    <a:pt x="231" y="294"/>
                  </a:lnTo>
                  <a:lnTo>
                    <a:pt x="231" y="265"/>
                  </a:lnTo>
                  <a:lnTo>
                    <a:pt x="253" y="245"/>
                  </a:lnTo>
                  <a:lnTo>
                    <a:pt x="262" y="223"/>
                  </a:lnTo>
                  <a:lnTo>
                    <a:pt x="285" y="213"/>
                  </a:lnTo>
                  <a:lnTo>
                    <a:pt x="288" y="188"/>
                  </a:lnTo>
                  <a:lnTo>
                    <a:pt x="285" y="164"/>
                  </a:lnTo>
                  <a:lnTo>
                    <a:pt x="296" y="154"/>
                  </a:lnTo>
                  <a:lnTo>
                    <a:pt x="276" y="121"/>
                  </a:lnTo>
                  <a:lnTo>
                    <a:pt x="300" y="74"/>
                  </a:lnTo>
                  <a:lnTo>
                    <a:pt x="277" y="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grpSp>
          <p:nvGrpSpPr>
            <p:cNvPr id="12" name="IE"/>
            <p:cNvGrpSpPr/>
            <p:nvPr/>
          </p:nvGrpSpPr>
          <p:grpSpPr>
            <a:xfrm>
              <a:off x="3801983" y="2760668"/>
              <a:ext cx="611448" cy="468313"/>
              <a:chOff x="754064" y="3078843"/>
              <a:chExt cx="611449" cy="468313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103" name="Freeform 575"/>
              <p:cNvSpPr>
                <a:spLocks noChangeAspect="1"/>
              </p:cNvSpPr>
              <p:nvPr/>
            </p:nvSpPr>
            <p:spPr bwMode="auto">
              <a:xfrm>
                <a:off x="754064" y="3078843"/>
                <a:ext cx="566737" cy="468313"/>
              </a:xfrm>
              <a:custGeom>
                <a:avLst/>
                <a:gdLst>
                  <a:gd name="T0" fmla="*/ 137 w 384"/>
                  <a:gd name="T1" fmla="*/ 163 h 392"/>
                  <a:gd name="T2" fmla="*/ 135 w 384"/>
                  <a:gd name="T3" fmla="*/ 198 h 392"/>
                  <a:gd name="T4" fmla="*/ 109 w 384"/>
                  <a:gd name="T5" fmla="*/ 192 h 392"/>
                  <a:gd name="T6" fmla="*/ 80 w 384"/>
                  <a:gd name="T7" fmla="*/ 237 h 392"/>
                  <a:gd name="T8" fmla="*/ 42 w 384"/>
                  <a:gd name="T9" fmla="*/ 272 h 392"/>
                  <a:gd name="T10" fmla="*/ 17 w 384"/>
                  <a:gd name="T11" fmla="*/ 277 h 392"/>
                  <a:gd name="T12" fmla="*/ 8 w 384"/>
                  <a:gd name="T13" fmla="*/ 286 h 392"/>
                  <a:gd name="T14" fmla="*/ 14 w 384"/>
                  <a:gd name="T15" fmla="*/ 313 h 392"/>
                  <a:gd name="T16" fmla="*/ 6 w 384"/>
                  <a:gd name="T17" fmla="*/ 347 h 392"/>
                  <a:gd name="T18" fmla="*/ 22 w 384"/>
                  <a:gd name="T19" fmla="*/ 347 h 392"/>
                  <a:gd name="T20" fmla="*/ 38 w 384"/>
                  <a:gd name="T21" fmla="*/ 346 h 392"/>
                  <a:gd name="T22" fmla="*/ 31 w 384"/>
                  <a:gd name="T23" fmla="*/ 371 h 392"/>
                  <a:gd name="T24" fmla="*/ 69 w 384"/>
                  <a:gd name="T25" fmla="*/ 380 h 392"/>
                  <a:gd name="T26" fmla="*/ 102 w 384"/>
                  <a:gd name="T27" fmla="*/ 392 h 392"/>
                  <a:gd name="T28" fmla="*/ 137 w 384"/>
                  <a:gd name="T29" fmla="*/ 371 h 392"/>
                  <a:gd name="T30" fmla="*/ 236 w 384"/>
                  <a:gd name="T31" fmla="*/ 380 h 392"/>
                  <a:gd name="T32" fmla="*/ 288 w 384"/>
                  <a:gd name="T33" fmla="*/ 343 h 392"/>
                  <a:gd name="T34" fmla="*/ 316 w 384"/>
                  <a:gd name="T35" fmla="*/ 313 h 392"/>
                  <a:gd name="T36" fmla="*/ 340 w 384"/>
                  <a:gd name="T37" fmla="*/ 277 h 392"/>
                  <a:gd name="T38" fmla="*/ 351 w 384"/>
                  <a:gd name="T39" fmla="*/ 192 h 392"/>
                  <a:gd name="T40" fmla="*/ 365 w 384"/>
                  <a:gd name="T41" fmla="*/ 152 h 392"/>
                  <a:gd name="T42" fmla="*/ 346 w 384"/>
                  <a:gd name="T43" fmla="*/ 108 h 392"/>
                  <a:gd name="T44" fmla="*/ 318 w 384"/>
                  <a:gd name="T45" fmla="*/ 99 h 392"/>
                  <a:gd name="T46" fmla="*/ 304 w 384"/>
                  <a:gd name="T47" fmla="*/ 58 h 392"/>
                  <a:gd name="T48" fmla="*/ 344 w 384"/>
                  <a:gd name="T49" fmla="*/ 0 h 392"/>
                  <a:gd name="T50" fmla="*/ 283 w 384"/>
                  <a:gd name="T51" fmla="*/ 6 h 392"/>
                  <a:gd name="T52" fmla="*/ 255 w 384"/>
                  <a:gd name="T53" fmla="*/ 27 h 392"/>
                  <a:gd name="T54" fmla="*/ 228 w 384"/>
                  <a:gd name="T55" fmla="*/ 31 h 392"/>
                  <a:gd name="T56" fmla="*/ 259 w 384"/>
                  <a:gd name="T57" fmla="*/ 62 h 392"/>
                  <a:gd name="T58" fmla="*/ 201 w 384"/>
                  <a:gd name="T59" fmla="*/ 71 h 392"/>
                  <a:gd name="T60" fmla="*/ 144 w 384"/>
                  <a:gd name="T61" fmla="*/ 45 h 392"/>
                  <a:gd name="T62" fmla="*/ 127 w 384"/>
                  <a:gd name="T63" fmla="*/ 77 h 392"/>
                  <a:gd name="T64" fmla="*/ 126 w 384"/>
                  <a:gd name="T65" fmla="*/ 95 h 392"/>
                  <a:gd name="T66" fmla="*/ 111 w 384"/>
                  <a:gd name="T67" fmla="*/ 126 h 392"/>
                  <a:gd name="T68" fmla="*/ 92 w 384"/>
                  <a:gd name="T69" fmla="*/ 158 h 392"/>
                  <a:gd name="T70" fmla="*/ 113 w 384"/>
                  <a:gd name="T71" fmla="*/ 179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84" h="392">
                    <a:moveTo>
                      <a:pt x="142" y="148"/>
                    </a:moveTo>
                    <a:lnTo>
                      <a:pt x="137" y="163"/>
                    </a:lnTo>
                    <a:lnTo>
                      <a:pt x="142" y="185"/>
                    </a:lnTo>
                    <a:lnTo>
                      <a:pt x="135" y="198"/>
                    </a:lnTo>
                    <a:lnTo>
                      <a:pt x="123" y="189"/>
                    </a:lnTo>
                    <a:lnTo>
                      <a:pt x="109" y="192"/>
                    </a:lnTo>
                    <a:lnTo>
                      <a:pt x="109" y="208"/>
                    </a:lnTo>
                    <a:lnTo>
                      <a:pt x="80" y="237"/>
                    </a:lnTo>
                    <a:lnTo>
                      <a:pt x="64" y="245"/>
                    </a:lnTo>
                    <a:lnTo>
                      <a:pt x="42" y="272"/>
                    </a:lnTo>
                    <a:lnTo>
                      <a:pt x="28" y="279"/>
                    </a:lnTo>
                    <a:lnTo>
                      <a:pt x="17" y="277"/>
                    </a:lnTo>
                    <a:lnTo>
                      <a:pt x="12" y="281"/>
                    </a:lnTo>
                    <a:lnTo>
                      <a:pt x="8" y="286"/>
                    </a:lnTo>
                    <a:lnTo>
                      <a:pt x="14" y="294"/>
                    </a:lnTo>
                    <a:lnTo>
                      <a:pt x="14" y="313"/>
                    </a:lnTo>
                    <a:lnTo>
                      <a:pt x="0" y="330"/>
                    </a:lnTo>
                    <a:lnTo>
                      <a:pt x="6" y="347"/>
                    </a:lnTo>
                    <a:lnTo>
                      <a:pt x="6" y="347"/>
                    </a:lnTo>
                    <a:lnTo>
                      <a:pt x="22" y="347"/>
                    </a:lnTo>
                    <a:lnTo>
                      <a:pt x="28" y="334"/>
                    </a:lnTo>
                    <a:lnTo>
                      <a:pt x="38" y="346"/>
                    </a:lnTo>
                    <a:lnTo>
                      <a:pt x="26" y="355"/>
                    </a:lnTo>
                    <a:lnTo>
                      <a:pt x="31" y="371"/>
                    </a:lnTo>
                    <a:lnTo>
                      <a:pt x="38" y="374"/>
                    </a:lnTo>
                    <a:lnTo>
                      <a:pt x="69" y="380"/>
                    </a:lnTo>
                    <a:lnTo>
                      <a:pt x="74" y="382"/>
                    </a:lnTo>
                    <a:lnTo>
                      <a:pt x="102" y="392"/>
                    </a:lnTo>
                    <a:lnTo>
                      <a:pt x="113" y="387"/>
                    </a:lnTo>
                    <a:lnTo>
                      <a:pt x="137" y="371"/>
                    </a:lnTo>
                    <a:lnTo>
                      <a:pt x="173" y="380"/>
                    </a:lnTo>
                    <a:lnTo>
                      <a:pt x="236" y="380"/>
                    </a:lnTo>
                    <a:lnTo>
                      <a:pt x="271" y="371"/>
                    </a:lnTo>
                    <a:lnTo>
                      <a:pt x="288" y="343"/>
                    </a:lnTo>
                    <a:lnTo>
                      <a:pt x="309" y="330"/>
                    </a:lnTo>
                    <a:lnTo>
                      <a:pt x="316" y="313"/>
                    </a:lnTo>
                    <a:lnTo>
                      <a:pt x="323" y="290"/>
                    </a:lnTo>
                    <a:lnTo>
                      <a:pt x="340" y="277"/>
                    </a:lnTo>
                    <a:lnTo>
                      <a:pt x="354" y="237"/>
                    </a:lnTo>
                    <a:lnTo>
                      <a:pt x="351" y="192"/>
                    </a:lnTo>
                    <a:lnTo>
                      <a:pt x="384" y="171"/>
                    </a:lnTo>
                    <a:lnTo>
                      <a:pt x="365" y="152"/>
                    </a:lnTo>
                    <a:lnTo>
                      <a:pt x="359" y="121"/>
                    </a:lnTo>
                    <a:lnTo>
                      <a:pt x="346" y="108"/>
                    </a:lnTo>
                    <a:lnTo>
                      <a:pt x="332" y="108"/>
                    </a:lnTo>
                    <a:lnTo>
                      <a:pt x="318" y="99"/>
                    </a:lnTo>
                    <a:lnTo>
                      <a:pt x="293" y="65"/>
                    </a:lnTo>
                    <a:lnTo>
                      <a:pt x="304" y="58"/>
                    </a:lnTo>
                    <a:lnTo>
                      <a:pt x="349" y="13"/>
                    </a:lnTo>
                    <a:lnTo>
                      <a:pt x="344" y="0"/>
                    </a:lnTo>
                    <a:lnTo>
                      <a:pt x="330" y="3"/>
                    </a:lnTo>
                    <a:lnTo>
                      <a:pt x="283" y="6"/>
                    </a:lnTo>
                    <a:lnTo>
                      <a:pt x="266" y="18"/>
                    </a:lnTo>
                    <a:lnTo>
                      <a:pt x="255" y="27"/>
                    </a:lnTo>
                    <a:lnTo>
                      <a:pt x="239" y="24"/>
                    </a:lnTo>
                    <a:lnTo>
                      <a:pt x="228" y="31"/>
                    </a:lnTo>
                    <a:lnTo>
                      <a:pt x="236" y="45"/>
                    </a:lnTo>
                    <a:lnTo>
                      <a:pt x="259" y="62"/>
                    </a:lnTo>
                    <a:lnTo>
                      <a:pt x="242" y="65"/>
                    </a:lnTo>
                    <a:lnTo>
                      <a:pt x="201" y="71"/>
                    </a:lnTo>
                    <a:lnTo>
                      <a:pt x="173" y="58"/>
                    </a:lnTo>
                    <a:lnTo>
                      <a:pt x="144" y="45"/>
                    </a:lnTo>
                    <a:lnTo>
                      <a:pt x="135" y="52"/>
                    </a:lnTo>
                    <a:lnTo>
                      <a:pt x="127" y="77"/>
                    </a:lnTo>
                    <a:lnTo>
                      <a:pt x="130" y="89"/>
                    </a:lnTo>
                    <a:lnTo>
                      <a:pt x="126" y="95"/>
                    </a:lnTo>
                    <a:lnTo>
                      <a:pt x="109" y="102"/>
                    </a:lnTo>
                    <a:lnTo>
                      <a:pt x="111" y="126"/>
                    </a:lnTo>
                    <a:lnTo>
                      <a:pt x="109" y="132"/>
                    </a:lnTo>
                    <a:lnTo>
                      <a:pt x="92" y="158"/>
                    </a:lnTo>
                    <a:lnTo>
                      <a:pt x="107" y="182"/>
                    </a:lnTo>
                    <a:lnTo>
                      <a:pt x="113" y="179"/>
                    </a:lnTo>
                    <a:lnTo>
                      <a:pt x="142" y="1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104" name="Freeform 576"/>
              <p:cNvSpPr>
                <a:spLocks noChangeAspect="1"/>
              </p:cNvSpPr>
              <p:nvPr/>
            </p:nvSpPr>
            <p:spPr bwMode="auto">
              <a:xfrm>
                <a:off x="1182114" y="3116440"/>
                <a:ext cx="183399" cy="169877"/>
              </a:xfrm>
              <a:custGeom>
                <a:avLst/>
                <a:gdLst>
                  <a:gd name="T0" fmla="*/ 43 w 123"/>
                  <a:gd name="T1" fmla="*/ 0 h 140"/>
                  <a:gd name="T2" fmla="*/ 71 w 123"/>
                  <a:gd name="T3" fmla="*/ 0 h 140"/>
                  <a:gd name="T4" fmla="*/ 92 w 123"/>
                  <a:gd name="T5" fmla="*/ 5 h 140"/>
                  <a:gd name="T6" fmla="*/ 106 w 123"/>
                  <a:gd name="T7" fmla="*/ 28 h 140"/>
                  <a:gd name="T8" fmla="*/ 120 w 123"/>
                  <a:gd name="T9" fmla="*/ 65 h 140"/>
                  <a:gd name="T10" fmla="*/ 123 w 123"/>
                  <a:gd name="T11" fmla="*/ 96 h 140"/>
                  <a:gd name="T12" fmla="*/ 109 w 123"/>
                  <a:gd name="T13" fmla="*/ 112 h 140"/>
                  <a:gd name="T14" fmla="*/ 104 w 123"/>
                  <a:gd name="T15" fmla="*/ 133 h 140"/>
                  <a:gd name="T16" fmla="*/ 90 w 123"/>
                  <a:gd name="T17" fmla="*/ 140 h 140"/>
                  <a:gd name="T18" fmla="*/ 76 w 123"/>
                  <a:gd name="T19" fmla="*/ 122 h 140"/>
                  <a:gd name="T20" fmla="*/ 63 w 123"/>
                  <a:gd name="T21" fmla="*/ 88 h 140"/>
                  <a:gd name="T22" fmla="*/ 54 w 123"/>
                  <a:gd name="T23" fmla="*/ 75 h 140"/>
                  <a:gd name="T24" fmla="*/ 30 w 123"/>
                  <a:gd name="T25" fmla="*/ 72 h 140"/>
                  <a:gd name="T26" fmla="*/ 0 w 123"/>
                  <a:gd name="T27" fmla="*/ 37 h 140"/>
                  <a:gd name="T28" fmla="*/ 43 w 123"/>
                  <a:gd name="T2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3" h="140">
                    <a:moveTo>
                      <a:pt x="43" y="0"/>
                    </a:moveTo>
                    <a:lnTo>
                      <a:pt x="71" y="0"/>
                    </a:lnTo>
                    <a:lnTo>
                      <a:pt x="92" y="5"/>
                    </a:lnTo>
                    <a:lnTo>
                      <a:pt x="106" y="28"/>
                    </a:lnTo>
                    <a:lnTo>
                      <a:pt x="120" y="65"/>
                    </a:lnTo>
                    <a:lnTo>
                      <a:pt x="123" y="96"/>
                    </a:lnTo>
                    <a:lnTo>
                      <a:pt x="109" y="112"/>
                    </a:lnTo>
                    <a:lnTo>
                      <a:pt x="104" y="133"/>
                    </a:lnTo>
                    <a:lnTo>
                      <a:pt x="90" y="140"/>
                    </a:lnTo>
                    <a:lnTo>
                      <a:pt x="76" y="122"/>
                    </a:lnTo>
                    <a:lnTo>
                      <a:pt x="63" y="88"/>
                    </a:lnTo>
                    <a:lnTo>
                      <a:pt x="54" y="75"/>
                    </a:lnTo>
                    <a:lnTo>
                      <a:pt x="30" y="72"/>
                    </a:lnTo>
                    <a:lnTo>
                      <a:pt x="0" y="37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sp>
          <p:nvSpPr>
            <p:cNvPr id="13" name="NI"/>
            <p:cNvSpPr>
              <a:spLocks noChangeAspect="1"/>
            </p:cNvSpPr>
            <p:nvPr/>
          </p:nvSpPr>
          <p:spPr bwMode="auto">
            <a:xfrm>
              <a:off x="4224338" y="2790825"/>
              <a:ext cx="192087" cy="169863"/>
            </a:xfrm>
            <a:custGeom>
              <a:avLst/>
              <a:gdLst>
                <a:gd name="T0" fmla="*/ 43 w 123"/>
                <a:gd name="T1" fmla="*/ 0 h 140"/>
                <a:gd name="T2" fmla="*/ 71 w 123"/>
                <a:gd name="T3" fmla="*/ 0 h 140"/>
                <a:gd name="T4" fmla="*/ 92 w 123"/>
                <a:gd name="T5" fmla="*/ 5 h 140"/>
                <a:gd name="T6" fmla="*/ 106 w 123"/>
                <a:gd name="T7" fmla="*/ 28 h 140"/>
                <a:gd name="T8" fmla="*/ 120 w 123"/>
                <a:gd name="T9" fmla="*/ 65 h 140"/>
                <a:gd name="T10" fmla="*/ 123 w 123"/>
                <a:gd name="T11" fmla="*/ 96 h 140"/>
                <a:gd name="T12" fmla="*/ 109 w 123"/>
                <a:gd name="T13" fmla="*/ 112 h 140"/>
                <a:gd name="T14" fmla="*/ 104 w 123"/>
                <a:gd name="T15" fmla="*/ 133 h 140"/>
                <a:gd name="T16" fmla="*/ 90 w 123"/>
                <a:gd name="T17" fmla="*/ 140 h 140"/>
                <a:gd name="T18" fmla="*/ 76 w 123"/>
                <a:gd name="T19" fmla="*/ 122 h 140"/>
                <a:gd name="T20" fmla="*/ 63 w 123"/>
                <a:gd name="T21" fmla="*/ 88 h 140"/>
                <a:gd name="T22" fmla="*/ 54 w 123"/>
                <a:gd name="T23" fmla="*/ 75 h 140"/>
                <a:gd name="T24" fmla="*/ 30 w 123"/>
                <a:gd name="T25" fmla="*/ 72 h 140"/>
                <a:gd name="T26" fmla="*/ 0 w 123"/>
                <a:gd name="T27" fmla="*/ 37 h 140"/>
                <a:gd name="T28" fmla="*/ 43 w 123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3" h="140">
                  <a:moveTo>
                    <a:pt x="43" y="0"/>
                  </a:moveTo>
                  <a:lnTo>
                    <a:pt x="71" y="0"/>
                  </a:lnTo>
                  <a:lnTo>
                    <a:pt x="92" y="5"/>
                  </a:lnTo>
                  <a:lnTo>
                    <a:pt x="106" y="28"/>
                  </a:lnTo>
                  <a:lnTo>
                    <a:pt x="120" y="65"/>
                  </a:lnTo>
                  <a:lnTo>
                    <a:pt x="123" y="96"/>
                  </a:lnTo>
                  <a:lnTo>
                    <a:pt x="109" y="112"/>
                  </a:lnTo>
                  <a:lnTo>
                    <a:pt x="104" y="133"/>
                  </a:lnTo>
                  <a:lnTo>
                    <a:pt x="90" y="140"/>
                  </a:lnTo>
                  <a:lnTo>
                    <a:pt x="76" y="122"/>
                  </a:lnTo>
                  <a:lnTo>
                    <a:pt x="63" y="88"/>
                  </a:lnTo>
                  <a:lnTo>
                    <a:pt x="54" y="75"/>
                  </a:lnTo>
                  <a:lnTo>
                    <a:pt x="30" y="72"/>
                  </a:lnTo>
                  <a:lnTo>
                    <a:pt x="0" y="37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>
                <a:ea typeface="ＭＳ Ｐゴシック" charset="-128"/>
              </a:endParaRPr>
            </a:p>
          </p:txBody>
        </p:sp>
        <p:sp>
          <p:nvSpPr>
            <p:cNvPr id="14" name="CH"/>
            <p:cNvSpPr>
              <a:spLocks/>
            </p:cNvSpPr>
            <p:nvPr/>
          </p:nvSpPr>
          <p:spPr bwMode="auto">
            <a:xfrm>
              <a:off x="5226050" y="4206799"/>
              <a:ext cx="550863" cy="307975"/>
            </a:xfrm>
            <a:custGeom>
              <a:avLst/>
              <a:gdLst>
                <a:gd name="T0" fmla="*/ 197 w 376"/>
                <a:gd name="T1" fmla="*/ 53 h 276"/>
                <a:gd name="T2" fmla="*/ 178 w 376"/>
                <a:gd name="T3" fmla="*/ 34 h 276"/>
                <a:gd name="T4" fmla="*/ 181 w 376"/>
                <a:gd name="T5" fmla="*/ 27 h 276"/>
                <a:gd name="T6" fmla="*/ 170 w 376"/>
                <a:gd name="T7" fmla="*/ 16 h 276"/>
                <a:gd name="T8" fmla="*/ 159 w 376"/>
                <a:gd name="T9" fmla="*/ 0 h 276"/>
                <a:gd name="T10" fmla="*/ 148 w 376"/>
                <a:gd name="T11" fmla="*/ 16 h 276"/>
                <a:gd name="T12" fmla="*/ 140 w 376"/>
                <a:gd name="T13" fmla="*/ 10 h 276"/>
                <a:gd name="T14" fmla="*/ 127 w 376"/>
                <a:gd name="T15" fmla="*/ 24 h 276"/>
                <a:gd name="T16" fmla="*/ 127 w 376"/>
                <a:gd name="T17" fmla="*/ 32 h 276"/>
                <a:gd name="T18" fmla="*/ 110 w 376"/>
                <a:gd name="T19" fmla="*/ 40 h 276"/>
                <a:gd name="T20" fmla="*/ 68 w 376"/>
                <a:gd name="T21" fmla="*/ 77 h 276"/>
                <a:gd name="T22" fmla="*/ 57 w 376"/>
                <a:gd name="T23" fmla="*/ 93 h 276"/>
                <a:gd name="T24" fmla="*/ 57 w 376"/>
                <a:gd name="T25" fmla="*/ 111 h 276"/>
                <a:gd name="T26" fmla="*/ 42 w 376"/>
                <a:gd name="T27" fmla="*/ 117 h 276"/>
                <a:gd name="T28" fmla="*/ 11 w 376"/>
                <a:gd name="T29" fmla="*/ 154 h 276"/>
                <a:gd name="T30" fmla="*/ 11 w 376"/>
                <a:gd name="T31" fmla="*/ 167 h 276"/>
                <a:gd name="T32" fmla="*/ 0 w 376"/>
                <a:gd name="T33" fmla="*/ 182 h 276"/>
                <a:gd name="T34" fmla="*/ 5 w 376"/>
                <a:gd name="T35" fmla="*/ 201 h 276"/>
                <a:gd name="T36" fmla="*/ 19 w 376"/>
                <a:gd name="T37" fmla="*/ 191 h 276"/>
                <a:gd name="T38" fmla="*/ 33 w 376"/>
                <a:gd name="T39" fmla="*/ 174 h 276"/>
                <a:gd name="T40" fmla="*/ 54 w 376"/>
                <a:gd name="T41" fmla="*/ 169 h 276"/>
                <a:gd name="T42" fmla="*/ 68 w 376"/>
                <a:gd name="T43" fmla="*/ 174 h 276"/>
                <a:gd name="T44" fmla="*/ 73 w 376"/>
                <a:gd name="T45" fmla="*/ 201 h 276"/>
                <a:gd name="T46" fmla="*/ 71 w 376"/>
                <a:gd name="T47" fmla="*/ 219 h 276"/>
                <a:gd name="T48" fmla="*/ 80 w 376"/>
                <a:gd name="T49" fmla="*/ 232 h 276"/>
                <a:gd name="T50" fmla="*/ 91 w 376"/>
                <a:gd name="T51" fmla="*/ 241 h 276"/>
                <a:gd name="T52" fmla="*/ 115 w 376"/>
                <a:gd name="T53" fmla="*/ 243 h 276"/>
                <a:gd name="T54" fmla="*/ 167 w 376"/>
                <a:gd name="T55" fmla="*/ 251 h 276"/>
                <a:gd name="T56" fmla="*/ 178 w 376"/>
                <a:gd name="T57" fmla="*/ 243 h 276"/>
                <a:gd name="T58" fmla="*/ 186 w 376"/>
                <a:gd name="T59" fmla="*/ 232 h 276"/>
                <a:gd name="T60" fmla="*/ 191 w 376"/>
                <a:gd name="T61" fmla="*/ 208 h 276"/>
                <a:gd name="T62" fmla="*/ 210 w 376"/>
                <a:gd name="T63" fmla="*/ 206 h 276"/>
                <a:gd name="T64" fmla="*/ 216 w 376"/>
                <a:gd name="T65" fmla="*/ 222 h 276"/>
                <a:gd name="T66" fmla="*/ 216 w 376"/>
                <a:gd name="T67" fmla="*/ 258 h 276"/>
                <a:gd name="T68" fmla="*/ 240 w 376"/>
                <a:gd name="T69" fmla="*/ 276 h 276"/>
                <a:gd name="T70" fmla="*/ 258 w 376"/>
                <a:gd name="T71" fmla="*/ 245 h 276"/>
                <a:gd name="T72" fmla="*/ 277 w 376"/>
                <a:gd name="T73" fmla="*/ 235 h 276"/>
                <a:gd name="T74" fmla="*/ 299 w 376"/>
                <a:gd name="T75" fmla="*/ 238 h 276"/>
                <a:gd name="T76" fmla="*/ 315 w 376"/>
                <a:gd name="T77" fmla="*/ 248 h 276"/>
                <a:gd name="T78" fmla="*/ 322 w 376"/>
                <a:gd name="T79" fmla="*/ 256 h 276"/>
                <a:gd name="T80" fmla="*/ 327 w 376"/>
                <a:gd name="T81" fmla="*/ 229 h 276"/>
                <a:gd name="T82" fmla="*/ 339 w 376"/>
                <a:gd name="T83" fmla="*/ 198 h 276"/>
                <a:gd name="T84" fmla="*/ 367 w 376"/>
                <a:gd name="T85" fmla="*/ 192 h 276"/>
                <a:gd name="T86" fmla="*/ 376 w 376"/>
                <a:gd name="T87" fmla="*/ 172 h 276"/>
                <a:gd name="T88" fmla="*/ 367 w 376"/>
                <a:gd name="T89" fmla="*/ 155 h 276"/>
                <a:gd name="T90" fmla="*/ 354 w 376"/>
                <a:gd name="T91" fmla="*/ 148 h 276"/>
                <a:gd name="T92" fmla="*/ 319 w 376"/>
                <a:gd name="T93" fmla="*/ 141 h 276"/>
                <a:gd name="T94" fmla="*/ 318 w 376"/>
                <a:gd name="T95" fmla="*/ 121 h 276"/>
                <a:gd name="T96" fmla="*/ 318 w 376"/>
                <a:gd name="T97" fmla="*/ 100 h 276"/>
                <a:gd name="T98" fmla="*/ 318 w 376"/>
                <a:gd name="T99" fmla="*/ 84 h 276"/>
                <a:gd name="T100" fmla="*/ 296 w 376"/>
                <a:gd name="T101" fmla="*/ 71 h 276"/>
                <a:gd name="T102" fmla="*/ 285 w 376"/>
                <a:gd name="T103" fmla="*/ 77 h 276"/>
                <a:gd name="T104" fmla="*/ 266 w 376"/>
                <a:gd name="T105" fmla="*/ 61 h 276"/>
                <a:gd name="T106" fmla="*/ 263 w 376"/>
                <a:gd name="T107" fmla="*/ 50 h 276"/>
                <a:gd name="T108" fmla="*/ 256 w 376"/>
                <a:gd name="T109" fmla="*/ 37 h 276"/>
                <a:gd name="T110" fmla="*/ 256 w 376"/>
                <a:gd name="T111" fmla="*/ 32 h 276"/>
                <a:gd name="T112" fmla="*/ 235 w 376"/>
                <a:gd name="T113" fmla="*/ 24 h 276"/>
                <a:gd name="T114" fmla="*/ 228 w 376"/>
                <a:gd name="T115" fmla="*/ 34 h 276"/>
                <a:gd name="T116" fmla="*/ 214 w 376"/>
                <a:gd name="T117" fmla="*/ 46 h 276"/>
                <a:gd name="T118" fmla="*/ 197 w 376"/>
                <a:gd name="T119" fmla="*/ 53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6" h="276">
                  <a:moveTo>
                    <a:pt x="197" y="53"/>
                  </a:moveTo>
                  <a:lnTo>
                    <a:pt x="178" y="34"/>
                  </a:lnTo>
                  <a:lnTo>
                    <a:pt x="181" y="27"/>
                  </a:lnTo>
                  <a:lnTo>
                    <a:pt x="170" y="16"/>
                  </a:lnTo>
                  <a:lnTo>
                    <a:pt x="159" y="0"/>
                  </a:lnTo>
                  <a:lnTo>
                    <a:pt x="148" y="16"/>
                  </a:lnTo>
                  <a:lnTo>
                    <a:pt x="140" y="10"/>
                  </a:lnTo>
                  <a:lnTo>
                    <a:pt x="127" y="24"/>
                  </a:lnTo>
                  <a:lnTo>
                    <a:pt x="127" y="32"/>
                  </a:lnTo>
                  <a:lnTo>
                    <a:pt x="110" y="40"/>
                  </a:lnTo>
                  <a:lnTo>
                    <a:pt x="68" y="77"/>
                  </a:lnTo>
                  <a:lnTo>
                    <a:pt x="57" y="93"/>
                  </a:lnTo>
                  <a:lnTo>
                    <a:pt x="57" y="111"/>
                  </a:lnTo>
                  <a:lnTo>
                    <a:pt x="42" y="117"/>
                  </a:lnTo>
                  <a:lnTo>
                    <a:pt x="11" y="154"/>
                  </a:lnTo>
                  <a:lnTo>
                    <a:pt x="11" y="167"/>
                  </a:lnTo>
                  <a:lnTo>
                    <a:pt x="0" y="182"/>
                  </a:lnTo>
                  <a:lnTo>
                    <a:pt x="5" y="201"/>
                  </a:lnTo>
                  <a:lnTo>
                    <a:pt x="19" y="191"/>
                  </a:lnTo>
                  <a:lnTo>
                    <a:pt x="33" y="174"/>
                  </a:lnTo>
                  <a:lnTo>
                    <a:pt x="54" y="169"/>
                  </a:lnTo>
                  <a:lnTo>
                    <a:pt x="68" y="174"/>
                  </a:lnTo>
                  <a:lnTo>
                    <a:pt x="73" y="201"/>
                  </a:lnTo>
                  <a:lnTo>
                    <a:pt x="71" y="219"/>
                  </a:lnTo>
                  <a:lnTo>
                    <a:pt x="80" y="232"/>
                  </a:lnTo>
                  <a:lnTo>
                    <a:pt x="91" y="241"/>
                  </a:lnTo>
                  <a:lnTo>
                    <a:pt x="115" y="243"/>
                  </a:lnTo>
                  <a:lnTo>
                    <a:pt x="167" y="251"/>
                  </a:lnTo>
                  <a:lnTo>
                    <a:pt x="178" y="243"/>
                  </a:lnTo>
                  <a:lnTo>
                    <a:pt x="186" y="232"/>
                  </a:lnTo>
                  <a:lnTo>
                    <a:pt x="191" y="208"/>
                  </a:lnTo>
                  <a:lnTo>
                    <a:pt x="210" y="206"/>
                  </a:lnTo>
                  <a:lnTo>
                    <a:pt x="216" y="222"/>
                  </a:lnTo>
                  <a:lnTo>
                    <a:pt x="216" y="258"/>
                  </a:lnTo>
                  <a:lnTo>
                    <a:pt x="240" y="276"/>
                  </a:lnTo>
                  <a:lnTo>
                    <a:pt x="258" y="245"/>
                  </a:lnTo>
                  <a:lnTo>
                    <a:pt x="277" y="235"/>
                  </a:lnTo>
                  <a:lnTo>
                    <a:pt x="299" y="238"/>
                  </a:lnTo>
                  <a:lnTo>
                    <a:pt x="315" y="248"/>
                  </a:lnTo>
                  <a:lnTo>
                    <a:pt x="322" y="256"/>
                  </a:lnTo>
                  <a:lnTo>
                    <a:pt x="327" y="229"/>
                  </a:lnTo>
                  <a:lnTo>
                    <a:pt x="339" y="198"/>
                  </a:lnTo>
                  <a:lnTo>
                    <a:pt x="367" y="192"/>
                  </a:lnTo>
                  <a:lnTo>
                    <a:pt x="376" y="172"/>
                  </a:lnTo>
                  <a:lnTo>
                    <a:pt x="367" y="155"/>
                  </a:lnTo>
                  <a:lnTo>
                    <a:pt x="354" y="148"/>
                  </a:lnTo>
                  <a:lnTo>
                    <a:pt x="319" y="141"/>
                  </a:lnTo>
                  <a:lnTo>
                    <a:pt x="318" y="121"/>
                  </a:lnTo>
                  <a:lnTo>
                    <a:pt x="318" y="100"/>
                  </a:lnTo>
                  <a:lnTo>
                    <a:pt x="318" y="84"/>
                  </a:lnTo>
                  <a:lnTo>
                    <a:pt x="296" y="71"/>
                  </a:lnTo>
                  <a:lnTo>
                    <a:pt x="285" y="77"/>
                  </a:lnTo>
                  <a:lnTo>
                    <a:pt x="266" y="61"/>
                  </a:lnTo>
                  <a:lnTo>
                    <a:pt x="263" y="50"/>
                  </a:lnTo>
                  <a:lnTo>
                    <a:pt x="256" y="37"/>
                  </a:lnTo>
                  <a:lnTo>
                    <a:pt x="256" y="32"/>
                  </a:lnTo>
                  <a:lnTo>
                    <a:pt x="235" y="24"/>
                  </a:lnTo>
                  <a:lnTo>
                    <a:pt x="228" y="34"/>
                  </a:lnTo>
                  <a:lnTo>
                    <a:pt x="214" y="46"/>
                  </a:lnTo>
                  <a:lnTo>
                    <a:pt x="197" y="5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bg1"/>
              </a:solidFill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endParaRPr lang="de-CH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AT"/>
            <p:cNvSpPr>
              <a:spLocks/>
            </p:cNvSpPr>
            <p:nvPr/>
          </p:nvSpPr>
          <p:spPr bwMode="auto">
            <a:xfrm>
              <a:off x="5668963" y="4160838"/>
              <a:ext cx="846137" cy="342900"/>
            </a:xfrm>
            <a:custGeom>
              <a:avLst/>
              <a:gdLst>
                <a:gd name="T0" fmla="*/ 24 w 573"/>
                <a:gd name="T1" fmla="*/ 102 h 293"/>
                <a:gd name="T2" fmla="*/ 46 w 573"/>
                <a:gd name="T3" fmla="*/ 117 h 293"/>
                <a:gd name="T4" fmla="*/ 80 w 573"/>
                <a:gd name="T5" fmla="*/ 114 h 293"/>
                <a:gd name="T6" fmla="*/ 112 w 573"/>
                <a:gd name="T7" fmla="*/ 111 h 293"/>
                <a:gd name="T8" fmla="*/ 150 w 573"/>
                <a:gd name="T9" fmla="*/ 125 h 293"/>
                <a:gd name="T10" fmla="*/ 175 w 573"/>
                <a:gd name="T11" fmla="*/ 121 h 293"/>
                <a:gd name="T12" fmla="*/ 218 w 573"/>
                <a:gd name="T13" fmla="*/ 115 h 293"/>
                <a:gd name="T14" fmla="*/ 265 w 573"/>
                <a:gd name="T15" fmla="*/ 142 h 293"/>
                <a:gd name="T16" fmla="*/ 288 w 573"/>
                <a:gd name="T17" fmla="*/ 115 h 293"/>
                <a:gd name="T18" fmla="*/ 269 w 573"/>
                <a:gd name="T19" fmla="*/ 57 h 293"/>
                <a:gd name="T20" fmla="*/ 347 w 573"/>
                <a:gd name="T21" fmla="*/ 7 h 293"/>
                <a:gd name="T22" fmla="*/ 369 w 573"/>
                <a:gd name="T23" fmla="*/ 28 h 293"/>
                <a:gd name="T24" fmla="*/ 426 w 573"/>
                <a:gd name="T25" fmla="*/ 3 h 293"/>
                <a:gd name="T26" fmla="*/ 488 w 573"/>
                <a:gd name="T27" fmla="*/ 24 h 293"/>
                <a:gd name="T28" fmla="*/ 527 w 573"/>
                <a:gd name="T29" fmla="*/ 11 h 293"/>
                <a:gd name="T30" fmla="*/ 559 w 573"/>
                <a:gd name="T31" fmla="*/ 74 h 293"/>
                <a:gd name="T32" fmla="*/ 569 w 573"/>
                <a:gd name="T33" fmla="*/ 117 h 293"/>
                <a:gd name="T34" fmla="*/ 542 w 573"/>
                <a:gd name="T35" fmla="*/ 142 h 293"/>
                <a:gd name="T36" fmla="*/ 546 w 573"/>
                <a:gd name="T37" fmla="*/ 171 h 293"/>
                <a:gd name="T38" fmla="*/ 536 w 573"/>
                <a:gd name="T39" fmla="*/ 210 h 293"/>
                <a:gd name="T40" fmla="*/ 507 w 573"/>
                <a:gd name="T41" fmla="*/ 245 h 293"/>
                <a:gd name="T42" fmla="*/ 482 w 573"/>
                <a:gd name="T43" fmla="*/ 269 h 293"/>
                <a:gd name="T44" fmla="*/ 418 w 573"/>
                <a:gd name="T45" fmla="*/ 273 h 293"/>
                <a:gd name="T46" fmla="*/ 366 w 573"/>
                <a:gd name="T47" fmla="*/ 293 h 293"/>
                <a:gd name="T48" fmla="*/ 279 w 573"/>
                <a:gd name="T49" fmla="*/ 273 h 293"/>
                <a:gd name="T50" fmla="*/ 195 w 573"/>
                <a:gd name="T51" fmla="*/ 235 h 293"/>
                <a:gd name="T52" fmla="*/ 190 w 573"/>
                <a:gd name="T53" fmla="*/ 200 h 293"/>
                <a:gd name="T54" fmla="*/ 136 w 573"/>
                <a:gd name="T55" fmla="*/ 198 h 293"/>
                <a:gd name="T56" fmla="*/ 66 w 573"/>
                <a:gd name="T57" fmla="*/ 188 h 293"/>
                <a:gd name="T58" fmla="*/ 36 w 573"/>
                <a:gd name="T59" fmla="*/ 175 h 293"/>
                <a:gd name="T60" fmla="*/ 17 w 573"/>
                <a:gd name="T61" fmla="*/ 149 h 293"/>
                <a:gd name="T62" fmla="*/ 0 w 573"/>
                <a:gd name="T63" fmla="*/ 105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3" h="293">
                  <a:moveTo>
                    <a:pt x="0" y="105"/>
                  </a:moveTo>
                  <a:lnTo>
                    <a:pt x="24" y="102"/>
                  </a:lnTo>
                  <a:lnTo>
                    <a:pt x="33" y="100"/>
                  </a:lnTo>
                  <a:lnTo>
                    <a:pt x="46" y="117"/>
                  </a:lnTo>
                  <a:lnTo>
                    <a:pt x="61" y="111"/>
                  </a:lnTo>
                  <a:lnTo>
                    <a:pt x="80" y="114"/>
                  </a:lnTo>
                  <a:lnTo>
                    <a:pt x="91" y="124"/>
                  </a:lnTo>
                  <a:lnTo>
                    <a:pt x="112" y="111"/>
                  </a:lnTo>
                  <a:lnTo>
                    <a:pt x="138" y="112"/>
                  </a:lnTo>
                  <a:lnTo>
                    <a:pt x="150" y="125"/>
                  </a:lnTo>
                  <a:lnTo>
                    <a:pt x="166" y="129"/>
                  </a:lnTo>
                  <a:lnTo>
                    <a:pt x="175" y="121"/>
                  </a:lnTo>
                  <a:lnTo>
                    <a:pt x="204" y="115"/>
                  </a:lnTo>
                  <a:lnTo>
                    <a:pt x="218" y="115"/>
                  </a:lnTo>
                  <a:lnTo>
                    <a:pt x="240" y="124"/>
                  </a:lnTo>
                  <a:lnTo>
                    <a:pt x="265" y="142"/>
                  </a:lnTo>
                  <a:lnTo>
                    <a:pt x="284" y="134"/>
                  </a:lnTo>
                  <a:lnTo>
                    <a:pt x="288" y="115"/>
                  </a:lnTo>
                  <a:lnTo>
                    <a:pt x="275" y="91"/>
                  </a:lnTo>
                  <a:lnTo>
                    <a:pt x="269" y="57"/>
                  </a:lnTo>
                  <a:lnTo>
                    <a:pt x="333" y="7"/>
                  </a:lnTo>
                  <a:lnTo>
                    <a:pt x="347" y="7"/>
                  </a:lnTo>
                  <a:lnTo>
                    <a:pt x="350" y="24"/>
                  </a:lnTo>
                  <a:lnTo>
                    <a:pt x="369" y="28"/>
                  </a:lnTo>
                  <a:lnTo>
                    <a:pt x="409" y="23"/>
                  </a:lnTo>
                  <a:lnTo>
                    <a:pt x="426" y="3"/>
                  </a:lnTo>
                  <a:lnTo>
                    <a:pt x="476" y="0"/>
                  </a:lnTo>
                  <a:lnTo>
                    <a:pt x="488" y="24"/>
                  </a:lnTo>
                  <a:lnTo>
                    <a:pt x="508" y="24"/>
                  </a:lnTo>
                  <a:lnTo>
                    <a:pt x="527" y="11"/>
                  </a:lnTo>
                  <a:lnTo>
                    <a:pt x="559" y="34"/>
                  </a:lnTo>
                  <a:lnTo>
                    <a:pt x="559" y="74"/>
                  </a:lnTo>
                  <a:lnTo>
                    <a:pt x="573" y="91"/>
                  </a:lnTo>
                  <a:lnTo>
                    <a:pt x="569" y="117"/>
                  </a:lnTo>
                  <a:lnTo>
                    <a:pt x="559" y="142"/>
                  </a:lnTo>
                  <a:lnTo>
                    <a:pt x="542" y="142"/>
                  </a:lnTo>
                  <a:lnTo>
                    <a:pt x="536" y="149"/>
                  </a:lnTo>
                  <a:lnTo>
                    <a:pt x="546" y="171"/>
                  </a:lnTo>
                  <a:lnTo>
                    <a:pt x="546" y="192"/>
                  </a:lnTo>
                  <a:lnTo>
                    <a:pt x="536" y="210"/>
                  </a:lnTo>
                  <a:lnTo>
                    <a:pt x="508" y="226"/>
                  </a:lnTo>
                  <a:lnTo>
                    <a:pt x="507" y="245"/>
                  </a:lnTo>
                  <a:lnTo>
                    <a:pt x="507" y="263"/>
                  </a:lnTo>
                  <a:lnTo>
                    <a:pt x="482" y="269"/>
                  </a:lnTo>
                  <a:lnTo>
                    <a:pt x="438" y="266"/>
                  </a:lnTo>
                  <a:lnTo>
                    <a:pt x="418" y="273"/>
                  </a:lnTo>
                  <a:lnTo>
                    <a:pt x="381" y="273"/>
                  </a:lnTo>
                  <a:lnTo>
                    <a:pt x="366" y="293"/>
                  </a:lnTo>
                  <a:lnTo>
                    <a:pt x="308" y="272"/>
                  </a:lnTo>
                  <a:lnTo>
                    <a:pt x="279" y="273"/>
                  </a:lnTo>
                  <a:lnTo>
                    <a:pt x="205" y="255"/>
                  </a:lnTo>
                  <a:lnTo>
                    <a:pt x="195" y="235"/>
                  </a:lnTo>
                  <a:lnTo>
                    <a:pt x="195" y="213"/>
                  </a:lnTo>
                  <a:lnTo>
                    <a:pt x="190" y="200"/>
                  </a:lnTo>
                  <a:lnTo>
                    <a:pt x="181" y="195"/>
                  </a:lnTo>
                  <a:lnTo>
                    <a:pt x="136" y="198"/>
                  </a:lnTo>
                  <a:lnTo>
                    <a:pt x="72" y="205"/>
                  </a:lnTo>
                  <a:lnTo>
                    <a:pt x="66" y="188"/>
                  </a:lnTo>
                  <a:lnTo>
                    <a:pt x="55" y="182"/>
                  </a:lnTo>
                  <a:lnTo>
                    <a:pt x="36" y="175"/>
                  </a:lnTo>
                  <a:lnTo>
                    <a:pt x="17" y="169"/>
                  </a:lnTo>
                  <a:lnTo>
                    <a:pt x="17" y="149"/>
                  </a:lnTo>
                  <a:lnTo>
                    <a:pt x="17" y="121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de-CH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SI"/>
            <p:cNvSpPr>
              <a:spLocks/>
            </p:cNvSpPr>
            <p:nvPr/>
          </p:nvSpPr>
          <p:spPr bwMode="auto">
            <a:xfrm>
              <a:off x="6075363" y="4468813"/>
              <a:ext cx="369887" cy="203200"/>
            </a:xfrm>
            <a:custGeom>
              <a:avLst/>
              <a:gdLst>
                <a:gd name="T0" fmla="*/ 22 w 251"/>
                <a:gd name="T1" fmla="*/ 89 h 163"/>
                <a:gd name="T2" fmla="*/ 47 w 251"/>
                <a:gd name="T3" fmla="*/ 118 h 163"/>
                <a:gd name="T4" fmla="*/ 39 w 251"/>
                <a:gd name="T5" fmla="*/ 132 h 163"/>
                <a:gd name="T6" fmla="*/ 28 w 251"/>
                <a:gd name="T7" fmla="*/ 142 h 163"/>
                <a:gd name="T8" fmla="*/ 14 w 251"/>
                <a:gd name="T9" fmla="*/ 145 h 163"/>
                <a:gd name="T10" fmla="*/ 0 w 251"/>
                <a:gd name="T11" fmla="*/ 147 h 163"/>
                <a:gd name="T12" fmla="*/ 25 w 251"/>
                <a:gd name="T13" fmla="*/ 160 h 163"/>
                <a:gd name="T14" fmla="*/ 36 w 251"/>
                <a:gd name="T15" fmla="*/ 163 h 163"/>
                <a:gd name="T16" fmla="*/ 67 w 251"/>
                <a:gd name="T17" fmla="*/ 142 h 163"/>
                <a:gd name="T18" fmla="*/ 137 w 251"/>
                <a:gd name="T19" fmla="*/ 162 h 163"/>
                <a:gd name="T20" fmla="*/ 182 w 251"/>
                <a:gd name="T21" fmla="*/ 105 h 163"/>
                <a:gd name="T22" fmla="*/ 191 w 251"/>
                <a:gd name="T23" fmla="*/ 81 h 163"/>
                <a:gd name="T24" fmla="*/ 200 w 251"/>
                <a:gd name="T25" fmla="*/ 73 h 163"/>
                <a:gd name="T26" fmla="*/ 226 w 251"/>
                <a:gd name="T27" fmla="*/ 76 h 163"/>
                <a:gd name="T28" fmla="*/ 251 w 251"/>
                <a:gd name="T29" fmla="*/ 42 h 163"/>
                <a:gd name="T30" fmla="*/ 248 w 251"/>
                <a:gd name="T31" fmla="*/ 21 h 163"/>
                <a:gd name="T32" fmla="*/ 231 w 251"/>
                <a:gd name="T33" fmla="*/ 0 h 163"/>
                <a:gd name="T34" fmla="*/ 219 w 251"/>
                <a:gd name="T35" fmla="*/ 2 h 163"/>
                <a:gd name="T36" fmla="*/ 207 w 251"/>
                <a:gd name="T37" fmla="*/ 7 h 163"/>
                <a:gd name="T38" fmla="*/ 184 w 251"/>
                <a:gd name="T39" fmla="*/ 1 h 163"/>
                <a:gd name="T40" fmla="*/ 161 w 251"/>
                <a:gd name="T41" fmla="*/ 2 h 163"/>
                <a:gd name="T42" fmla="*/ 138 w 251"/>
                <a:gd name="T43" fmla="*/ 9 h 163"/>
                <a:gd name="T44" fmla="*/ 106 w 251"/>
                <a:gd name="T45" fmla="*/ 7 h 163"/>
                <a:gd name="T46" fmla="*/ 93 w 251"/>
                <a:gd name="T47" fmla="*/ 28 h 163"/>
                <a:gd name="T48" fmla="*/ 39 w 251"/>
                <a:gd name="T49" fmla="*/ 9 h 163"/>
                <a:gd name="T50" fmla="*/ 19 w 251"/>
                <a:gd name="T51" fmla="*/ 9 h 163"/>
                <a:gd name="T52" fmla="*/ 19 w 251"/>
                <a:gd name="T53" fmla="*/ 45 h 163"/>
                <a:gd name="T54" fmla="*/ 22 w 251"/>
                <a:gd name="T55" fmla="*/ 8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1" h="163">
                  <a:moveTo>
                    <a:pt x="22" y="89"/>
                  </a:moveTo>
                  <a:lnTo>
                    <a:pt x="47" y="118"/>
                  </a:lnTo>
                  <a:lnTo>
                    <a:pt x="39" y="132"/>
                  </a:lnTo>
                  <a:lnTo>
                    <a:pt x="28" y="142"/>
                  </a:lnTo>
                  <a:lnTo>
                    <a:pt x="14" y="145"/>
                  </a:lnTo>
                  <a:lnTo>
                    <a:pt x="0" y="147"/>
                  </a:lnTo>
                  <a:lnTo>
                    <a:pt x="25" y="160"/>
                  </a:lnTo>
                  <a:lnTo>
                    <a:pt x="36" y="163"/>
                  </a:lnTo>
                  <a:lnTo>
                    <a:pt x="67" y="142"/>
                  </a:lnTo>
                  <a:lnTo>
                    <a:pt x="137" y="162"/>
                  </a:lnTo>
                  <a:lnTo>
                    <a:pt x="182" y="105"/>
                  </a:lnTo>
                  <a:lnTo>
                    <a:pt x="191" y="81"/>
                  </a:lnTo>
                  <a:lnTo>
                    <a:pt x="200" y="73"/>
                  </a:lnTo>
                  <a:lnTo>
                    <a:pt x="226" y="76"/>
                  </a:lnTo>
                  <a:lnTo>
                    <a:pt x="251" y="42"/>
                  </a:lnTo>
                  <a:lnTo>
                    <a:pt x="248" y="21"/>
                  </a:lnTo>
                  <a:lnTo>
                    <a:pt x="231" y="0"/>
                  </a:lnTo>
                  <a:lnTo>
                    <a:pt x="219" y="2"/>
                  </a:lnTo>
                  <a:lnTo>
                    <a:pt x="207" y="7"/>
                  </a:lnTo>
                  <a:lnTo>
                    <a:pt x="184" y="1"/>
                  </a:lnTo>
                  <a:lnTo>
                    <a:pt x="161" y="2"/>
                  </a:lnTo>
                  <a:lnTo>
                    <a:pt x="138" y="9"/>
                  </a:lnTo>
                  <a:lnTo>
                    <a:pt x="106" y="7"/>
                  </a:lnTo>
                  <a:lnTo>
                    <a:pt x="93" y="28"/>
                  </a:lnTo>
                  <a:lnTo>
                    <a:pt x="39" y="9"/>
                  </a:lnTo>
                  <a:lnTo>
                    <a:pt x="19" y="9"/>
                  </a:lnTo>
                  <a:lnTo>
                    <a:pt x="19" y="45"/>
                  </a:lnTo>
                  <a:lnTo>
                    <a:pt x="22" y="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7" name="BG"/>
            <p:cNvSpPr>
              <a:spLocks noChangeAspect="1"/>
            </p:cNvSpPr>
            <p:nvPr/>
          </p:nvSpPr>
          <p:spPr bwMode="auto">
            <a:xfrm>
              <a:off x="7159625" y="4818063"/>
              <a:ext cx="719138" cy="485775"/>
            </a:xfrm>
            <a:custGeom>
              <a:avLst/>
              <a:gdLst>
                <a:gd name="T0" fmla="*/ 9 w 485"/>
                <a:gd name="T1" fmla="*/ 56 h 398"/>
                <a:gd name="T2" fmla="*/ 3 w 485"/>
                <a:gd name="T3" fmla="*/ 84 h 398"/>
                <a:gd name="T4" fmla="*/ 36 w 485"/>
                <a:gd name="T5" fmla="*/ 117 h 398"/>
                <a:gd name="T6" fmla="*/ 38 w 485"/>
                <a:gd name="T7" fmla="*/ 164 h 398"/>
                <a:gd name="T8" fmla="*/ 8 w 485"/>
                <a:gd name="T9" fmla="*/ 191 h 398"/>
                <a:gd name="T10" fmla="*/ 12 w 485"/>
                <a:gd name="T11" fmla="*/ 225 h 398"/>
                <a:gd name="T12" fmla="*/ 8 w 485"/>
                <a:gd name="T13" fmla="*/ 263 h 398"/>
                <a:gd name="T14" fmla="*/ 12 w 485"/>
                <a:gd name="T15" fmla="*/ 296 h 398"/>
                <a:gd name="T16" fmla="*/ 38 w 485"/>
                <a:gd name="T17" fmla="*/ 315 h 398"/>
                <a:gd name="T18" fmla="*/ 39 w 485"/>
                <a:gd name="T19" fmla="*/ 362 h 398"/>
                <a:gd name="T20" fmla="*/ 56 w 485"/>
                <a:gd name="T21" fmla="*/ 398 h 398"/>
                <a:gd name="T22" fmla="*/ 138 w 485"/>
                <a:gd name="T23" fmla="*/ 374 h 398"/>
                <a:gd name="T24" fmla="*/ 188 w 485"/>
                <a:gd name="T25" fmla="*/ 334 h 398"/>
                <a:gd name="T26" fmla="*/ 226 w 485"/>
                <a:gd name="T27" fmla="*/ 359 h 398"/>
                <a:gd name="T28" fmla="*/ 262 w 485"/>
                <a:gd name="T29" fmla="*/ 371 h 398"/>
                <a:gd name="T30" fmla="*/ 307 w 485"/>
                <a:gd name="T31" fmla="*/ 353 h 398"/>
                <a:gd name="T32" fmla="*/ 309 w 485"/>
                <a:gd name="T33" fmla="*/ 312 h 398"/>
                <a:gd name="T34" fmla="*/ 342 w 485"/>
                <a:gd name="T35" fmla="*/ 312 h 398"/>
                <a:gd name="T36" fmla="*/ 359 w 485"/>
                <a:gd name="T37" fmla="*/ 300 h 398"/>
                <a:gd name="T38" fmla="*/ 424 w 485"/>
                <a:gd name="T39" fmla="*/ 278 h 398"/>
                <a:gd name="T40" fmla="*/ 447 w 485"/>
                <a:gd name="T41" fmla="*/ 248 h 398"/>
                <a:gd name="T42" fmla="*/ 414 w 485"/>
                <a:gd name="T43" fmla="*/ 208 h 398"/>
                <a:gd name="T44" fmla="*/ 429 w 485"/>
                <a:gd name="T45" fmla="*/ 177 h 398"/>
                <a:gd name="T46" fmla="*/ 441 w 485"/>
                <a:gd name="T47" fmla="*/ 158 h 398"/>
                <a:gd name="T48" fmla="*/ 450 w 485"/>
                <a:gd name="T49" fmla="*/ 117 h 398"/>
                <a:gd name="T50" fmla="*/ 460 w 485"/>
                <a:gd name="T51" fmla="*/ 74 h 398"/>
                <a:gd name="T52" fmla="*/ 485 w 485"/>
                <a:gd name="T53" fmla="*/ 56 h 398"/>
                <a:gd name="T54" fmla="*/ 471 w 485"/>
                <a:gd name="T55" fmla="*/ 13 h 398"/>
                <a:gd name="T56" fmla="*/ 405 w 485"/>
                <a:gd name="T57" fmla="*/ 3 h 398"/>
                <a:gd name="T58" fmla="*/ 336 w 485"/>
                <a:gd name="T59" fmla="*/ 9 h 398"/>
                <a:gd name="T60" fmla="*/ 270 w 485"/>
                <a:gd name="T61" fmla="*/ 46 h 398"/>
                <a:gd name="T62" fmla="*/ 218 w 485"/>
                <a:gd name="T63" fmla="*/ 71 h 398"/>
                <a:gd name="T64" fmla="*/ 150 w 485"/>
                <a:gd name="T65" fmla="*/ 77 h 398"/>
                <a:gd name="T66" fmla="*/ 105 w 485"/>
                <a:gd name="T67" fmla="*/ 74 h 398"/>
                <a:gd name="T68" fmla="*/ 52 w 485"/>
                <a:gd name="T69" fmla="*/ 53 h 398"/>
                <a:gd name="T70" fmla="*/ 12 w 485"/>
                <a:gd name="T71" fmla="*/ 47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5" h="398">
                  <a:moveTo>
                    <a:pt x="12" y="47"/>
                  </a:moveTo>
                  <a:lnTo>
                    <a:pt x="9" y="56"/>
                  </a:lnTo>
                  <a:lnTo>
                    <a:pt x="0" y="66"/>
                  </a:lnTo>
                  <a:lnTo>
                    <a:pt x="3" y="84"/>
                  </a:lnTo>
                  <a:lnTo>
                    <a:pt x="17" y="114"/>
                  </a:lnTo>
                  <a:lnTo>
                    <a:pt x="36" y="117"/>
                  </a:lnTo>
                  <a:lnTo>
                    <a:pt x="39" y="130"/>
                  </a:lnTo>
                  <a:lnTo>
                    <a:pt x="38" y="164"/>
                  </a:lnTo>
                  <a:lnTo>
                    <a:pt x="31" y="174"/>
                  </a:lnTo>
                  <a:lnTo>
                    <a:pt x="8" y="191"/>
                  </a:lnTo>
                  <a:lnTo>
                    <a:pt x="5" y="199"/>
                  </a:lnTo>
                  <a:lnTo>
                    <a:pt x="12" y="225"/>
                  </a:lnTo>
                  <a:lnTo>
                    <a:pt x="14" y="245"/>
                  </a:lnTo>
                  <a:lnTo>
                    <a:pt x="8" y="263"/>
                  </a:lnTo>
                  <a:lnTo>
                    <a:pt x="0" y="278"/>
                  </a:lnTo>
                  <a:lnTo>
                    <a:pt x="12" y="296"/>
                  </a:lnTo>
                  <a:lnTo>
                    <a:pt x="22" y="293"/>
                  </a:lnTo>
                  <a:lnTo>
                    <a:pt x="38" y="315"/>
                  </a:lnTo>
                  <a:lnTo>
                    <a:pt x="39" y="334"/>
                  </a:lnTo>
                  <a:lnTo>
                    <a:pt x="39" y="362"/>
                  </a:lnTo>
                  <a:lnTo>
                    <a:pt x="38" y="374"/>
                  </a:lnTo>
                  <a:lnTo>
                    <a:pt x="56" y="398"/>
                  </a:lnTo>
                  <a:lnTo>
                    <a:pt x="94" y="390"/>
                  </a:lnTo>
                  <a:lnTo>
                    <a:pt x="138" y="374"/>
                  </a:lnTo>
                  <a:lnTo>
                    <a:pt x="171" y="352"/>
                  </a:lnTo>
                  <a:lnTo>
                    <a:pt x="188" y="334"/>
                  </a:lnTo>
                  <a:lnTo>
                    <a:pt x="209" y="367"/>
                  </a:lnTo>
                  <a:lnTo>
                    <a:pt x="226" y="359"/>
                  </a:lnTo>
                  <a:lnTo>
                    <a:pt x="248" y="367"/>
                  </a:lnTo>
                  <a:lnTo>
                    <a:pt x="262" y="371"/>
                  </a:lnTo>
                  <a:lnTo>
                    <a:pt x="290" y="359"/>
                  </a:lnTo>
                  <a:lnTo>
                    <a:pt x="307" y="353"/>
                  </a:lnTo>
                  <a:lnTo>
                    <a:pt x="307" y="337"/>
                  </a:lnTo>
                  <a:lnTo>
                    <a:pt x="309" y="312"/>
                  </a:lnTo>
                  <a:lnTo>
                    <a:pt x="323" y="303"/>
                  </a:lnTo>
                  <a:lnTo>
                    <a:pt x="342" y="312"/>
                  </a:lnTo>
                  <a:lnTo>
                    <a:pt x="345" y="322"/>
                  </a:lnTo>
                  <a:lnTo>
                    <a:pt x="359" y="300"/>
                  </a:lnTo>
                  <a:lnTo>
                    <a:pt x="394" y="282"/>
                  </a:lnTo>
                  <a:lnTo>
                    <a:pt x="424" y="278"/>
                  </a:lnTo>
                  <a:lnTo>
                    <a:pt x="452" y="278"/>
                  </a:lnTo>
                  <a:lnTo>
                    <a:pt x="447" y="248"/>
                  </a:lnTo>
                  <a:lnTo>
                    <a:pt x="443" y="232"/>
                  </a:lnTo>
                  <a:lnTo>
                    <a:pt x="414" y="208"/>
                  </a:lnTo>
                  <a:lnTo>
                    <a:pt x="413" y="201"/>
                  </a:lnTo>
                  <a:lnTo>
                    <a:pt x="429" y="177"/>
                  </a:lnTo>
                  <a:lnTo>
                    <a:pt x="446" y="172"/>
                  </a:lnTo>
                  <a:lnTo>
                    <a:pt x="441" y="158"/>
                  </a:lnTo>
                  <a:lnTo>
                    <a:pt x="450" y="133"/>
                  </a:lnTo>
                  <a:lnTo>
                    <a:pt x="450" y="117"/>
                  </a:lnTo>
                  <a:lnTo>
                    <a:pt x="455" y="87"/>
                  </a:lnTo>
                  <a:lnTo>
                    <a:pt x="460" y="74"/>
                  </a:lnTo>
                  <a:lnTo>
                    <a:pt x="476" y="77"/>
                  </a:lnTo>
                  <a:lnTo>
                    <a:pt x="485" y="56"/>
                  </a:lnTo>
                  <a:lnTo>
                    <a:pt x="476" y="37"/>
                  </a:lnTo>
                  <a:lnTo>
                    <a:pt x="471" y="13"/>
                  </a:lnTo>
                  <a:lnTo>
                    <a:pt x="460" y="16"/>
                  </a:lnTo>
                  <a:lnTo>
                    <a:pt x="405" y="3"/>
                  </a:lnTo>
                  <a:lnTo>
                    <a:pt x="370" y="0"/>
                  </a:lnTo>
                  <a:lnTo>
                    <a:pt x="336" y="9"/>
                  </a:lnTo>
                  <a:lnTo>
                    <a:pt x="305" y="24"/>
                  </a:lnTo>
                  <a:lnTo>
                    <a:pt x="270" y="46"/>
                  </a:lnTo>
                  <a:lnTo>
                    <a:pt x="243" y="68"/>
                  </a:lnTo>
                  <a:lnTo>
                    <a:pt x="218" y="71"/>
                  </a:lnTo>
                  <a:lnTo>
                    <a:pt x="183" y="64"/>
                  </a:lnTo>
                  <a:lnTo>
                    <a:pt x="150" y="77"/>
                  </a:lnTo>
                  <a:lnTo>
                    <a:pt x="129" y="83"/>
                  </a:lnTo>
                  <a:lnTo>
                    <a:pt x="105" y="74"/>
                  </a:lnTo>
                  <a:lnTo>
                    <a:pt x="71" y="59"/>
                  </a:lnTo>
                  <a:lnTo>
                    <a:pt x="52" y="53"/>
                  </a:lnTo>
                  <a:lnTo>
                    <a:pt x="25" y="47"/>
                  </a:lnTo>
                  <a:lnTo>
                    <a:pt x="12" y="47"/>
                  </a:lnTo>
                  <a:close/>
                </a:path>
              </a:pathLst>
            </a:custGeom>
            <a:solidFill>
              <a:srgbClr val="DCE6F2"/>
            </a:solidFill>
            <a:ln w="3175">
              <a:solidFill>
                <a:schemeClr val="bg1"/>
              </a:solidFill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8" name="BE"/>
            <p:cNvSpPr>
              <a:spLocks noChangeAspect="1"/>
            </p:cNvSpPr>
            <p:nvPr/>
          </p:nvSpPr>
          <p:spPr bwMode="auto">
            <a:xfrm>
              <a:off x="5040313" y="3597275"/>
              <a:ext cx="388937" cy="307975"/>
            </a:xfrm>
            <a:custGeom>
              <a:avLst/>
              <a:gdLst>
                <a:gd name="T0" fmla="*/ 0 w 266"/>
                <a:gd name="T1" fmla="*/ 47 h 263"/>
                <a:gd name="T2" fmla="*/ 7 w 266"/>
                <a:gd name="T3" fmla="*/ 37 h 263"/>
                <a:gd name="T4" fmla="*/ 4 w 266"/>
                <a:gd name="T5" fmla="*/ 24 h 263"/>
                <a:gd name="T6" fmla="*/ 45 w 266"/>
                <a:gd name="T7" fmla="*/ 0 h 263"/>
                <a:gd name="T8" fmla="*/ 48 w 266"/>
                <a:gd name="T9" fmla="*/ 9 h 263"/>
                <a:gd name="T10" fmla="*/ 77 w 266"/>
                <a:gd name="T11" fmla="*/ 3 h 263"/>
                <a:gd name="T12" fmla="*/ 100 w 266"/>
                <a:gd name="T13" fmla="*/ 5 h 263"/>
                <a:gd name="T14" fmla="*/ 91 w 266"/>
                <a:gd name="T15" fmla="*/ 17 h 263"/>
                <a:gd name="T16" fmla="*/ 96 w 266"/>
                <a:gd name="T17" fmla="*/ 34 h 263"/>
                <a:gd name="T18" fmla="*/ 115 w 266"/>
                <a:gd name="T19" fmla="*/ 42 h 263"/>
                <a:gd name="T20" fmla="*/ 134 w 266"/>
                <a:gd name="T21" fmla="*/ 40 h 263"/>
                <a:gd name="T22" fmla="*/ 150 w 266"/>
                <a:gd name="T23" fmla="*/ 27 h 263"/>
                <a:gd name="T24" fmla="*/ 175 w 266"/>
                <a:gd name="T25" fmla="*/ 24 h 263"/>
                <a:gd name="T26" fmla="*/ 183 w 266"/>
                <a:gd name="T27" fmla="*/ 36 h 263"/>
                <a:gd name="T28" fmla="*/ 198 w 266"/>
                <a:gd name="T29" fmla="*/ 46 h 263"/>
                <a:gd name="T30" fmla="*/ 219 w 266"/>
                <a:gd name="T31" fmla="*/ 47 h 263"/>
                <a:gd name="T32" fmla="*/ 216 w 266"/>
                <a:gd name="T33" fmla="*/ 67 h 263"/>
                <a:gd name="T34" fmla="*/ 217 w 266"/>
                <a:gd name="T35" fmla="*/ 107 h 263"/>
                <a:gd name="T36" fmla="*/ 221 w 266"/>
                <a:gd name="T37" fmla="*/ 131 h 263"/>
                <a:gd name="T38" fmla="*/ 245 w 266"/>
                <a:gd name="T39" fmla="*/ 128 h 263"/>
                <a:gd name="T40" fmla="*/ 252 w 266"/>
                <a:gd name="T41" fmla="*/ 145 h 263"/>
                <a:gd name="T42" fmla="*/ 254 w 266"/>
                <a:gd name="T43" fmla="*/ 160 h 263"/>
                <a:gd name="T44" fmla="*/ 266 w 266"/>
                <a:gd name="T45" fmla="*/ 179 h 263"/>
                <a:gd name="T46" fmla="*/ 251 w 266"/>
                <a:gd name="T47" fmla="*/ 194 h 263"/>
                <a:gd name="T48" fmla="*/ 237 w 266"/>
                <a:gd name="T49" fmla="*/ 205 h 263"/>
                <a:gd name="T50" fmla="*/ 222 w 266"/>
                <a:gd name="T51" fmla="*/ 205 h 263"/>
                <a:gd name="T52" fmla="*/ 204 w 266"/>
                <a:gd name="T53" fmla="*/ 211 h 263"/>
                <a:gd name="T54" fmla="*/ 204 w 266"/>
                <a:gd name="T55" fmla="*/ 232 h 263"/>
                <a:gd name="T56" fmla="*/ 197 w 266"/>
                <a:gd name="T57" fmla="*/ 246 h 263"/>
                <a:gd name="T58" fmla="*/ 178 w 266"/>
                <a:gd name="T59" fmla="*/ 263 h 263"/>
                <a:gd name="T60" fmla="*/ 146 w 266"/>
                <a:gd name="T61" fmla="*/ 236 h 263"/>
                <a:gd name="T62" fmla="*/ 137 w 266"/>
                <a:gd name="T63" fmla="*/ 212 h 263"/>
                <a:gd name="T64" fmla="*/ 108 w 266"/>
                <a:gd name="T65" fmla="*/ 205 h 263"/>
                <a:gd name="T66" fmla="*/ 98 w 266"/>
                <a:gd name="T67" fmla="*/ 174 h 263"/>
                <a:gd name="T68" fmla="*/ 77 w 266"/>
                <a:gd name="T69" fmla="*/ 155 h 263"/>
                <a:gd name="T70" fmla="*/ 70 w 266"/>
                <a:gd name="T71" fmla="*/ 133 h 263"/>
                <a:gd name="T72" fmla="*/ 53 w 266"/>
                <a:gd name="T73" fmla="*/ 110 h 263"/>
                <a:gd name="T74" fmla="*/ 42 w 266"/>
                <a:gd name="T75" fmla="*/ 87 h 263"/>
                <a:gd name="T76" fmla="*/ 20 w 266"/>
                <a:gd name="T77" fmla="*/ 70 h 263"/>
                <a:gd name="T78" fmla="*/ 0 w 266"/>
                <a:gd name="T79" fmla="*/ 47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6" h="263">
                  <a:moveTo>
                    <a:pt x="0" y="47"/>
                  </a:moveTo>
                  <a:lnTo>
                    <a:pt x="7" y="37"/>
                  </a:lnTo>
                  <a:lnTo>
                    <a:pt x="4" y="24"/>
                  </a:lnTo>
                  <a:lnTo>
                    <a:pt x="45" y="0"/>
                  </a:lnTo>
                  <a:lnTo>
                    <a:pt x="48" y="9"/>
                  </a:lnTo>
                  <a:lnTo>
                    <a:pt x="77" y="3"/>
                  </a:lnTo>
                  <a:lnTo>
                    <a:pt x="100" y="5"/>
                  </a:lnTo>
                  <a:lnTo>
                    <a:pt x="91" y="17"/>
                  </a:lnTo>
                  <a:lnTo>
                    <a:pt x="96" y="34"/>
                  </a:lnTo>
                  <a:lnTo>
                    <a:pt x="115" y="42"/>
                  </a:lnTo>
                  <a:lnTo>
                    <a:pt x="134" y="40"/>
                  </a:lnTo>
                  <a:lnTo>
                    <a:pt x="150" y="27"/>
                  </a:lnTo>
                  <a:lnTo>
                    <a:pt x="175" y="24"/>
                  </a:lnTo>
                  <a:lnTo>
                    <a:pt x="183" y="36"/>
                  </a:lnTo>
                  <a:lnTo>
                    <a:pt x="198" y="46"/>
                  </a:lnTo>
                  <a:lnTo>
                    <a:pt x="219" y="47"/>
                  </a:lnTo>
                  <a:lnTo>
                    <a:pt x="216" y="67"/>
                  </a:lnTo>
                  <a:lnTo>
                    <a:pt x="217" y="107"/>
                  </a:lnTo>
                  <a:lnTo>
                    <a:pt x="221" y="131"/>
                  </a:lnTo>
                  <a:lnTo>
                    <a:pt x="245" y="128"/>
                  </a:lnTo>
                  <a:lnTo>
                    <a:pt x="252" y="145"/>
                  </a:lnTo>
                  <a:lnTo>
                    <a:pt x="254" y="160"/>
                  </a:lnTo>
                  <a:lnTo>
                    <a:pt x="266" y="179"/>
                  </a:lnTo>
                  <a:lnTo>
                    <a:pt x="251" y="194"/>
                  </a:lnTo>
                  <a:lnTo>
                    <a:pt x="237" y="205"/>
                  </a:lnTo>
                  <a:lnTo>
                    <a:pt x="222" y="205"/>
                  </a:lnTo>
                  <a:lnTo>
                    <a:pt x="204" y="211"/>
                  </a:lnTo>
                  <a:lnTo>
                    <a:pt x="204" y="232"/>
                  </a:lnTo>
                  <a:lnTo>
                    <a:pt x="197" y="246"/>
                  </a:lnTo>
                  <a:lnTo>
                    <a:pt x="178" y="263"/>
                  </a:lnTo>
                  <a:lnTo>
                    <a:pt x="146" y="236"/>
                  </a:lnTo>
                  <a:lnTo>
                    <a:pt x="137" y="212"/>
                  </a:lnTo>
                  <a:lnTo>
                    <a:pt x="108" y="205"/>
                  </a:lnTo>
                  <a:lnTo>
                    <a:pt x="98" y="174"/>
                  </a:lnTo>
                  <a:lnTo>
                    <a:pt x="77" y="155"/>
                  </a:lnTo>
                  <a:lnTo>
                    <a:pt x="70" y="133"/>
                  </a:lnTo>
                  <a:lnTo>
                    <a:pt x="53" y="110"/>
                  </a:lnTo>
                  <a:lnTo>
                    <a:pt x="42" y="87"/>
                  </a:lnTo>
                  <a:lnTo>
                    <a:pt x="20" y="7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de-CH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LU"/>
            <p:cNvSpPr>
              <a:spLocks noChangeAspect="1"/>
            </p:cNvSpPr>
            <p:nvPr/>
          </p:nvSpPr>
          <p:spPr bwMode="auto">
            <a:xfrm>
              <a:off x="5294313" y="3835400"/>
              <a:ext cx="109537" cy="119063"/>
            </a:xfrm>
            <a:custGeom>
              <a:avLst/>
              <a:gdLst>
                <a:gd name="T0" fmla="*/ 52 w 73"/>
                <a:gd name="T1" fmla="*/ 101 h 101"/>
                <a:gd name="T2" fmla="*/ 56 w 73"/>
                <a:gd name="T3" fmla="*/ 68 h 101"/>
                <a:gd name="T4" fmla="*/ 73 w 73"/>
                <a:gd name="T5" fmla="*/ 56 h 101"/>
                <a:gd name="T6" fmla="*/ 73 w 73"/>
                <a:gd name="T7" fmla="*/ 40 h 101"/>
                <a:gd name="T8" fmla="*/ 64 w 73"/>
                <a:gd name="T9" fmla="*/ 29 h 101"/>
                <a:gd name="T10" fmla="*/ 55 w 73"/>
                <a:gd name="T11" fmla="*/ 13 h 101"/>
                <a:gd name="T12" fmla="*/ 50 w 73"/>
                <a:gd name="T13" fmla="*/ 0 h 101"/>
                <a:gd name="T14" fmla="*/ 33 w 73"/>
                <a:gd name="T15" fmla="*/ 0 h 101"/>
                <a:gd name="T16" fmla="*/ 22 w 73"/>
                <a:gd name="T17" fmla="*/ 6 h 101"/>
                <a:gd name="T18" fmla="*/ 22 w 73"/>
                <a:gd name="T19" fmla="*/ 27 h 101"/>
                <a:gd name="T20" fmla="*/ 12 w 73"/>
                <a:gd name="T21" fmla="*/ 46 h 101"/>
                <a:gd name="T22" fmla="*/ 0 w 73"/>
                <a:gd name="T23" fmla="*/ 51 h 101"/>
                <a:gd name="T24" fmla="*/ 5 w 73"/>
                <a:gd name="T25" fmla="*/ 67 h 101"/>
                <a:gd name="T26" fmla="*/ 21 w 73"/>
                <a:gd name="T27" fmla="*/ 71 h 101"/>
                <a:gd name="T28" fmla="*/ 36 w 73"/>
                <a:gd name="T29" fmla="*/ 75 h 101"/>
                <a:gd name="T30" fmla="*/ 45 w 73"/>
                <a:gd name="T31" fmla="*/ 85 h 101"/>
                <a:gd name="T32" fmla="*/ 52 w 73"/>
                <a:gd name="T3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101">
                  <a:moveTo>
                    <a:pt x="52" y="101"/>
                  </a:moveTo>
                  <a:lnTo>
                    <a:pt x="56" y="68"/>
                  </a:lnTo>
                  <a:lnTo>
                    <a:pt x="73" y="56"/>
                  </a:lnTo>
                  <a:lnTo>
                    <a:pt x="73" y="40"/>
                  </a:lnTo>
                  <a:lnTo>
                    <a:pt x="64" y="29"/>
                  </a:lnTo>
                  <a:lnTo>
                    <a:pt x="55" y="13"/>
                  </a:lnTo>
                  <a:lnTo>
                    <a:pt x="50" y="0"/>
                  </a:lnTo>
                  <a:lnTo>
                    <a:pt x="33" y="0"/>
                  </a:lnTo>
                  <a:lnTo>
                    <a:pt x="22" y="6"/>
                  </a:lnTo>
                  <a:lnTo>
                    <a:pt x="22" y="27"/>
                  </a:lnTo>
                  <a:lnTo>
                    <a:pt x="12" y="46"/>
                  </a:lnTo>
                  <a:lnTo>
                    <a:pt x="0" y="51"/>
                  </a:lnTo>
                  <a:lnTo>
                    <a:pt x="5" y="67"/>
                  </a:lnTo>
                  <a:lnTo>
                    <a:pt x="21" y="71"/>
                  </a:lnTo>
                  <a:lnTo>
                    <a:pt x="36" y="75"/>
                  </a:lnTo>
                  <a:lnTo>
                    <a:pt x="45" y="85"/>
                  </a:lnTo>
                  <a:lnTo>
                    <a:pt x="52" y="10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20" name="NL"/>
            <p:cNvSpPr>
              <a:spLocks noChangeAspect="1"/>
            </p:cNvSpPr>
            <p:nvPr/>
          </p:nvSpPr>
          <p:spPr bwMode="auto">
            <a:xfrm>
              <a:off x="5165725" y="3370263"/>
              <a:ext cx="404813" cy="385762"/>
            </a:xfrm>
            <a:custGeom>
              <a:avLst/>
              <a:gdLst>
                <a:gd name="T0" fmla="*/ 112 w 271"/>
                <a:gd name="T1" fmla="*/ 9 h 323"/>
                <a:gd name="T2" fmla="*/ 85 w 271"/>
                <a:gd name="T3" fmla="*/ 47 h 323"/>
                <a:gd name="T4" fmla="*/ 85 w 271"/>
                <a:gd name="T5" fmla="*/ 59 h 323"/>
                <a:gd name="T6" fmla="*/ 68 w 271"/>
                <a:gd name="T7" fmla="*/ 77 h 323"/>
                <a:gd name="T8" fmla="*/ 71 w 271"/>
                <a:gd name="T9" fmla="*/ 81 h 323"/>
                <a:gd name="T10" fmla="*/ 66 w 271"/>
                <a:gd name="T11" fmla="*/ 94 h 323"/>
                <a:gd name="T12" fmla="*/ 49 w 271"/>
                <a:gd name="T13" fmla="*/ 113 h 323"/>
                <a:gd name="T14" fmla="*/ 33 w 271"/>
                <a:gd name="T15" fmla="*/ 134 h 323"/>
                <a:gd name="T16" fmla="*/ 26 w 271"/>
                <a:gd name="T17" fmla="*/ 145 h 323"/>
                <a:gd name="T18" fmla="*/ 33 w 271"/>
                <a:gd name="T19" fmla="*/ 155 h 323"/>
                <a:gd name="T20" fmla="*/ 28 w 271"/>
                <a:gd name="T21" fmla="*/ 171 h 323"/>
                <a:gd name="T22" fmla="*/ 19 w 271"/>
                <a:gd name="T23" fmla="*/ 184 h 323"/>
                <a:gd name="T24" fmla="*/ 11 w 271"/>
                <a:gd name="T25" fmla="*/ 189 h 323"/>
                <a:gd name="T26" fmla="*/ 0 w 271"/>
                <a:gd name="T27" fmla="*/ 205 h 323"/>
                <a:gd name="T28" fmla="*/ 1 w 271"/>
                <a:gd name="T29" fmla="*/ 221 h 323"/>
                <a:gd name="T30" fmla="*/ 14 w 271"/>
                <a:gd name="T31" fmla="*/ 229 h 323"/>
                <a:gd name="T32" fmla="*/ 44 w 271"/>
                <a:gd name="T33" fmla="*/ 229 h 323"/>
                <a:gd name="T34" fmla="*/ 62 w 271"/>
                <a:gd name="T35" fmla="*/ 218 h 323"/>
                <a:gd name="T36" fmla="*/ 79 w 271"/>
                <a:gd name="T37" fmla="*/ 215 h 323"/>
                <a:gd name="T38" fmla="*/ 93 w 271"/>
                <a:gd name="T39" fmla="*/ 229 h 323"/>
                <a:gd name="T40" fmla="*/ 107 w 271"/>
                <a:gd name="T41" fmla="*/ 236 h 323"/>
                <a:gd name="T42" fmla="*/ 126 w 271"/>
                <a:gd name="T43" fmla="*/ 239 h 323"/>
                <a:gd name="T44" fmla="*/ 121 w 271"/>
                <a:gd name="T45" fmla="*/ 263 h 323"/>
                <a:gd name="T46" fmla="*/ 128 w 271"/>
                <a:gd name="T47" fmla="*/ 323 h 323"/>
                <a:gd name="T48" fmla="*/ 144 w 271"/>
                <a:gd name="T49" fmla="*/ 322 h 323"/>
                <a:gd name="T50" fmla="*/ 154 w 271"/>
                <a:gd name="T51" fmla="*/ 320 h 323"/>
                <a:gd name="T52" fmla="*/ 158 w 271"/>
                <a:gd name="T53" fmla="*/ 303 h 323"/>
                <a:gd name="T54" fmla="*/ 161 w 271"/>
                <a:gd name="T55" fmla="*/ 268 h 323"/>
                <a:gd name="T56" fmla="*/ 173 w 271"/>
                <a:gd name="T57" fmla="*/ 249 h 323"/>
                <a:gd name="T58" fmla="*/ 173 w 271"/>
                <a:gd name="T59" fmla="*/ 218 h 323"/>
                <a:gd name="T60" fmla="*/ 183 w 271"/>
                <a:gd name="T61" fmla="*/ 199 h 323"/>
                <a:gd name="T62" fmla="*/ 204 w 271"/>
                <a:gd name="T63" fmla="*/ 189 h 323"/>
                <a:gd name="T64" fmla="*/ 243 w 271"/>
                <a:gd name="T65" fmla="*/ 140 h 323"/>
                <a:gd name="T66" fmla="*/ 248 w 271"/>
                <a:gd name="T67" fmla="*/ 118 h 323"/>
                <a:gd name="T68" fmla="*/ 242 w 271"/>
                <a:gd name="T69" fmla="*/ 84 h 323"/>
                <a:gd name="T70" fmla="*/ 267 w 271"/>
                <a:gd name="T71" fmla="*/ 61 h 323"/>
                <a:gd name="T72" fmla="*/ 271 w 271"/>
                <a:gd name="T73" fmla="*/ 23 h 323"/>
                <a:gd name="T74" fmla="*/ 253 w 271"/>
                <a:gd name="T75" fmla="*/ 6 h 323"/>
                <a:gd name="T76" fmla="*/ 242 w 271"/>
                <a:gd name="T77" fmla="*/ 3 h 323"/>
                <a:gd name="T78" fmla="*/ 220 w 271"/>
                <a:gd name="T79" fmla="*/ 0 h 323"/>
                <a:gd name="T80" fmla="*/ 173 w 271"/>
                <a:gd name="T81" fmla="*/ 0 h 323"/>
                <a:gd name="T82" fmla="*/ 159 w 271"/>
                <a:gd name="T83" fmla="*/ 13 h 323"/>
                <a:gd name="T84" fmla="*/ 148 w 271"/>
                <a:gd name="T85" fmla="*/ 29 h 323"/>
                <a:gd name="T86" fmla="*/ 150 w 271"/>
                <a:gd name="T87" fmla="*/ 43 h 323"/>
                <a:gd name="T88" fmla="*/ 167 w 271"/>
                <a:gd name="T89" fmla="*/ 56 h 323"/>
                <a:gd name="T90" fmla="*/ 178 w 271"/>
                <a:gd name="T91" fmla="*/ 71 h 323"/>
                <a:gd name="T92" fmla="*/ 178 w 271"/>
                <a:gd name="T93" fmla="*/ 93 h 323"/>
                <a:gd name="T94" fmla="*/ 159 w 271"/>
                <a:gd name="T95" fmla="*/ 108 h 323"/>
                <a:gd name="T96" fmla="*/ 140 w 271"/>
                <a:gd name="T97" fmla="*/ 113 h 323"/>
                <a:gd name="T98" fmla="*/ 126 w 271"/>
                <a:gd name="T99" fmla="*/ 115 h 323"/>
                <a:gd name="T100" fmla="*/ 120 w 271"/>
                <a:gd name="T101" fmla="*/ 103 h 323"/>
                <a:gd name="T102" fmla="*/ 115 w 271"/>
                <a:gd name="T103" fmla="*/ 84 h 323"/>
                <a:gd name="T104" fmla="*/ 124 w 271"/>
                <a:gd name="T105" fmla="*/ 69 h 323"/>
                <a:gd name="T106" fmla="*/ 121 w 271"/>
                <a:gd name="T107" fmla="*/ 50 h 323"/>
                <a:gd name="T108" fmla="*/ 120 w 271"/>
                <a:gd name="T109" fmla="*/ 32 h 323"/>
                <a:gd name="T110" fmla="*/ 112 w 271"/>
                <a:gd name="T111" fmla="*/ 9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3">
                  <a:moveTo>
                    <a:pt x="112" y="9"/>
                  </a:moveTo>
                  <a:lnTo>
                    <a:pt x="85" y="47"/>
                  </a:lnTo>
                  <a:lnTo>
                    <a:pt x="85" y="59"/>
                  </a:lnTo>
                  <a:lnTo>
                    <a:pt x="68" y="77"/>
                  </a:lnTo>
                  <a:lnTo>
                    <a:pt x="71" y="81"/>
                  </a:lnTo>
                  <a:lnTo>
                    <a:pt x="66" y="94"/>
                  </a:lnTo>
                  <a:lnTo>
                    <a:pt x="49" y="113"/>
                  </a:lnTo>
                  <a:lnTo>
                    <a:pt x="33" y="134"/>
                  </a:lnTo>
                  <a:lnTo>
                    <a:pt x="26" y="145"/>
                  </a:lnTo>
                  <a:lnTo>
                    <a:pt x="33" y="155"/>
                  </a:lnTo>
                  <a:lnTo>
                    <a:pt x="28" y="171"/>
                  </a:lnTo>
                  <a:lnTo>
                    <a:pt x="19" y="184"/>
                  </a:lnTo>
                  <a:lnTo>
                    <a:pt x="11" y="189"/>
                  </a:lnTo>
                  <a:lnTo>
                    <a:pt x="0" y="205"/>
                  </a:lnTo>
                  <a:lnTo>
                    <a:pt x="1" y="221"/>
                  </a:lnTo>
                  <a:lnTo>
                    <a:pt x="14" y="229"/>
                  </a:lnTo>
                  <a:lnTo>
                    <a:pt x="44" y="229"/>
                  </a:lnTo>
                  <a:lnTo>
                    <a:pt x="62" y="218"/>
                  </a:lnTo>
                  <a:lnTo>
                    <a:pt x="79" y="215"/>
                  </a:lnTo>
                  <a:lnTo>
                    <a:pt x="93" y="229"/>
                  </a:lnTo>
                  <a:lnTo>
                    <a:pt x="107" y="236"/>
                  </a:lnTo>
                  <a:lnTo>
                    <a:pt x="126" y="239"/>
                  </a:lnTo>
                  <a:lnTo>
                    <a:pt x="121" y="263"/>
                  </a:lnTo>
                  <a:lnTo>
                    <a:pt x="128" y="323"/>
                  </a:lnTo>
                  <a:lnTo>
                    <a:pt x="144" y="322"/>
                  </a:lnTo>
                  <a:lnTo>
                    <a:pt x="154" y="320"/>
                  </a:lnTo>
                  <a:lnTo>
                    <a:pt x="158" y="303"/>
                  </a:lnTo>
                  <a:lnTo>
                    <a:pt x="161" y="268"/>
                  </a:lnTo>
                  <a:lnTo>
                    <a:pt x="173" y="249"/>
                  </a:lnTo>
                  <a:lnTo>
                    <a:pt x="173" y="218"/>
                  </a:lnTo>
                  <a:lnTo>
                    <a:pt x="183" y="199"/>
                  </a:lnTo>
                  <a:lnTo>
                    <a:pt x="204" y="189"/>
                  </a:lnTo>
                  <a:lnTo>
                    <a:pt x="243" y="140"/>
                  </a:lnTo>
                  <a:lnTo>
                    <a:pt x="248" y="118"/>
                  </a:lnTo>
                  <a:lnTo>
                    <a:pt x="242" y="84"/>
                  </a:lnTo>
                  <a:lnTo>
                    <a:pt x="267" y="61"/>
                  </a:lnTo>
                  <a:lnTo>
                    <a:pt x="271" y="23"/>
                  </a:lnTo>
                  <a:lnTo>
                    <a:pt x="253" y="6"/>
                  </a:lnTo>
                  <a:lnTo>
                    <a:pt x="242" y="3"/>
                  </a:lnTo>
                  <a:lnTo>
                    <a:pt x="220" y="0"/>
                  </a:lnTo>
                  <a:lnTo>
                    <a:pt x="173" y="0"/>
                  </a:lnTo>
                  <a:lnTo>
                    <a:pt x="159" y="13"/>
                  </a:lnTo>
                  <a:lnTo>
                    <a:pt x="148" y="29"/>
                  </a:lnTo>
                  <a:lnTo>
                    <a:pt x="150" y="43"/>
                  </a:lnTo>
                  <a:lnTo>
                    <a:pt x="167" y="56"/>
                  </a:lnTo>
                  <a:lnTo>
                    <a:pt x="178" y="71"/>
                  </a:lnTo>
                  <a:lnTo>
                    <a:pt x="178" y="93"/>
                  </a:lnTo>
                  <a:lnTo>
                    <a:pt x="159" y="108"/>
                  </a:lnTo>
                  <a:lnTo>
                    <a:pt x="140" y="113"/>
                  </a:lnTo>
                  <a:lnTo>
                    <a:pt x="126" y="115"/>
                  </a:lnTo>
                  <a:lnTo>
                    <a:pt x="120" y="103"/>
                  </a:lnTo>
                  <a:lnTo>
                    <a:pt x="115" y="84"/>
                  </a:lnTo>
                  <a:lnTo>
                    <a:pt x="124" y="69"/>
                  </a:lnTo>
                  <a:lnTo>
                    <a:pt x="121" y="50"/>
                  </a:lnTo>
                  <a:lnTo>
                    <a:pt x="120" y="32"/>
                  </a:lnTo>
                  <a:lnTo>
                    <a:pt x="112" y="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21" name="CZ"/>
            <p:cNvSpPr>
              <a:spLocks/>
            </p:cNvSpPr>
            <p:nvPr/>
          </p:nvSpPr>
          <p:spPr bwMode="auto">
            <a:xfrm>
              <a:off x="5992813" y="3833813"/>
              <a:ext cx="760412" cy="368300"/>
            </a:xfrm>
            <a:custGeom>
              <a:avLst/>
              <a:gdLst>
                <a:gd name="T0" fmla="*/ 126 w 510"/>
                <a:gd name="T1" fmla="*/ 298 h 311"/>
                <a:gd name="T2" fmla="*/ 122 w 510"/>
                <a:gd name="T3" fmla="*/ 281 h 311"/>
                <a:gd name="T4" fmla="*/ 106 w 510"/>
                <a:gd name="T5" fmla="*/ 271 h 311"/>
                <a:gd name="T6" fmla="*/ 46 w 510"/>
                <a:gd name="T7" fmla="*/ 210 h 311"/>
                <a:gd name="T8" fmla="*/ 42 w 510"/>
                <a:gd name="T9" fmla="*/ 179 h 311"/>
                <a:gd name="T10" fmla="*/ 16 w 510"/>
                <a:gd name="T11" fmla="*/ 175 h 311"/>
                <a:gd name="T12" fmla="*/ 17 w 510"/>
                <a:gd name="T13" fmla="*/ 145 h 311"/>
                <a:gd name="T14" fmla="*/ 8 w 510"/>
                <a:gd name="T15" fmla="*/ 116 h 311"/>
                <a:gd name="T16" fmla="*/ 0 w 510"/>
                <a:gd name="T17" fmla="*/ 101 h 311"/>
                <a:gd name="T18" fmla="*/ 6 w 510"/>
                <a:gd name="T19" fmla="*/ 83 h 311"/>
                <a:gd name="T20" fmla="*/ 24 w 510"/>
                <a:gd name="T21" fmla="*/ 83 h 311"/>
                <a:gd name="T22" fmla="*/ 57 w 510"/>
                <a:gd name="T23" fmla="*/ 75 h 311"/>
                <a:gd name="T24" fmla="*/ 160 w 510"/>
                <a:gd name="T25" fmla="*/ 15 h 311"/>
                <a:gd name="T26" fmla="*/ 182 w 510"/>
                <a:gd name="T27" fmla="*/ 0 h 311"/>
                <a:gd name="T28" fmla="*/ 195 w 510"/>
                <a:gd name="T29" fmla="*/ 18 h 311"/>
                <a:gd name="T30" fmla="*/ 217 w 510"/>
                <a:gd name="T31" fmla="*/ 8 h 311"/>
                <a:gd name="T32" fmla="*/ 237 w 510"/>
                <a:gd name="T33" fmla="*/ 10 h 311"/>
                <a:gd name="T34" fmla="*/ 250 w 510"/>
                <a:gd name="T35" fmla="*/ 19 h 311"/>
                <a:gd name="T36" fmla="*/ 250 w 510"/>
                <a:gd name="T37" fmla="*/ 47 h 311"/>
                <a:gd name="T38" fmla="*/ 287 w 510"/>
                <a:gd name="T39" fmla="*/ 74 h 311"/>
                <a:gd name="T40" fmla="*/ 289 w 510"/>
                <a:gd name="T41" fmla="*/ 92 h 311"/>
                <a:gd name="T42" fmla="*/ 303 w 510"/>
                <a:gd name="T43" fmla="*/ 113 h 311"/>
                <a:gd name="T44" fmla="*/ 313 w 510"/>
                <a:gd name="T45" fmla="*/ 122 h 311"/>
                <a:gd name="T46" fmla="*/ 320 w 510"/>
                <a:gd name="T47" fmla="*/ 113 h 311"/>
                <a:gd name="T48" fmla="*/ 346 w 510"/>
                <a:gd name="T49" fmla="*/ 98 h 311"/>
                <a:gd name="T50" fmla="*/ 358 w 510"/>
                <a:gd name="T51" fmla="*/ 101 h 311"/>
                <a:gd name="T52" fmla="*/ 390 w 510"/>
                <a:gd name="T53" fmla="*/ 142 h 311"/>
                <a:gd name="T54" fmla="*/ 398 w 510"/>
                <a:gd name="T55" fmla="*/ 140 h 311"/>
                <a:gd name="T56" fmla="*/ 432 w 510"/>
                <a:gd name="T57" fmla="*/ 163 h 311"/>
                <a:gd name="T58" fmla="*/ 483 w 510"/>
                <a:gd name="T59" fmla="*/ 160 h 311"/>
                <a:gd name="T60" fmla="*/ 510 w 510"/>
                <a:gd name="T61" fmla="*/ 179 h 311"/>
                <a:gd name="T62" fmla="*/ 454 w 510"/>
                <a:gd name="T63" fmla="*/ 213 h 311"/>
                <a:gd name="T64" fmla="*/ 451 w 510"/>
                <a:gd name="T65" fmla="*/ 256 h 311"/>
                <a:gd name="T66" fmla="*/ 417 w 510"/>
                <a:gd name="T67" fmla="*/ 291 h 311"/>
                <a:gd name="T68" fmla="*/ 380 w 510"/>
                <a:gd name="T69" fmla="*/ 290 h 311"/>
                <a:gd name="T70" fmla="*/ 360 w 510"/>
                <a:gd name="T71" fmla="*/ 300 h 311"/>
                <a:gd name="T72" fmla="*/ 335 w 510"/>
                <a:gd name="T73" fmla="*/ 311 h 311"/>
                <a:gd name="T74" fmla="*/ 303 w 510"/>
                <a:gd name="T75" fmla="*/ 288 h 311"/>
                <a:gd name="T76" fmla="*/ 283 w 510"/>
                <a:gd name="T77" fmla="*/ 300 h 311"/>
                <a:gd name="T78" fmla="*/ 265 w 510"/>
                <a:gd name="T79" fmla="*/ 304 h 311"/>
                <a:gd name="T80" fmla="*/ 250 w 510"/>
                <a:gd name="T81" fmla="*/ 277 h 311"/>
                <a:gd name="T82" fmla="*/ 206 w 510"/>
                <a:gd name="T83" fmla="*/ 278 h 311"/>
                <a:gd name="T84" fmla="*/ 192 w 510"/>
                <a:gd name="T85" fmla="*/ 290 h 311"/>
                <a:gd name="T86" fmla="*/ 182 w 510"/>
                <a:gd name="T87" fmla="*/ 301 h 311"/>
                <a:gd name="T88" fmla="*/ 163 w 510"/>
                <a:gd name="T89" fmla="*/ 301 h 311"/>
                <a:gd name="T90" fmla="*/ 142 w 510"/>
                <a:gd name="T91" fmla="*/ 305 h 311"/>
                <a:gd name="T92" fmla="*/ 126 w 510"/>
                <a:gd name="T93" fmla="*/ 298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0" h="311">
                  <a:moveTo>
                    <a:pt x="126" y="298"/>
                  </a:moveTo>
                  <a:lnTo>
                    <a:pt x="122" y="281"/>
                  </a:lnTo>
                  <a:lnTo>
                    <a:pt x="106" y="271"/>
                  </a:lnTo>
                  <a:lnTo>
                    <a:pt x="46" y="210"/>
                  </a:lnTo>
                  <a:lnTo>
                    <a:pt x="42" y="179"/>
                  </a:lnTo>
                  <a:lnTo>
                    <a:pt x="16" y="175"/>
                  </a:lnTo>
                  <a:lnTo>
                    <a:pt x="17" y="145"/>
                  </a:lnTo>
                  <a:lnTo>
                    <a:pt x="8" y="116"/>
                  </a:lnTo>
                  <a:lnTo>
                    <a:pt x="0" y="101"/>
                  </a:lnTo>
                  <a:lnTo>
                    <a:pt x="6" y="83"/>
                  </a:lnTo>
                  <a:lnTo>
                    <a:pt x="24" y="83"/>
                  </a:lnTo>
                  <a:lnTo>
                    <a:pt x="57" y="75"/>
                  </a:lnTo>
                  <a:lnTo>
                    <a:pt x="160" y="15"/>
                  </a:lnTo>
                  <a:lnTo>
                    <a:pt x="182" y="0"/>
                  </a:lnTo>
                  <a:lnTo>
                    <a:pt x="195" y="18"/>
                  </a:lnTo>
                  <a:lnTo>
                    <a:pt x="217" y="8"/>
                  </a:lnTo>
                  <a:lnTo>
                    <a:pt x="237" y="10"/>
                  </a:lnTo>
                  <a:lnTo>
                    <a:pt x="250" y="19"/>
                  </a:lnTo>
                  <a:lnTo>
                    <a:pt x="250" y="47"/>
                  </a:lnTo>
                  <a:lnTo>
                    <a:pt x="287" y="74"/>
                  </a:lnTo>
                  <a:lnTo>
                    <a:pt x="289" y="92"/>
                  </a:lnTo>
                  <a:lnTo>
                    <a:pt x="303" y="113"/>
                  </a:lnTo>
                  <a:lnTo>
                    <a:pt x="313" y="122"/>
                  </a:lnTo>
                  <a:lnTo>
                    <a:pt x="320" y="113"/>
                  </a:lnTo>
                  <a:lnTo>
                    <a:pt x="346" y="98"/>
                  </a:lnTo>
                  <a:lnTo>
                    <a:pt x="358" y="101"/>
                  </a:lnTo>
                  <a:lnTo>
                    <a:pt x="390" y="142"/>
                  </a:lnTo>
                  <a:lnTo>
                    <a:pt x="398" y="140"/>
                  </a:lnTo>
                  <a:lnTo>
                    <a:pt x="432" y="163"/>
                  </a:lnTo>
                  <a:lnTo>
                    <a:pt x="483" y="160"/>
                  </a:lnTo>
                  <a:lnTo>
                    <a:pt x="510" y="179"/>
                  </a:lnTo>
                  <a:lnTo>
                    <a:pt x="454" y="213"/>
                  </a:lnTo>
                  <a:lnTo>
                    <a:pt x="451" y="256"/>
                  </a:lnTo>
                  <a:lnTo>
                    <a:pt x="417" y="291"/>
                  </a:lnTo>
                  <a:lnTo>
                    <a:pt x="380" y="290"/>
                  </a:lnTo>
                  <a:lnTo>
                    <a:pt x="360" y="300"/>
                  </a:lnTo>
                  <a:lnTo>
                    <a:pt x="335" y="311"/>
                  </a:lnTo>
                  <a:lnTo>
                    <a:pt x="303" y="288"/>
                  </a:lnTo>
                  <a:lnTo>
                    <a:pt x="283" y="300"/>
                  </a:lnTo>
                  <a:lnTo>
                    <a:pt x="265" y="304"/>
                  </a:lnTo>
                  <a:lnTo>
                    <a:pt x="250" y="277"/>
                  </a:lnTo>
                  <a:lnTo>
                    <a:pt x="206" y="278"/>
                  </a:lnTo>
                  <a:lnTo>
                    <a:pt x="192" y="290"/>
                  </a:lnTo>
                  <a:lnTo>
                    <a:pt x="182" y="301"/>
                  </a:lnTo>
                  <a:lnTo>
                    <a:pt x="163" y="301"/>
                  </a:lnTo>
                  <a:lnTo>
                    <a:pt x="142" y="305"/>
                  </a:lnTo>
                  <a:lnTo>
                    <a:pt x="126" y="298"/>
                  </a:lnTo>
                  <a:close/>
                </a:path>
              </a:pathLst>
            </a:custGeom>
            <a:solidFill>
              <a:srgbClr val="DCE6F2"/>
            </a:solidFill>
            <a:ln w="3175">
              <a:solidFill>
                <a:schemeClr val="bg1"/>
              </a:solidFill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de-CH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HR" descr="80%"/>
            <p:cNvSpPr>
              <a:spLocks noChangeAspect="1"/>
            </p:cNvSpPr>
            <p:nvPr/>
          </p:nvSpPr>
          <p:spPr bwMode="auto">
            <a:xfrm>
              <a:off x="6070600" y="4521200"/>
              <a:ext cx="682625" cy="604838"/>
            </a:xfrm>
            <a:custGeom>
              <a:avLst/>
              <a:gdLst>
                <a:gd name="T0" fmla="*/ 9 w 460"/>
                <a:gd name="T1" fmla="*/ 145 h 506"/>
                <a:gd name="T2" fmla="*/ 28 w 460"/>
                <a:gd name="T3" fmla="*/ 185 h 506"/>
                <a:gd name="T4" fmla="*/ 52 w 460"/>
                <a:gd name="T5" fmla="*/ 179 h 506"/>
                <a:gd name="T6" fmla="*/ 71 w 460"/>
                <a:gd name="T7" fmla="*/ 139 h 506"/>
                <a:gd name="T8" fmla="*/ 104 w 460"/>
                <a:gd name="T9" fmla="*/ 158 h 506"/>
                <a:gd name="T10" fmla="*/ 113 w 460"/>
                <a:gd name="T11" fmla="*/ 192 h 506"/>
                <a:gd name="T12" fmla="*/ 129 w 460"/>
                <a:gd name="T13" fmla="*/ 237 h 506"/>
                <a:gd name="T14" fmla="*/ 146 w 460"/>
                <a:gd name="T15" fmla="*/ 269 h 506"/>
                <a:gd name="T16" fmla="*/ 134 w 460"/>
                <a:gd name="T17" fmla="*/ 283 h 506"/>
                <a:gd name="T18" fmla="*/ 204 w 460"/>
                <a:gd name="T19" fmla="*/ 370 h 506"/>
                <a:gd name="T20" fmla="*/ 237 w 460"/>
                <a:gd name="T21" fmla="*/ 374 h 506"/>
                <a:gd name="T22" fmla="*/ 289 w 460"/>
                <a:gd name="T23" fmla="*/ 414 h 506"/>
                <a:gd name="T24" fmla="*/ 303 w 460"/>
                <a:gd name="T25" fmla="*/ 445 h 506"/>
                <a:gd name="T26" fmla="*/ 317 w 460"/>
                <a:gd name="T27" fmla="*/ 444 h 506"/>
                <a:gd name="T28" fmla="*/ 347 w 460"/>
                <a:gd name="T29" fmla="*/ 462 h 506"/>
                <a:gd name="T30" fmla="*/ 367 w 460"/>
                <a:gd name="T31" fmla="*/ 461 h 506"/>
                <a:gd name="T32" fmla="*/ 366 w 460"/>
                <a:gd name="T33" fmla="*/ 428 h 506"/>
                <a:gd name="T34" fmla="*/ 343 w 460"/>
                <a:gd name="T35" fmla="*/ 391 h 506"/>
                <a:gd name="T36" fmla="*/ 289 w 460"/>
                <a:gd name="T37" fmla="*/ 330 h 506"/>
                <a:gd name="T38" fmla="*/ 270 w 460"/>
                <a:gd name="T39" fmla="*/ 324 h 506"/>
                <a:gd name="T40" fmla="*/ 251 w 460"/>
                <a:gd name="T41" fmla="*/ 309 h 506"/>
                <a:gd name="T42" fmla="*/ 237 w 460"/>
                <a:gd name="T43" fmla="*/ 280 h 506"/>
                <a:gd name="T44" fmla="*/ 214 w 460"/>
                <a:gd name="T45" fmla="*/ 235 h 506"/>
                <a:gd name="T46" fmla="*/ 174 w 460"/>
                <a:gd name="T47" fmla="*/ 179 h 506"/>
                <a:gd name="T48" fmla="*/ 195 w 460"/>
                <a:gd name="T49" fmla="*/ 169 h 506"/>
                <a:gd name="T50" fmla="*/ 281 w 460"/>
                <a:gd name="T51" fmla="*/ 145 h 506"/>
                <a:gd name="T52" fmla="*/ 322 w 460"/>
                <a:gd name="T53" fmla="*/ 173 h 506"/>
                <a:gd name="T54" fmla="*/ 338 w 460"/>
                <a:gd name="T55" fmla="*/ 173 h 506"/>
                <a:gd name="T56" fmla="*/ 374 w 460"/>
                <a:gd name="T57" fmla="*/ 176 h 506"/>
                <a:gd name="T58" fmla="*/ 421 w 460"/>
                <a:gd name="T59" fmla="*/ 173 h 506"/>
                <a:gd name="T60" fmla="*/ 451 w 460"/>
                <a:gd name="T61" fmla="*/ 192 h 506"/>
                <a:gd name="T62" fmla="*/ 460 w 460"/>
                <a:gd name="T63" fmla="*/ 158 h 506"/>
                <a:gd name="T64" fmla="*/ 436 w 460"/>
                <a:gd name="T65" fmla="*/ 129 h 506"/>
                <a:gd name="T66" fmla="*/ 434 w 460"/>
                <a:gd name="T67" fmla="*/ 98 h 506"/>
                <a:gd name="T68" fmla="*/ 415 w 460"/>
                <a:gd name="T69" fmla="*/ 77 h 506"/>
                <a:gd name="T70" fmla="*/ 395 w 460"/>
                <a:gd name="T71" fmla="*/ 82 h 506"/>
                <a:gd name="T72" fmla="*/ 371 w 460"/>
                <a:gd name="T73" fmla="*/ 92 h 506"/>
                <a:gd name="T74" fmla="*/ 336 w 460"/>
                <a:gd name="T75" fmla="*/ 61 h 506"/>
                <a:gd name="T76" fmla="*/ 305 w 460"/>
                <a:gd name="T77" fmla="*/ 47 h 506"/>
                <a:gd name="T78" fmla="*/ 251 w 460"/>
                <a:gd name="T79" fmla="*/ 0 h 506"/>
                <a:gd name="T80" fmla="*/ 199 w 460"/>
                <a:gd name="T81" fmla="*/ 34 h 506"/>
                <a:gd name="T82" fmla="*/ 184 w 460"/>
                <a:gd name="T83" fmla="*/ 64 h 506"/>
                <a:gd name="T84" fmla="*/ 101 w 460"/>
                <a:gd name="T85" fmla="*/ 114 h 506"/>
                <a:gd name="T86" fmla="*/ 52 w 460"/>
                <a:gd name="T87" fmla="*/ 114 h 506"/>
                <a:gd name="T88" fmla="*/ 0 w 460"/>
                <a:gd name="T89" fmla="*/ 114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0" h="506">
                  <a:moveTo>
                    <a:pt x="0" y="114"/>
                  </a:moveTo>
                  <a:lnTo>
                    <a:pt x="9" y="145"/>
                  </a:lnTo>
                  <a:lnTo>
                    <a:pt x="19" y="169"/>
                  </a:lnTo>
                  <a:lnTo>
                    <a:pt x="28" y="185"/>
                  </a:lnTo>
                  <a:lnTo>
                    <a:pt x="39" y="188"/>
                  </a:lnTo>
                  <a:lnTo>
                    <a:pt x="52" y="179"/>
                  </a:lnTo>
                  <a:lnTo>
                    <a:pt x="58" y="163"/>
                  </a:lnTo>
                  <a:lnTo>
                    <a:pt x="71" y="139"/>
                  </a:lnTo>
                  <a:lnTo>
                    <a:pt x="87" y="154"/>
                  </a:lnTo>
                  <a:lnTo>
                    <a:pt x="104" y="158"/>
                  </a:lnTo>
                  <a:lnTo>
                    <a:pt x="115" y="166"/>
                  </a:lnTo>
                  <a:lnTo>
                    <a:pt x="113" y="192"/>
                  </a:lnTo>
                  <a:lnTo>
                    <a:pt x="113" y="209"/>
                  </a:lnTo>
                  <a:lnTo>
                    <a:pt x="129" y="237"/>
                  </a:lnTo>
                  <a:lnTo>
                    <a:pt x="148" y="262"/>
                  </a:lnTo>
                  <a:lnTo>
                    <a:pt x="146" y="269"/>
                  </a:lnTo>
                  <a:lnTo>
                    <a:pt x="124" y="269"/>
                  </a:lnTo>
                  <a:lnTo>
                    <a:pt x="134" y="283"/>
                  </a:lnTo>
                  <a:lnTo>
                    <a:pt x="198" y="364"/>
                  </a:lnTo>
                  <a:lnTo>
                    <a:pt x="204" y="370"/>
                  </a:lnTo>
                  <a:lnTo>
                    <a:pt x="223" y="370"/>
                  </a:lnTo>
                  <a:lnTo>
                    <a:pt x="237" y="374"/>
                  </a:lnTo>
                  <a:lnTo>
                    <a:pt x="265" y="388"/>
                  </a:lnTo>
                  <a:lnTo>
                    <a:pt x="289" y="414"/>
                  </a:lnTo>
                  <a:lnTo>
                    <a:pt x="294" y="425"/>
                  </a:lnTo>
                  <a:lnTo>
                    <a:pt x="303" y="445"/>
                  </a:lnTo>
                  <a:lnTo>
                    <a:pt x="310" y="444"/>
                  </a:lnTo>
                  <a:lnTo>
                    <a:pt x="317" y="444"/>
                  </a:lnTo>
                  <a:lnTo>
                    <a:pt x="336" y="452"/>
                  </a:lnTo>
                  <a:lnTo>
                    <a:pt x="347" y="462"/>
                  </a:lnTo>
                  <a:lnTo>
                    <a:pt x="383" y="506"/>
                  </a:lnTo>
                  <a:lnTo>
                    <a:pt x="367" y="461"/>
                  </a:lnTo>
                  <a:lnTo>
                    <a:pt x="358" y="444"/>
                  </a:lnTo>
                  <a:lnTo>
                    <a:pt x="366" y="428"/>
                  </a:lnTo>
                  <a:lnTo>
                    <a:pt x="361" y="414"/>
                  </a:lnTo>
                  <a:lnTo>
                    <a:pt x="343" y="391"/>
                  </a:lnTo>
                  <a:lnTo>
                    <a:pt x="310" y="348"/>
                  </a:lnTo>
                  <a:lnTo>
                    <a:pt x="289" y="330"/>
                  </a:lnTo>
                  <a:lnTo>
                    <a:pt x="281" y="321"/>
                  </a:lnTo>
                  <a:lnTo>
                    <a:pt x="270" y="324"/>
                  </a:lnTo>
                  <a:lnTo>
                    <a:pt x="253" y="309"/>
                  </a:lnTo>
                  <a:lnTo>
                    <a:pt x="251" y="309"/>
                  </a:lnTo>
                  <a:lnTo>
                    <a:pt x="242" y="299"/>
                  </a:lnTo>
                  <a:lnTo>
                    <a:pt x="237" y="280"/>
                  </a:lnTo>
                  <a:lnTo>
                    <a:pt x="232" y="262"/>
                  </a:lnTo>
                  <a:lnTo>
                    <a:pt x="214" y="235"/>
                  </a:lnTo>
                  <a:lnTo>
                    <a:pt x="176" y="191"/>
                  </a:lnTo>
                  <a:lnTo>
                    <a:pt x="174" y="179"/>
                  </a:lnTo>
                  <a:lnTo>
                    <a:pt x="176" y="173"/>
                  </a:lnTo>
                  <a:lnTo>
                    <a:pt x="195" y="169"/>
                  </a:lnTo>
                  <a:lnTo>
                    <a:pt x="247" y="188"/>
                  </a:lnTo>
                  <a:lnTo>
                    <a:pt x="281" y="145"/>
                  </a:lnTo>
                  <a:lnTo>
                    <a:pt x="310" y="172"/>
                  </a:lnTo>
                  <a:lnTo>
                    <a:pt x="322" y="173"/>
                  </a:lnTo>
                  <a:lnTo>
                    <a:pt x="328" y="185"/>
                  </a:lnTo>
                  <a:lnTo>
                    <a:pt x="338" y="173"/>
                  </a:lnTo>
                  <a:lnTo>
                    <a:pt x="357" y="173"/>
                  </a:lnTo>
                  <a:lnTo>
                    <a:pt x="374" y="176"/>
                  </a:lnTo>
                  <a:lnTo>
                    <a:pt x="396" y="163"/>
                  </a:lnTo>
                  <a:lnTo>
                    <a:pt x="421" y="173"/>
                  </a:lnTo>
                  <a:lnTo>
                    <a:pt x="434" y="188"/>
                  </a:lnTo>
                  <a:lnTo>
                    <a:pt x="451" y="192"/>
                  </a:lnTo>
                  <a:lnTo>
                    <a:pt x="452" y="179"/>
                  </a:lnTo>
                  <a:lnTo>
                    <a:pt x="460" y="158"/>
                  </a:lnTo>
                  <a:lnTo>
                    <a:pt x="451" y="148"/>
                  </a:lnTo>
                  <a:lnTo>
                    <a:pt x="436" y="129"/>
                  </a:lnTo>
                  <a:lnTo>
                    <a:pt x="434" y="111"/>
                  </a:lnTo>
                  <a:lnTo>
                    <a:pt x="434" y="98"/>
                  </a:lnTo>
                  <a:lnTo>
                    <a:pt x="436" y="82"/>
                  </a:lnTo>
                  <a:lnTo>
                    <a:pt x="415" y="77"/>
                  </a:lnTo>
                  <a:lnTo>
                    <a:pt x="405" y="74"/>
                  </a:lnTo>
                  <a:lnTo>
                    <a:pt x="395" y="82"/>
                  </a:lnTo>
                  <a:lnTo>
                    <a:pt x="383" y="92"/>
                  </a:lnTo>
                  <a:lnTo>
                    <a:pt x="371" y="92"/>
                  </a:lnTo>
                  <a:lnTo>
                    <a:pt x="352" y="71"/>
                  </a:lnTo>
                  <a:lnTo>
                    <a:pt x="336" y="61"/>
                  </a:lnTo>
                  <a:lnTo>
                    <a:pt x="319" y="64"/>
                  </a:lnTo>
                  <a:lnTo>
                    <a:pt x="305" y="47"/>
                  </a:lnTo>
                  <a:lnTo>
                    <a:pt x="267" y="3"/>
                  </a:lnTo>
                  <a:lnTo>
                    <a:pt x="251" y="0"/>
                  </a:lnTo>
                  <a:lnTo>
                    <a:pt x="226" y="37"/>
                  </a:lnTo>
                  <a:lnTo>
                    <a:pt x="199" y="34"/>
                  </a:lnTo>
                  <a:lnTo>
                    <a:pt x="188" y="47"/>
                  </a:lnTo>
                  <a:lnTo>
                    <a:pt x="184" y="64"/>
                  </a:lnTo>
                  <a:lnTo>
                    <a:pt x="134" y="124"/>
                  </a:lnTo>
                  <a:lnTo>
                    <a:pt x="101" y="114"/>
                  </a:lnTo>
                  <a:lnTo>
                    <a:pt x="68" y="105"/>
                  </a:lnTo>
                  <a:lnTo>
                    <a:pt x="52" y="114"/>
                  </a:lnTo>
                  <a:lnTo>
                    <a:pt x="30" y="12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grpSp>
          <p:nvGrpSpPr>
            <p:cNvPr id="23" name="FR"/>
            <p:cNvGrpSpPr>
              <a:grpSpLocks/>
            </p:cNvGrpSpPr>
            <p:nvPr/>
          </p:nvGrpSpPr>
          <p:grpSpPr bwMode="auto">
            <a:xfrm>
              <a:off x="4143297" y="3644915"/>
              <a:ext cx="1436689" cy="1531940"/>
              <a:chOff x="1095378" y="3963090"/>
              <a:chExt cx="659" cy="793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101" name="Freeform 573"/>
              <p:cNvSpPr>
                <a:spLocks noChangeAspect="1"/>
              </p:cNvSpPr>
              <p:nvPr/>
            </p:nvSpPr>
            <p:spPr bwMode="auto">
              <a:xfrm>
                <a:off x="1095980" y="3963778"/>
                <a:ext cx="57" cy="105"/>
              </a:xfrm>
              <a:custGeom>
                <a:avLst/>
                <a:gdLst>
                  <a:gd name="T0" fmla="*/ 85 w 85"/>
                  <a:gd name="T1" fmla="*/ 0 h 172"/>
                  <a:gd name="T2" fmla="*/ 57 w 85"/>
                  <a:gd name="T3" fmla="*/ 37 h 172"/>
                  <a:gd name="T4" fmla="*/ 24 w 85"/>
                  <a:gd name="T5" fmla="*/ 37 h 172"/>
                  <a:gd name="T6" fmla="*/ 0 w 85"/>
                  <a:gd name="T7" fmla="*/ 58 h 172"/>
                  <a:gd name="T8" fmla="*/ 5 w 85"/>
                  <a:gd name="T9" fmla="*/ 86 h 172"/>
                  <a:gd name="T10" fmla="*/ 5 w 85"/>
                  <a:gd name="T11" fmla="*/ 135 h 172"/>
                  <a:gd name="T12" fmla="*/ 24 w 85"/>
                  <a:gd name="T13" fmla="*/ 172 h 172"/>
                  <a:gd name="T14" fmla="*/ 47 w 85"/>
                  <a:gd name="T15" fmla="*/ 162 h 172"/>
                  <a:gd name="T16" fmla="*/ 52 w 85"/>
                  <a:gd name="T17" fmla="*/ 141 h 172"/>
                  <a:gd name="T18" fmla="*/ 76 w 85"/>
                  <a:gd name="T19" fmla="*/ 92 h 172"/>
                  <a:gd name="T20" fmla="*/ 76 w 85"/>
                  <a:gd name="T21" fmla="*/ 67 h 172"/>
                  <a:gd name="T22" fmla="*/ 85 w 85"/>
                  <a:gd name="T23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5" h="172">
                    <a:moveTo>
                      <a:pt x="85" y="0"/>
                    </a:moveTo>
                    <a:lnTo>
                      <a:pt x="57" y="37"/>
                    </a:lnTo>
                    <a:lnTo>
                      <a:pt x="24" y="37"/>
                    </a:lnTo>
                    <a:lnTo>
                      <a:pt x="0" y="58"/>
                    </a:lnTo>
                    <a:lnTo>
                      <a:pt x="5" y="86"/>
                    </a:lnTo>
                    <a:lnTo>
                      <a:pt x="5" y="135"/>
                    </a:lnTo>
                    <a:lnTo>
                      <a:pt x="24" y="172"/>
                    </a:lnTo>
                    <a:lnTo>
                      <a:pt x="47" y="162"/>
                    </a:lnTo>
                    <a:lnTo>
                      <a:pt x="52" y="141"/>
                    </a:lnTo>
                    <a:lnTo>
                      <a:pt x="76" y="92"/>
                    </a:lnTo>
                    <a:lnTo>
                      <a:pt x="76" y="67"/>
                    </a:lnTo>
                    <a:lnTo>
                      <a:pt x="85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102" name="Freeform 574"/>
              <p:cNvSpPr>
                <a:spLocks noChangeAspect="1"/>
              </p:cNvSpPr>
              <p:nvPr/>
            </p:nvSpPr>
            <p:spPr bwMode="auto">
              <a:xfrm>
                <a:off x="1095378" y="3963090"/>
                <a:ext cx="657" cy="655"/>
              </a:xfrm>
              <a:custGeom>
                <a:avLst/>
                <a:gdLst>
                  <a:gd name="T0" fmla="*/ 14 w 965"/>
                  <a:gd name="T1" fmla="*/ 206 h 1060"/>
                  <a:gd name="T2" fmla="*/ 16 w 965"/>
                  <a:gd name="T3" fmla="*/ 247 h 1060"/>
                  <a:gd name="T4" fmla="*/ 94 w 965"/>
                  <a:gd name="T5" fmla="*/ 314 h 1060"/>
                  <a:gd name="T6" fmla="*/ 154 w 965"/>
                  <a:gd name="T7" fmla="*/ 356 h 1060"/>
                  <a:gd name="T8" fmla="*/ 148 w 965"/>
                  <a:gd name="T9" fmla="*/ 411 h 1060"/>
                  <a:gd name="T10" fmla="*/ 183 w 965"/>
                  <a:gd name="T11" fmla="*/ 495 h 1060"/>
                  <a:gd name="T12" fmla="*/ 200 w 965"/>
                  <a:gd name="T13" fmla="*/ 609 h 1060"/>
                  <a:gd name="T14" fmla="*/ 167 w 965"/>
                  <a:gd name="T15" fmla="*/ 609 h 1060"/>
                  <a:gd name="T16" fmla="*/ 146 w 965"/>
                  <a:gd name="T17" fmla="*/ 667 h 1060"/>
                  <a:gd name="T18" fmla="*/ 124 w 965"/>
                  <a:gd name="T19" fmla="*/ 725 h 1060"/>
                  <a:gd name="T20" fmla="*/ 72 w 965"/>
                  <a:gd name="T21" fmla="*/ 828 h 1060"/>
                  <a:gd name="T22" fmla="*/ 75 w 965"/>
                  <a:gd name="T23" fmla="*/ 878 h 1060"/>
                  <a:gd name="T24" fmla="*/ 204 w 965"/>
                  <a:gd name="T25" fmla="*/ 973 h 1060"/>
                  <a:gd name="T26" fmla="*/ 314 w 965"/>
                  <a:gd name="T27" fmla="*/ 1031 h 1060"/>
                  <a:gd name="T28" fmla="*/ 410 w 965"/>
                  <a:gd name="T29" fmla="*/ 1060 h 1060"/>
                  <a:gd name="T30" fmla="*/ 446 w 965"/>
                  <a:gd name="T31" fmla="*/ 979 h 1060"/>
                  <a:gd name="T32" fmla="*/ 533 w 965"/>
                  <a:gd name="T33" fmla="*/ 943 h 1060"/>
                  <a:gd name="T34" fmla="*/ 596 w 965"/>
                  <a:gd name="T35" fmla="*/ 980 h 1060"/>
                  <a:gd name="T36" fmla="*/ 684 w 965"/>
                  <a:gd name="T37" fmla="*/ 1031 h 1060"/>
                  <a:gd name="T38" fmla="*/ 764 w 965"/>
                  <a:gd name="T39" fmla="*/ 1010 h 1060"/>
                  <a:gd name="T40" fmla="*/ 822 w 965"/>
                  <a:gd name="T41" fmla="*/ 942 h 1060"/>
                  <a:gd name="T42" fmla="*/ 786 w 965"/>
                  <a:gd name="T43" fmla="*/ 912 h 1060"/>
                  <a:gd name="T44" fmla="*/ 780 w 965"/>
                  <a:gd name="T45" fmla="*/ 815 h 1060"/>
                  <a:gd name="T46" fmla="*/ 803 w 965"/>
                  <a:gd name="T47" fmla="*/ 725 h 1060"/>
                  <a:gd name="T48" fmla="*/ 803 w 965"/>
                  <a:gd name="T49" fmla="*/ 643 h 1060"/>
                  <a:gd name="T50" fmla="*/ 761 w 965"/>
                  <a:gd name="T51" fmla="*/ 646 h 1060"/>
                  <a:gd name="T52" fmla="*/ 742 w 965"/>
                  <a:gd name="T53" fmla="*/ 633 h 1060"/>
                  <a:gd name="T54" fmla="*/ 786 w 965"/>
                  <a:gd name="T55" fmla="*/ 575 h 1060"/>
                  <a:gd name="T56" fmla="*/ 855 w 965"/>
                  <a:gd name="T57" fmla="*/ 501 h 1060"/>
                  <a:gd name="T58" fmla="*/ 890 w 965"/>
                  <a:gd name="T59" fmla="*/ 464 h 1060"/>
                  <a:gd name="T60" fmla="*/ 918 w 965"/>
                  <a:gd name="T61" fmla="*/ 393 h 1060"/>
                  <a:gd name="T62" fmla="*/ 965 w 965"/>
                  <a:gd name="T63" fmla="*/ 333 h 1060"/>
                  <a:gd name="T64" fmla="*/ 909 w 965"/>
                  <a:gd name="T65" fmla="*/ 303 h 1060"/>
                  <a:gd name="T66" fmla="*/ 843 w 965"/>
                  <a:gd name="T67" fmla="*/ 277 h 1060"/>
                  <a:gd name="T68" fmla="*/ 798 w 965"/>
                  <a:gd name="T69" fmla="*/ 232 h 1060"/>
                  <a:gd name="T70" fmla="*/ 734 w 965"/>
                  <a:gd name="T71" fmla="*/ 169 h 1060"/>
                  <a:gd name="T72" fmla="*/ 681 w 965"/>
                  <a:gd name="T73" fmla="*/ 108 h 1060"/>
                  <a:gd name="T74" fmla="*/ 643 w 965"/>
                  <a:gd name="T75" fmla="*/ 43 h 1060"/>
                  <a:gd name="T76" fmla="*/ 561 w 965"/>
                  <a:gd name="T77" fmla="*/ 3 h 1060"/>
                  <a:gd name="T78" fmla="*/ 525 w 965"/>
                  <a:gd name="T79" fmla="*/ 50 h 1060"/>
                  <a:gd name="T80" fmla="*/ 401 w 965"/>
                  <a:gd name="T81" fmla="*/ 124 h 1060"/>
                  <a:gd name="T82" fmla="*/ 335 w 965"/>
                  <a:gd name="T83" fmla="*/ 148 h 1060"/>
                  <a:gd name="T84" fmla="*/ 277 w 965"/>
                  <a:gd name="T85" fmla="*/ 111 h 1060"/>
                  <a:gd name="T86" fmla="*/ 251 w 965"/>
                  <a:gd name="T87" fmla="*/ 80 h 1060"/>
                  <a:gd name="T88" fmla="*/ 258 w 965"/>
                  <a:gd name="T89" fmla="*/ 118 h 1060"/>
                  <a:gd name="T90" fmla="*/ 249 w 965"/>
                  <a:gd name="T91" fmla="*/ 161 h 1060"/>
                  <a:gd name="T92" fmla="*/ 230 w 965"/>
                  <a:gd name="T93" fmla="*/ 195 h 1060"/>
                  <a:gd name="T94" fmla="*/ 178 w 965"/>
                  <a:gd name="T95" fmla="*/ 179 h 1060"/>
                  <a:gd name="T96" fmla="*/ 118 w 965"/>
                  <a:gd name="T97" fmla="*/ 136 h 1060"/>
                  <a:gd name="T98" fmla="*/ 75 w 965"/>
                  <a:gd name="T99" fmla="*/ 154 h 1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65" h="1060">
                    <a:moveTo>
                      <a:pt x="16" y="151"/>
                    </a:moveTo>
                    <a:lnTo>
                      <a:pt x="25" y="176"/>
                    </a:lnTo>
                    <a:lnTo>
                      <a:pt x="16" y="198"/>
                    </a:lnTo>
                    <a:lnTo>
                      <a:pt x="14" y="206"/>
                    </a:lnTo>
                    <a:lnTo>
                      <a:pt x="0" y="201"/>
                    </a:lnTo>
                    <a:lnTo>
                      <a:pt x="5" y="213"/>
                    </a:lnTo>
                    <a:lnTo>
                      <a:pt x="5" y="226"/>
                    </a:lnTo>
                    <a:lnTo>
                      <a:pt x="16" y="247"/>
                    </a:lnTo>
                    <a:lnTo>
                      <a:pt x="38" y="240"/>
                    </a:lnTo>
                    <a:lnTo>
                      <a:pt x="66" y="274"/>
                    </a:lnTo>
                    <a:lnTo>
                      <a:pt x="77" y="297"/>
                    </a:lnTo>
                    <a:lnTo>
                      <a:pt x="94" y="314"/>
                    </a:lnTo>
                    <a:lnTo>
                      <a:pt x="115" y="314"/>
                    </a:lnTo>
                    <a:lnTo>
                      <a:pt x="124" y="334"/>
                    </a:lnTo>
                    <a:lnTo>
                      <a:pt x="143" y="353"/>
                    </a:lnTo>
                    <a:lnTo>
                      <a:pt x="154" y="356"/>
                    </a:lnTo>
                    <a:lnTo>
                      <a:pt x="157" y="363"/>
                    </a:lnTo>
                    <a:lnTo>
                      <a:pt x="151" y="380"/>
                    </a:lnTo>
                    <a:lnTo>
                      <a:pt x="151" y="395"/>
                    </a:lnTo>
                    <a:lnTo>
                      <a:pt x="148" y="411"/>
                    </a:lnTo>
                    <a:lnTo>
                      <a:pt x="143" y="438"/>
                    </a:lnTo>
                    <a:lnTo>
                      <a:pt x="162" y="464"/>
                    </a:lnTo>
                    <a:lnTo>
                      <a:pt x="183" y="482"/>
                    </a:lnTo>
                    <a:lnTo>
                      <a:pt x="183" y="495"/>
                    </a:lnTo>
                    <a:lnTo>
                      <a:pt x="181" y="540"/>
                    </a:lnTo>
                    <a:lnTo>
                      <a:pt x="176" y="577"/>
                    </a:lnTo>
                    <a:lnTo>
                      <a:pt x="181" y="593"/>
                    </a:lnTo>
                    <a:lnTo>
                      <a:pt x="200" y="609"/>
                    </a:lnTo>
                    <a:lnTo>
                      <a:pt x="200" y="640"/>
                    </a:lnTo>
                    <a:lnTo>
                      <a:pt x="200" y="661"/>
                    </a:lnTo>
                    <a:lnTo>
                      <a:pt x="178" y="630"/>
                    </a:lnTo>
                    <a:lnTo>
                      <a:pt x="167" y="609"/>
                    </a:lnTo>
                    <a:lnTo>
                      <a:pt x="159" y="614"/>
                    </a:lnTo>
                    <a:lnTo>
                      <a:pt x="165" y="630"/>
                    </a:lnTo>
                    <a:lnTo>
                      <a:pt x="157" y="649"/>
                    </a:lnTo>
                    <a:lnTo>
                      <a:pt x="146" y="667"/>
                    </a:lnTo>
                    <a:lnTo>
                      <a:pt x="138" y="680"/>
                    </a:lnTo>
                    <a:lnTo>
                      <a:pt x="148" y="693"/>
                    </a:lnTo>
                    <a:lnTo>
                      <a:pt x="140" y="707"/>
                    </a:lnTo>
                    <a:lnTo>
                      <a:pt x="124" y="725"/>
                    </a:lnTo>
                    <a:lnTo>
                      <a:pt x="121" y="741"/>
                    </a:lnTo>
                    <a:lnTo>
                      <a:pt x="113" y="760"/>
                    </a:lnTo>
                    <a:lnTo>
                      <a:pt x="87" y="794"/>
                    </a:lnTo>
                    <a:lnTo>
                      <a:pt x="72" y="828"/>
                    </a:lnTo>
                    <a:lnTo>
                      <a:pt x="72" y="833"/>
                    </a:lnTo>
                    <a:lnTo>
                      <a:pt x="80" y="843"/>
                    </a:lnTo>
                    <a:lnTo>
                      <a:pt x="71" y="859"/>
                    </a:lnTo>
                    <a:lnTo>
                      <a:pt x="75" y="878"/>
                    </a:lnTo>
                    <a:lnTo>
                      <a:pt x="89" y="902"/>
                    </a:lnTo>
                    <a:lnTo>
                      <a:pt x="148" y="939"/>
                    </a:lnTo>
                    <a:lnTo>
                      <a:pt x="190" y="979"/>
                    </a:lnTo>
                    <a:lnTo>
                      <a:pt x="204" y="973"/>
                    </a:lnTo>
                    <a:lnTo>
                      <a:pt x="225" y="964"/>
                    </a:lnTo>
                    <a:lnTo>
                      <a:pt x="297" y="998"/>
                    </a:lnTo>
                    <a:lnTo>
                      <a:pt x="308" y="1010"/>
                    </a:lnTo>
                    <a:lnTo>
                      <a:pt x="314" y="1031"/>
                    </a:lnTo>
                    <a:lnTo>
                      <a:pt x="327" y="1038"/>
                    </a:lnTo>
                    <a:lnTo>
                      <a:pt x="343" y="1041"/>
                    </a:lnTo>
                    <a:lnTo>
                      <a:pt x="368" y="1057"/>
                    </a:lnTo>
                    <a:lnTo>
                      <a:pt x="410" y="1060"/>
                    </a:lnTo>
                    <a:lnTo>
                      <a:pt x="423" y="1041"/>
                    </a:lnTo>
                    <a:lnTo>
                      <a:pt x="427" y="1020"/>
                    </a:lnTo>
                    <a:lnTo>
                      <a:pt x="427" y="997"/>
                    </a:lnTo>
                    <a:lnTo>
                      <a:pt x="446" y="979"/>
                    </a:lnTo>
                    <a:lnTo>
                      <a:pt x="481" y="957"/>
                    </a:lnTo>
                    <a:lnTo>
                      <a:pt x="498" y="954"/>
                    </a:lnTo>
                    <a:lnTo>
                      <a:pt x="517" y="943"/>
                    </a:lnTo>
                    <a:lnTo>
                      <a:pt x="533" y="943"/>
                    </a:lnTo>
                    <a:lnTo>
                      <a:pt x="552" y="957"/>
                    </a:lnTo>
                    <a:lnTo>
                      <a:pt x="566" y="976"/>
                    </a:lnTo>
                    <a:lnTo>
                      <a:pt x="582" y="976"/>
                    </a:lnTo>
                    <a:lnTo>
                      <a:pt x="596" y="980"/>
                    </a:lnTo>
                    <a:lnTo>
                      <a:pt x="624" y="983"/>
                    </a:lnTo>
                    <a:lnTo>
                      <a:pt x="643" y="1010"/>
                    </a:lnTo>
                    <a:lnTo>
                      <a:pt x="660" y="1023"/>
                    </a:lnTo>
                    <a:lnTo>
                      <a:pt x="684" y="1031"/>
                    </a:lnTo>
                    <a:lnTo>
                      <a:pt x="704" y="1044"/>
                    </a:lnTo>
                    <a:lnTo>
                      <a:pt x="715" y="1047"/>
                    </a:lnTo>
                    <a:lnTo>
                      <a:pt x="745" y="1014"/>
                    </a:lnTo>
                    <a:lnTo>
                      <a:pt x="764" y="1010"/>
                    </a:lnTo>
                    <a:lnTo>
                      <a:pt x="777" y="997"/>
                    </a:lnTo>
                    <a:lnTo>
                      <a:pt x="798" y="980"/>
                    </a:lnTo>
                    <a:lnTo>
                      <a:pt x="824" y="979"/>
                    </a:lnTo>
                    <a:lnTo>
                      <a:pt x="822" y="942"/>
                    </a:lnTo>
                    <a:lnTo>
                      <a:pt x="817" y="930"/>
                    </a:lnTo>
                    <a:lnTo>
                      <a:pt x="805" y="912"/>
                    </a:lnTo>
                    <a:lnTo>
                      <a:pt x="796" y="915"/>
                    </a:lnTo>
                    <a:lnTo>
                      <a:pt x="786" y="912"/>
                    </a:lnTo>
                    <a:lnTo>
                      <a:pt x="777" y="896"/>
                    </a:lnTo>
                    <a:lnTo>
                      <a:pt x="775" y="859"/>
                    </a:lnTo>
                    <a:lnTo>
                      <a:pt x="794" y="835"/>
                    </a:lnTo>
                    <a:lnTo>
                      <a:pt x="780" y="815"/>
                    </a:lnTo>
                    <a:lnTo>
                      <a:pt x="780" y="806"/>
                    </a:lnTo>
                    <a:lnTo>
                      <a:pt x="808" y="775"/>
                    </a:lnTo>
                    <a:lnTo>
                      <a:pt x="808" y="764"/>
                    </a:lnTo>
                    <a:lnTo>
                      <a:pt x="803" y="725"/>
                    </a:lnTo>
                    <a:lnTo>
                      <a:pt x="819" y="707"/>
                    </a:lnTo>
                    <a:lnTo>
                      <a:pt x="805" y="686"/>
                    </a:lnTo>
                    <a:lnTo>
                      <a:pt x="805" y="670"/>
                    </a:lnTo>
                    <a:lnTo>
                      <a:pt x="803" y="643"/>
                    </a:lnTo>
                    <a:lnTo>
                      <a:pt x="796" y="636"/>
                    </a:lnTo>
                    <a:lnTo>
                      <a:pt x="780" y="636"/>
                    </a:lnTo>
                    <a:lnTo>
                      <a:pt x="765" y="640"/>
                    </a:lnTo>
                    <a:lnTo>
                      <a:pt x="761" y="646"/>
                    </a:lnTo>
                    <a:lnTo>
                      <a:pt x="751" y="656"/>
                    </a:lnTo>
                    <a:lnTo>
                      <a:pt x="737" y="661"/>
                    </a:lnTo>
                    <a:lnTo>
                      <a:pt x="732" y="646"/>
                    </a:lnTo>
                    <a:lnTo>
                      <a:pt x="742" y="633"/>
                    </a:lnTo>
                    <a:lnTo>
                      <a:pt x="747" y="622"/>
                    </a:lnTo>
                    <a:lnTo>
                      <a:pt x="747" y="609"/>
                    </a:lnTo>
                    <a:lnTo>
                      <a:pt x="772" y="580"/>
                    </a:lnTo>
                    <a:lnTo>
                      <a:pt x="786" y="575"/>
                    </a:lnTo>
                    <a:lnTo>
                      <a:pt x="789" y="553"/>
                    </a:lnTo>
                    <a:lnTo>
                      <a:pt x="803" y="535"/>
                    </a:lnTo>
                    <a:lnTo>
                      <a:pt x="843" y="501"/>
                    </a:lnTo>
                    <a:lnTo>
                      <a:pt x="855" y="501"/>
                    </a:lnTo>
                    <a:lnTo>
                      <a:pt x="860" y="488"/>
                    </a:lnTo>
                    <a:lnTo>
                      <a:pt x="874" y="472"/>
                    </a:lnTo>
                    <a:lnTo>
                      <a:pt x="885" y="472"/>
                    </a:lnTo>
                    <a:lnTo>
                      <a:pt x="890" y="464"/>
                    </a:lnTo>
                    <a:lnTo>
                      <a:pt x="897" y="458"/>
                    </a:lnTo>
                    <a:lnTo>
                      <a:pt x="907" y="439"/>
                    </a:lnTo>
                    <a:lnTo>
                      <a:pt x="915" y="411"/>
                    </a:lnTo>
                    <a:lnTo>
                      <a:pt x="918" y="393"/>
                    </a:lnTo>
                    <a:lnTo>
                      <a:pt x="918" y="377"/>
                    </a:lnTo>
                    <a:lnTo>
                      <a:pt x="932" y="358"/>
                    </a:lnTo>
                    <a:lnTo>
                      <a:pt x="953" y="346"/>
                    </a:lnTo>
                    <a:lnTo>
                      <a:pt x="965" y="333"/>
                    </a:lnTo>
                    <a:lnTo>
                      <a:pt x="965" y="327"/>
                    </a:lnTo>
                    <a:lnTo>
                      <a:pt x="946" y="311"/>
                    </a:lnTo>
                    <a:lnTo>
                      <a:pt x="937" y="306"/>
                    </a:lnTo>
                    <a:lnTo>
                      <a:pt x="909" y="303"/>
                    </a:lnTo>
                    <a:lnTo>
                      <a:pt x="878" y="297"/>
                    </a:lnTo>
                    <a:lnTo>
                      <a:pt x="866" y="296"/>
                    </a:lnTo>
                    <a:lnTo>
                      <a:pt x="855" y="290"/>
                    </a:lnTo>
                    <a:lnTo>
                      <a:pt x="843" y="277"/>
                    </a:lnTo>
                    <a:lnTo>
                      <a:pt x="833" y="256"/>
                    </a:lnTo>
                    <a:lnTo>
                      <a:pt x="824" y="243"/>
                    </a:lnTo>
                    <a:lnTo>
                      <a:pt x="812" y="237"/>
                    </a:lnTo>
                    <a:lnTo>
                      <a:pt x="798" y="232"/>
                    </a:lnTo>
                    <a:lnTo>
                      <a:pt x="791" y="229"/>
                    </a:lnTo>
                    <a:lnTo>
                      <a:pt x="772" y="210"/>
                    </a:lnTo>
                    <a:lnTo>
                      <a:pt x="748" y="189"/>
                    </a:lnTo>
                    <a:lnTo>
                      <a:pt x="734" y="169"/>
                    </a:lnTo>
                    <a:lnTo>
                      <a:pt x="718" y="164"/>
                    </a:lnTo>
                    <a:lnTo>
                      <a:pt x="709" y="155"/>
                    </a:lnTo>
                    <a:lnTo>
                      <a:pt x="701" y="135"/>
                    </a:lnTo>
                    <a:lnTo>
                      <a:pt x="681" y="108"/>
                    </a:lnTo>
                    <a:lnTo>
                      <a:pt x="676" y="90"/>
                    </a:lnTo>
                    <a:lnTo>
                      <a:pt x="660" y="71"/>
                    </a:lnTo>
                    <a:lnTo>
                      <a:pt x="652" y="55"/>
                    </a:lnTo>
                    <a:lnTo>
                      <a:pt x="643" y="43"/>
                    </a:lnTo>
                    <a:lnTo>
                      <a:pt x="627" y="28"/>
                    </a:lnTo>
                    <a:lnTo>
                      <a:pt x="610" y="8"/>
                    </a:lnTo>
                    <a:lnTo>
                      <a:pt x="596" y="0"/>
                    </a:lnTo>
                    <a:lnTo>
                      <a:pt x="561" y="3"/>
                    </a:lnTo>
                    <a:lnTo>
                      <a:pt x="547" y="3"/>
                    </a:lnTo>
                    <a:lnTo>
                      <a:pt x="528" y="18"/>
                    </a:lnTo>
                    <a:lnTo>
                      <a:pt x="539" y="31"/>
                    </a:lnTo>
                    <a:lnTo>
                      <a:pt x="525" y="50"/>
                    </a:lnTo>
                    <a:lnTo>
                      <a:pt x="490" y="100"/>
                    </a:lnTo>
                    <a:lnTo>
                      <a:pt x="472" y="111"/>
                    </a:lnTo>
                    <a:lnTo>
                      <a:pt x="423" y="117"/>
                    </a:lnTo>
                    <a:lnTo>
                      <a:pt x="401" y="124"/>
                    </a:lnTo>
                    <a:lnTo>
                      <a:pt x="390" y="136"/>
                    </a:lnTo>
                    <a:lnTo>
                      <a:pt x="385" y="148"/>
                    </a:lnTo>
                    <a:lnTo>
                      <a:pt x="366" y="142"/>
                    </a:lnTo>
                    <a:lnTo>
                      <a:pt x="335" y="148"/>
                    </a:lnTo>
                    <a:lnTo>
                      <a:pt x="316" y="145"/>
                    </a:lnTo>
                    <a:lnTo>
                      <a:pt x="300" y="132"/>
                    </a:lnTo>
                    <a:lnTo>
                      <a:pt x="289" y="117"/>
                    </a:lnTo>
                    <a:lnTo>
                      <a:pt x="277" y="111"/>
                    </a:lnTo>
                    <a:lnTo>
                      <a:pt x="286" y="98"/>
                    </a:lnTo>
                    <a:lnTo>
                      <a:pt x="272" y="84"/>
                    </a:lnTo>
                    <a:lnTo>
                      <a:pt x="261" y="81"/>
                    </a:lnTo>
                    <a:lnTo>
                      <a:pt x="251" y="80"/>
                    </a:lnTo>
                    <a:lnTo>
                      <a:pt x="249" y="84"/>
                    </a:lnTo>
                    <a:lnTo>
                      <a:pt x="258" y="95"/>
                    </a:lnTo>
                    <a:lnTo>
                      <a:pt x="253" y="102"/>
                    </a:lnTo>
                    <a:lnTo>
                      <a:pt x="258" y="118"/>
                    </a:lnTo>
                    <a:lnTo>
                      <a:pt x="261" y="136"/>
                    </a:lnTo>
                    <a:lnTo>
                      <a:pt x="261" y="151"/>
                    </a:lnTo>
                    <a:lnTo>
                      <a:pt x="258" y="154"/>
                    </a:lnTo>
                    <a:lnTo>
                      <a:pt x="249" y="161"/>
                    </a:lnTo>
                    <a:lnTo>
                      <a:pt x="247" y="173"/>
                    </a:lnTo>
                    <a:lnTo>
                      <a:pt x="247" y="188"/>
                    </a:lnTo>
                    <a:lnTo>
                      <a:pt x="244" y="198"/>
                    </a:lnTo>
                    <a:lnTo>
                      <a:pt x="230" y="195"/>
                    </a:lnTo>
                    <a:lnTo>
                      <a:pt x="214" y="185"/>
                    </a:lnTo>
                    <a:lnTo>
                      <a:pt x="204" y="195"/>
                    </a:lnTo>
                    <a:lnTo>
                      <a:pt x="187" y="182"/>
                    </a:lnTo>
                    <a:lnTo>
                      <a:pt x="178" y="179"/>
                    </a:lnTo>
                    <a:lnTo>
                      <a:pt x="167" y="189"/>
                    </a:lnTo>
                    <a:lnTo>
                      <a:pt x="157" y="188"/>
                    </a:lnTo>
                    <a:lnTo>
                      <a:pt x="157" y="179"/>
                    </a:lnTo>
                    <a:lnTo>
                      <a:pt x="118" y="136"/>
                    </a:lnTo>
                    <a:lnTo>
                      <a:pt x="108" y="135"/>
                    </a:lnTo>
                    <a:lnTo>
                      <a:pt x="101" y="142"/>
                    </a:lnTo>
                    <a:lnTo>
                      <a:pt x="85" y="151"/>
                    </a:lnTo>
                    <a:lnTo>
                      <a:pt x="75" y="154"/>
                    </a:lnTo>
                    <a:lnTo>
                      <a:pt x="63" y="139"/>
                    </a:lnTo>
                    <a:lnTo>
                      <a:pt x="35" y="139"/>
                    </a:lnTo>
                    <a:lnTo>
                      <a:pt x="16" y="15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grpSp>
          <p:nvGrpSpPr>
            <p:cNvPr id="24" name="GB"/>
            <p:cNvGrpSpPr/>
            <p:nvPr/>
          </p:nvGrpSpPr>
          <p:grpSpPr>
            <a:xfrm>
              <a:off x="4144882" y="2354268"/>
              <a:ext cx="849313" cy="1277938"/>
              <a:chOff x="1096963" y="2672443"/>
              <a:chExt cx="849312" cy="1277938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96" name="Freeform 568"/>
              <p:cNvSpPr>
                <a:spLocks noChangeAspect="1"/>
              </p:cNvSpPr>
              <p:nvPr/>
            </p:nvSpPr>
            <p:spPr bwMode="auto">
              <a:xfrm>
                <a:off x="1096963" y="2689817"/>
                <a:ext cx="849312" cy="1260564"/>
              </a:xfrm>
              <a:custGeom>
                <a:avLst/>
                <a:gdLst>
                  <a:gd name="T0" fmla="*/ 186 w 571"/>
                  <a:gd name="T1" fmla="*/ 731 h 1058"/>
                  <a:gd name="T2" fmla="*/ 123 w 571"/>
                  <a:gd name="T3" fmla="*/ 779 h 1058"/>
                  <a:gd name="T4" fmla="*/ 106 w 571"/>
                  <a:gd name="T5" fmla="*/ 823 h 1058"/>
                  <a:gd name="T6" fmla="*/ 143 w 571"/>
                  <a:gd name="T7" fmla="*/ 847 h 1058"/>
                  <a:gd name="T8" fmla="*/ 173 w 571"/>
                  <a:gd name="T9" fmla="*/ 863 h 1058"/>
                  <a:gd name="T10" fmla="*/ 228 w 571"/>
                  <a:gd name="T11" fmla="*/ 876 h 1058"/>
                  <a:gd name="T12" fmla="*/ 192 w 571"/>
                  <a:gd name="T13" fmla="*/ 924 h 1058"/>
                  <a:gd name="T14" fmla="*/ 110 w 571"/>
                  <a:gd name="T15" fmla="*/ 897 h 1058"/>
                  <a:gd name="T16" fmla="*/ 52 w 571"/>
                  <a:gd name="T17" fmla="*/ 953 h 1058"/>
                  <a:gd name="T18" fmla="*/ 3 w 571"/>
                  <a:gd name="T19" fmla="*/ 981 h 1058"/>
                  <a:gd name="T20" fmla="*/ 28 w 571"/>
                  <a:gd name="T21" fmla="*/ 1005 h 1058"/>
                  <a:gd name="T22" fmla="*/ 75 w 571"/>
                  <a:gd name="T23" fmla="*/ 997 h 1058"/>
                  <a:gd name="T24" fmla="*/ 139 w 571"/>
                  <a:gd name="T25" fmla="*/ 1027 h 1058"/>
                  <a:gd name="T26" fmla="*/ 187 w 571"/>
                  <a:gd name="T27" fmla="*/ 978 h 1058"/>
                  <a:gd name="T28" fmla="*/ 230 w 571"/>
                  <a:gd name="T29" fmla="*/ 1008 h 1058"/>
                  <a:gd name="T30" fmla="*/ 291 w 571"/>
                  <a:gd name="T31" fmla="*/ 1018 h 1058"/>
                  <a:gd name="T32" fmla="*/ 336 w 571"/>
                  <a:gd name="T33" fmla="*/ 1014 h 1058"/>
                  <a:gd name="T34" fmla="*/ 398 w 571"/>
                  <a:gd name="T35" fmla="*/ 1042 h 1058"/>
                  <a:gd name="T36" fmla="*/ 451 w 571"/>
                  <a:gd name="T37" fmla="*/ 1048 h 1058"/>
                  <a:gd name="T38" fmla="*/ 503 w 571"/>
                  <a:gd name="T39" fmla="*/ 1027 h 1058"/>
                  <a:gd name="T40" fmla="*/ 481 w 571"/>
                  <a:gd name="T41" fmla="*/ 978 h 1058"/>
                  <a:gd name="T42" fmla="*/ 484 w 571"/>
                  <a:gd name="T43" fmla="*/ 947 h 1058"/>
                  <a:gd name="T44" fmla="*/ 552 w 571"/>
                  <a:gd name="T45" fmla="*/ 897 h 1058"/>
                  <a:gd name="T46" fmla="*/ 571 w 571"/>
                  <a:gd name="T47" fmla="*/ 829 h 1058"/>
                  <a:gd name="T48" fmla="*/ 522 w 571"/>
                  <a:gd name="T49" fmla="*/ 792 h 1058"/>
                  <a:gd name="T50" fmla="*/ 486 w 571"/>
                  <a:gd name="T51" fmla="*/ 789 h 1058"/>
                  <a:gd name="T52" fmla="*/ 498 w 571"/>
                  <a:gd name="T53" fmla="*/ 724 h 1058"/>
                  <a:gd name="T54" fmla="*/ 498 w 571"/>
                  <a:gd name="T55" fmla="*/ 634 h 1058"/>
                  <a:gd name="T56" fmla="*/ 447 w 571"/>
                  <a:gd name="T57" fmla="*/ 532 h 1058"/>
                  <a:gd name="T58" fmla="*/ 447 w 571"/>
                  <a:gd name="T59" fmla="*/ 451 h 1058"/>
                  <a:gd name="T60" fmla="*/ 431 w 571"/>
                  <a:gd name="T61" fmla="*/ 387 h 1058"/>
                  <a:gd name="T62" fmla="*/ 376 w 571"/>
                  <a:gd name="T63" fmla="*/ 352 h 1058"/>
                  <a:gd name="T64" fmla="*/ 371 w 571"/>
                  <a:gd name="T65" fmla="*/ 327 h 1058"/>
                  <a:gd name="T66" fmla="*/ 418 w 571"/>
                  <a:gd name="T67" fmla="*/ 334 h 1058"/>
                  <a:gd name="T68" fmla="*/ 491 w 571"/>
                  <a:gd name="T69" fmla="*/ 234 h 1058"/>
                  <a:gd name="T70" fmla="*/ 486 w 571"/>
                  <a:gd name="T71" fmla="*/ 170 h 1058"/>
                  <a:gd name="T72" fmla="*/ 418 w 571"/>
                  <a:gd name="T73" fmla="*/ 139 h 1058"/>
                  <a:gd name="T74" fmla="*/ 381 w 571"/>
                  <a:gd name="T75" fmla="*/ 142 h 1058"/>
                  <a:gd name="T76" fmla="*/ 401 w 571"/>
                  <a:gd name="T77" fmla="*/ 102 h 1058"/>
                  <a:gd name="T78" fmla="*/ 475 w 571"/>
                  <a:gd name="T79" fmla="*/ 52 h 1058"/>
                  <a:gd name="T80" fmla="*/ 428 w 571"/>
                  <a:gd name="T81" fmla="*/ 18 h 1058"/>
                  <a:gd name="T82" fmla="*/ 351 w 571"/>
                  <a:gd name="T83" fmla="*/ 31 h 1058"/>
                  <a:gd name="T84" fmla="*/ 315 w 571"/>
                  <a:gd name="T85" fmla="*/ 68 h 1058"/>
                  <a:gd name="T86" fmla="*/ 291 w 571"/>
                  <a:gd name="T87" fmla="*/ 118 h 1058"/>
                  <a:gd name="T88" fmla="*/ 230 w 571"/>
                  <a:gd name="T89" fmla="*/ 203 h 1058"/>
                  <a:gd name="T90" fmla="*/ 270 w 571"/>
                  <a:gd name="T91" fmla="*/ 220 h 1058"/>
                  <a:gd name="T92" fmla="*/ 214 w 571"/>
                  <a:gd name="T93" fmla="*/ 327 h 1058"/>
                  <a:gd name="T94" fmla="*/ 233 w 571"/>
                  <a:gd name="T95" fmla="*/ 343 h 1058"/>
                  <a:gd name="T96" fmla="*/ 268 w 571"/>
                  <a:gd name="T97" fmla="*/ 365 h 1058"/>
                  <a:gd name="T98" fmla="*/ 228 w 571"/>
                  <a:gd name="T99" fmla="*/ 429 h 1058"/>
                  <a:gd name="T100" fmla="*/ 285 w 571"/>
                  <a:gd name="T101" fmla="*/ 471 h 1058"/>
                  <a:gd name="T102" fmla="*/ 319 w 571"/>
                  <a:gd name="T103" fmla="*/ 485 h 1058"/>
                  <a:gd name="T104" fmla="*/ 308 w 571"/>
                  <a:gd name="T105" fmla="*/ 576 h 1058"/>
                  <a:gd name="T106" fmla="*/ 305 w 571"/>
                  <a:gd name="T107" fmla="*/ 637 h 1058"/>
                  <a:gd name="T108" fmla="*/ 280 w 571"/>
                  <a:gd name="T109" fmla="*/ 665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71" h="1058">
                    <a:moveTo>
                      <a:pt x="171" y="678"/>
                    </a:moveTo>
                    <a:lnTo>
                      <a:pt x="198" y="705"/>
                    </a:lnTo>
                    <a:lnTo>
                      <a:pt x="186" y="731"/>
                    </a:lnTo>
                    <a:lnTo>
                      <a:pt x="170" y="752"/>
                    </a:lnTo>
                    <a:lnTo>
                      <a:pt x="143" y="766"/>
                    </a:lnTo>
                    <a:lnTo>
                      <a:pt x="123" y="779"/>
                    </a:lnTo>
                    <a:lnTo>
                      <a:pt x="101" y="782"/>
                    </a:lnTo>
                    <a:lnTo>
                      <a:pt x="90" y="792"/>
                    </a:lnTo>
                    <a:lnTo>
                      <a:pt x="106" y="823"/>
                    </a:lnTo>
                    <a:lnTo>
                      <a:pt x="132" y="823"/>
                    </a:lnTo>
                    <a:lnTo>
                      <a:pt x="143" y="826"/>
                    </a:lnTo>
                    <a:lnTo>
                      <a:pt x="143" y="847"/>
                    </a:lnTo>
                    <a:lnTo>
                      <a:pt x="157" y="847"/>
                    </a:lnTo>
                    <a:lnTo>
                      <a:pt x="167" y="842"/>
                    </a:lnTo>
                    <a:lnTo>
                      <a:pt x="173" y="863"/>
                    </a:lnTo>
                    <a:lnTo>
                      <a:pt x="187" y="882"/>
                    </a:lnTo>
                    <a:lnTo>
                      <a:pt x="211" y="882"/>
                    </a:lnTo>
                    <a:lnTo>
                      <a:pt x="228" y="876"/>
                    </a:lnTo>
                    <a:lnTo>
                      <a:pt x="242" y="882"/>
                    </a:lnTo>
                    <a:lnTo>
                      <a:pt x="206" y="916"/>
                    </a:lnTo>
                    <a:lnTo>
                      <a:pt x="192" y="924"/>
                    </a:lnTo>
                    <a:lnTo>
                      <a:pt x="173" y="916"/>
                    </a:lnTo>
                    <a:lnTo>
                      <a:pt x="132" y="897"/>
                    </a:lnTo>
                    <a:lnTo>
                      <a:pt x="110" y="897"/>
                    </a:lnTo>
                    <a:lnTo>
                      <a:pt x="91" y="916"/>
                    </a:lnTo>
                    <a:lnTo>
                      <a:pt x="66" y="940"/>
                    </a:lnTo>
                    <a:lnTo>
                      <a:pt x="52" y="953"/>
                    </a:lnTo>
                    <a:lnTo>
                      <a:pt x="35" y="958"/>
                    </a:lnTo>
                    <a:lnTo>
                      <a:pt x="16" y="968"/>
                    </a:lnTo>
                    <a:lnTo>
                      <a:pt x="3" y="981"/>
                    </a:lnTo>
                    <a:lnTo>
                      <a:pt x="0" y="990"/>
                    </a:lnTo>
                    <a:lnTo>
                      <a:pt x="16" y="993"/>
                    </a:lnTo>
                    <a:lnTo>
                      <a:pt x="28" y="1005"/>
                    </a:lnTo>
                    <a:lnTo>
                      <a:pt x="44" y="1014"/>
                    </a:lnTo>
                    <a:lnTo>
                      <a:pt x="61" y="1005"/>
                    </a:lnTo>
                    <a:lnTo>
                      <a:pt x="75" y="997"/>
                    </a:lnTo>
                    <a:lnTo>
                      <a:pt x="91" y="1000"/>
                    </a:lnTo>
                    <a:lnTo>
                      <a:pt x="115" y="1015"/>
                    </a:lnTo>
                    <a:lnTo>
                      <a:pt x="139" y="1027"/>
                    </a:lnTo>
                    <a:lnTo>
                      <a:pt x="155" y="1015"/>
                    </a:lnTo>
                    <a:lnTo>
                      <a:pt x="162" y="995"/>
                    </a:lnTo>
                    <a:lnTo>
                      <a:pt x="187" y="978"/>
                    </a:lnTo>
                    <a:lnTo>
                      <a:pt x="204" y="978"/>
                    </a:lnTo>
                    <a:lnTo>
                      <a:pt x="219" y="997"/>
                    </a:lnTo>
                    <a:lnTo>
                      <a:pt x="230" y="1008"/>
                    </a:lnTo>
                    <a:lnTo>
                      <a:pt x="249" y="1008"/>
                    </a:lnTo>
                    <a:lnTo>
                      <a:pt x="275" y="1011"/>
                    </a:lnTo>
                    <a:lnTo>
                      <a:pt x="291" y="1018"/>
                    </a:lnTo>
                    <a:lnTo>
                      <a:pt x="308" y="1005"/>
                    </a:lnTo>
                    <a:lnTo>
                      <a:pt x="322" y="1005"/>
                    </a:lnTo>
                    <a:lnTo>
                      <a:pt x="336" y="1014"/>
                    </a:lnTo>
                    <a:lnTo>
                      <a:pt x="352" y="1034"/>
                    </a:lnTo>
                    <a:lnTo>
                      <a:pt x="374" y="1037"/>
                    </a:lnTo>
                    <a:lnTo>
                      <a:pt x="398" y="1042"/>
                    </a:lnTo>
                    <a:lnTo>
                      <a:pt x="414" y="1052"/>
                    </a:lnTo>
                    <a:lnTo>
                      <a:pt x="434" y="1058"/>
                    </a:lnTo>
                    <a:lnTo>
                      <a:pt x="451" y="1048"/>
                    </a:lnTo>
                    <a:lnTo>
                      <a:pt x="472" y="1034"/>
                    </a:lnTo>
                    <a:lnTo>
                      <a:pt x="486" y="1031"/>
                    </a:lnTo>
                    <a:lnTo>
                      <a:pt x="503" y="1027"/>
                    </a:lnTo>
                    <a:lnTo>
                      <a:pt x="519" y="1011"/>
                    </a:lnTo>
                    <a:lnTo>
                      <a:pt x="508" y="995"/>
                    </a:lnTo>
                    <a:lnTo>
                      <a:pt x="481" y="978"/>
                    </a:lnTo>
                    <a:lnTo>
                      <a:pt x="472" y="968"/>
                    </a:lnTo>
                    <a:lnTo>
                      <a:pt x="472" y="958"/>
                    </a:lnTo>
                    <a:lnTo>
                      <a:pt x="484" y="947"/>
                    </a:lnTo>
                    <a:lnTo>
                      <a:pt x="503" y="944"/>
                    </a:lnTo>
                    <a:lnTo>
                      <a:pt x="522" y="934"/>
                    </a:lnTo>
                    <a:lnTo>
                      <a:pt x="552" y="897"/>
                    </a:lnTo>
                    <a:lnTo>
                      <a:pt x="566" y="879"/>
                    </a:lnTo>
                    <a:lnTo>
                      <a:pt x="571" y="847"/>
                    </a:lnTo>
                    <a:lnTo>
                      <a:pt x="571" y="829"/>
                    </a:lnTo>
                    <a:lnTo>
                      <a:pt x="557" y="816"/>
                    </a:lnTo>
                    <a:lnTo>
                      <a:pt x="538" y="801"/>
                    </a:lnTo>
                    <a:lnTo>
                      <a:pt x="522" y="792"/>
                    </a:lnTo>
                    <a:lnTo>
                      <a:pt x="503" y="795"/>
                    </a:lnTo>
                    <a:lnTo>
                      <a:pt x="491" y="802"/>
                    </a:lnTo>
                    <a:lnTo>
                      <a:pt x="486" y="789"/>
                    </a:lnTo>
                    <a:lnTo>
                      <a:pt x="496" y="768"/>
                    </a:lnTo>
                    <a:lnTo>
                      <a:pt x="500" y="752"/>
                    </a:lnTo>
                    <a:lnTo>
                      <a:pt x="498" y="724"/>
                    </a:lnTo>
                    <a:lnTo>
                      <a:pt x="496" y="684"/>
                    </a:lnTo>
                    <a:lnTo>
                      <a:pt x="503" y="653"/>
                    </a:lnTo>
                    <a:lnTo>
                      <a:pt x="498" y="634"/>
                    </a:lnTo>
                    <a:lnTo>
                      <a:pt x="486" y="613"/>
                    </a:lnTo>
                    <a:lnTo>
                      <a:pt x="458" y="557"/>
                    </a:lnTo>
                    <a:lnTo>
                      <a:pt x="447" y="532"/>
                    </a:lnTo>
                    <a:lnTo>
                      <a:pt x="442" y="500"/>
                    </a:lnTo>
                    <a:lnTo>
                      <a:pt x="439" y="482"/>
                    </a:lnTo>
                    <a:lnTo>
                      <a:pt x="447" y="451"/>
                    </a:lnTo>
                    <a:lnTo>
                      <a:pt x="447" y="426"/>
                    </a:lnTo>
                    <a:lnTo>
                      <a:pt x="442" y="399"/>
                    </a:lnTo>
                    <a:lnTo>
                      <a:pt x="431" y="387"/>
                    </a:lnTo>
                    <a:lnTo>
                      <a:pt x="409" y="362"/>
                    </a:lnTo>
                    <a:lnTo>
                      <a:pt x="393" y="355"/>
                    </a:lnTo>
                    <a:lnTo>
                      <a:pt x="376" y="352"/>
                    </a:lnTo>
                    <a:lnTo>
                      <a:pt x="365" y="350"/>
                    </a:lnTo>
                    <a:lnTo>
                      <a:pt x="365" y="337"/>
                    </a:lnTo>
                    <a:lnTo>
                      <a:pt x="371" y="327"/>
                    </a:lnTo>
                    <a:lnTo>
                      <a:pt x="390" y="324"/>
                    </a:lnTo>
                    <a:lnTo>
                      <a:pt x="407" y="331"/>
                    </a:lnTo>
                    <a:lnTo>
                      <a:pt x="418" y="334"/>
                    </a:lnTo>
                    <a:lnTo>
                      <a:pt x="426" y="321"/>
                    </a:lnTo>
                    <a:lnTo>
                      <a:pt x="423" y="306"/>
                    </a:lnTo>
                    <a:lnTo>
                      <a:pt x="491" y="234"/>
                    </a:lnTo>
                    <a:lnTo>
                      <a:pt x="503" y="219"/>
                    </a:lnTo>
                    <a:lnTo>
                      <a:pt x="503" y="186"/>
                    </a:lnTo>
                    <a:lnTo>
                      <a:pt x="486" y="170"/>
                    </a:lnTo>
                    <a:lnTo>
                      <a:pt x="467" y="168"/>
                    </a:lnTo>
                    <a:lnTo>
                      <a:pt x="451" y="139"/>
                    </a:lnTo>
                    <a:lnTo>
                      <a:pt x="418" y="139"/>
                    </a:lnTo>
                    <a:lnTo>
                      <a:pt x="418" y="139"/>
                    </a:lnTo>
                    <a:lnTo>
                      <a:pt x="388" y="145"/>
                    </a:lnTo>
                    <a:lnTo>
                      <a:pt x="381" y="142"/>
                    </a:lnTo>
                    <a:lnTo>
                      <a:pt x="374" y="129"/>
                    </a:lnTo>
                    <a:lnTo>
                      <a:pt x="388" y="118"/>
                    </a:lnTo>
                    <a:lnTo>
                      <a:pt x="401" y="102"/>
                    </a:lnTo>
                    <a:lnTo>
                      <a:pt x="431" y="74"/>
                    </a:lnTo>
                    <a:lnTo>
                      <a:pt x="453" y="71"/>
                    </a:lnTo>
                    <a:lnTo>
                      <a:pt x="475" y="52"/>
                    </a:lnTo>
                    <a:lnTo>
                      <a:pt x="496" y="34"/>
                    </a:lnTo>
                    <a:lnTo>
                      <a:pt x="448" y="21"/>
                    </a:lnTo>
                    <a:lnTo>
                      <a:pt x="428" y="18"/>
                    </a:lnTo>
                    <a:lnTo>
                      <a:pt x="404" y="15"/>
                    </a:lnTo>
                    <a:lnTo>
                      <a:pt x="376" y="0"/>
                    </a:lnTo>
                    <a:lnTo>
                      <a:pt x="351" y="31"/>
                    </a:lnTo>
                    <a:lnTo>
                      <a:pt x="352" y="47"/>
                    </a:lnTo>
                    <a:lnTo>
                      <a:pt x="338" y="52"/>
                    </a:lnTo>
                    <a:lnTo>
                      <a:pt x="315" y="68"/>
                    </a:lnTo>
                    <a:lnTo>
                      <a:pt x="294" y="77"/>
                    </a:lnTo>
                    <a:lnTo>
                      <a:pt x="294" y="99"/>
                    </a:lnTo>
                    <a:lnTo>
                      <a:pt x="291" y="118"/>
                    </a:lnTo>
                    <a:lnTo>
                      <a:pt x="272" y="148"/>
                    </a:lnTo>
                    <a:lnTo>
                      <a:pt x="242" y="185"/>
                    </a:lnTo>
                    <a:lnTo>
                      <a:pt x="230" y="203"/>
                    </a:lnTo>
                    <a:lnTo>
                      <a:pt x="237" y="216"/>
                    </a:lnTo>
                    <a:lnTo>
                      <a:pt x="268" y="213"/>
                    </a:lnTo>
                    <a:lnTo>
                      <a:pt x="270" y="220"/>
                    </a:lnTo>
                    <a:lnTo>
                      <a:pt x="270" y="234"/>
                    </a:lnTo>
                    <a:lnTo>
                      <a:pt x="228" y="294"/>
                    </a:lnTo>
                    <a:lnTo>
                      <a:pt x="214" y="327"/>
                    </a:lnTo>
                    <a:lnTo>
                      <a:pt x="204" y="355"/>
                    </a:lnTo>
                    <a:lnTo>
                      <a:pt x="214" y="368"/>
                    </a:lnTo>
                    <a:lnTo>
                      <a:pt x="233" y="343"/>
                    </a:lnTo>
                    <a:lnTo>
                      <a:pt x="252" y="313"/>
                    </a:lnTo>
                    <a:lnTo>
                      <a:pt x="266" y="321"/>
                    </a:lnTo>
                    <a:lnTo>
                      <a:pt x="268" y="365"/>
                    </a:lnTo>
                    <a:lnTo>
                      <a:pt x="270" y="395"/>
                    </a:lnTo>
                    <a:lnTo>
                      <a:pt x="244" y="411"/>
                    </a:lnTo>
                    <a:lnTo>
                      <a:pt x="228" y="429"/>
                    </a:lnTo>
                    <a:lnTo>
                      <a:pt x="223" y="445"/>
                    </a:lnTo>
                    <a:lnTo>
                      <a:pt x="256" y="476"/>
                    </a:lnTo>
                    <a:lnTo>
                      <a:pt x="285" y="471"/>
                    </a:lnTo>
                    <a:lnTo>
                      <a:pt x="291" y="489"/>
                    </a:lnTo>
                    <a:lnTo>
                      <a:pt x="322" y="468"/>
                    </a:lnTo>
                    <a:lnTo>
                      <a:pt x="319" y="485"/>
                    </a:lnTo>
                    <a:lnTo>
                      <a:pt x="294" y="519"/>
                    </a:lnTo>
                    <a:lnTo>
                      <a:pt x="305" y="556"/>
                    </a:lnTo>
                    <a:lnTo>
                      <a:pt x="308" y="576"/>
                    </a:lnTo>
                    <a:lnTo>
                      <a:pt x="334" y="579"/>
                    </a:lnTo>
                    <a:lnTo>
                      <a:pt x="336" y="597"/>
                    </a:lnTo>
                    <a:lnTo>
                      <a:pt x="305" y="637"/>
                    </a:lnTo>
                    <a:lnTo>
                      <a:pt x="294" y="631"/>
                    </a:lnTo>
                    <a:lnTo>
                      <a:pt x="282" y="644"/>
                    </a:lnTo>
                    <a:lnTo>
                      <a:pt x="280" y="665"/>
                    </a:lnTo>
                    <a:lnTo>
                      <a:pt x="249" y="647"/>
                    </a:lnTo>
                    <a:lnTo>
                      <a:pt x="171" y="678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97" name="Freeform 569"/>
              <p:cNvSpPr>
                <a:spLocks noChangeAspect="1"/>
              </p:cNvSpPr>
              <p:nvPr/>
            </p:nvSpPr>
            <p:spPr bwMode="auto">
              <a:xfrm>
                <a:off x="1406995" y="3301760"/>
                <a:ext cx="67683" cy="42469"/>
              </a:xfrm>
              <a:custGeom>
                <a:avLst/>
                <a:gdLst>
                  <a:gd name="T0" fmla="*/ 24 w 47"/>
                  <a:gd name="T1" fmla="*/ 0 h 39"/>
                  <a:gd name="T2" fmla="*/ 45 w 47"/>
                  <a:gd name="T3" fmla="*/ 3 h 39"/>
                  <a:gd name="T4" fmla="*/ 47 w 47"/>
                  <a:gd name="T5" fmla="*/ 17 h 39"/>
                  <a:gd name="T6" fmla="*/ 26 w 47"/>
                  <a:gd name="T7" fmla="*/ 33 h 39"/>
                  <a:gd name="T8" fmla="*/ 3 w 47"/>
                  <a:gd name="T9" fmla="*/ 39 h 39"/>
                  <a:gd name="T10" fmla="*/ 0 w 47"/>
                  <a:gd name="T11" fmla="*/ 22 h 39"/>
                  <a:gd name="T12" fmla="*/ 24 w 47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39">
                    <a:moveTo>
                      <a:pt x="24" y="0"/>
                    </a:moveTo>
                    <a:lnTo>
                      <a:pt x="45" y="3"/>
                    </a:lnTo>
                    <a:lnTo>
                      <a:pt x="47" y="17"/>
                    </a:lnTo>
                    <a:lnTo>
                      <a:pt x="26" y="33"/>
                    </a:lnTo>
                    <a:lnTo>
                      <a:pt x="3" y="39"/>
                    </a:lnTo>
                    <a:lnTo>
                      <a:pt x="0" y="2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98" name="Freeform 570"/>
              <p:cNvSpPr>
                <a:spLocks noChangeAspect="1"/>
              </p:cNvSpPr>
              <p:nvPr/>
            </p:nvSpPr>
            <p:spPr bwMode="auto">
              <a:xfrm>
                <a:off x="1358962" y="3006406"/>
                <a:ext cx="67683" cy="42469"/>
              </a:xfrm>
              <a:custGeom>
                <a:avLst/>
                <a:gdLst>
                  <a:gd name="T0" fmla="*/ 40 w 47"/>
                  <a:gd name="T1" fmla="*/ 0 h 39"/>
                  <a:gd name="T2" fmla="*/ 47 w 47"/>
                  <a:gd name="T3" fmla="*/ 19 h 39"/>
                  <a:gd name="T4" fmla="*/ 25 w 47"/>
                  <a:gd name="T5" fmla="*/ 33 h 39"/>
                  <a:gd name="T6" fmla="*/ 6 w 47"/>
                  <a:gd name="T7" fmla="*/ 39 h 39"/>
                  <a:gd name="T8" fmla="*/ 0 w 47"/>
                  <a:gd name="T9" fmla="*/ 20 h 39"/>
                  <a:gd name="T10" fmla="*/ 9 w 47"/>
                  <a:gd name="T11" fmla="*/ 7 h 39"/>
                  <a:gd name="T12" fmla="*/ 40 w 47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39">
                    <a:moveTo>
                      <a:pt x="40" y="0"/>
                    </a:moveTo>
                    <a:lnTo>
                      <a:pt x="47" y="19"/>
                    </a:lnTo>
                    <a:lnTo>
                      <a:pt x="25" y="33"/>
                    </a:lnTo>
                    <a:lnTo>
                      <a:pt x="6" y="39"/>
                    </a:lnTo>
                    <a:lnTo>
                      <a:pt x="0" y="20"/>
                    </a:lnTo>
                    <a:lnTo>
                      <a:pt x="9" y="7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99" name="Freeform 571"/>
              <p:cNvSpPr>
                <a:spLocks noChangeAspect="1"/>
              </p:cNvSpPr>
              <p:nvPr/>
            </p:nvSpPr>
            <p:spPr bwMode="auto">
              <a:xfrm>
                <a:off x="1459394" y="2772825"/>
                <a:ext cx="37116" cy="88799"/>
              </a:xfrm>
              <a:custGeom>
                <a:avLst/>
                <a:gdLst>
                  <a:gd name="T0" fmla="*/ 11 w 25"/>
                  <a:gd name="T1" fmla="*/ 74 h 74"/>
                  <a:gd name="T2" fmla="*/ 25 w 25"/>
                  <a:gd name="T3" fmla="*/ 55 h 74"/>
                  <a:gd name="T4" fmla="*/ 20 w 25"/>
                  <a:gd name="T5" fmla="*/ 31 h 74"/>
                  <a:gd name="T6" fmla="*/ 16 w 25"/>
                  <a:gd name="T7" fmla="*/ 18 h 74"/>
                  <a:gd name="T8" fmla="*/ 11 w 25"/>
                  <a:gd name="T9" fmla="*/ 0 h 74"/>
                  <a:gd name="T10" fmla="*/ 0 w 25"/>
                  <a:gd name="T11" fmla="*/ 8 h 74"/>
                  <a:gd name="T12" fmla="*/ 6 w 25"/>
                  <a:gd name="T13" fmla="*/ 34 h 74"/>
                  <a:gd name="T14" fmla="*/ 11 w 25"/>
                  <a:gd name="T15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74">
                    <a:moveTo>
                      <a:pt x="11" y="74"/>
                    </a:moveTo>
                    <a:lnTo>
                      <a:pt x="25" y="55"/>
                    </a:lnTo>
                    <a:lnTo>
                      <a:pt x="20" y="31"/>
                    </a:lnTo>
                    <a:lnTo>
                      <a:pt x="16" y="18"/>
                    </a:lnTo>
                    <a:lnTo>
                      <a:pt x="11" y="0"/>
                    </a:lnTo>
                    <a:lnTo>
                      <a:pt x="0" y="8"/>
                    </a:lnTo>
                    <a:lnTo>
                      <a:pt x="6" y="34"/>
                    </a:lnTo>
                    <a:lnTo>
                      <a:pt x="11" y="7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100" name="Freeform 572"/>
              <p:cNvSpPr>
                <a:spLocks noChangeAspect="1"/>
              </p:cNvSpPr>
              <p:nvPr/>
            </p:nvSpPr>
            <p:spPr bwMode="auto">
              <a:xfrm>
                <a:off x="1452844" y="2672443"/>
                <a:ext cx="96066" cy="63704"/>
              </a:xfrm>
              <a:custGeom>
                <a:avLst/>
                <a:gdLst>
                  <a:gd name="T0" fmla="*/ 56 w 63"/>
                  <a:gd name="T1" fmla="*/ 0 h 53"/>
                  <a:gd name="T2" fmla="*/ 63 w 63"/>
                  <a:gd name="T3" fmla="*/ 13 h 53"/>
                  <a:gd name="T4" fmla="*/ 39 w 63"/>
                  <a:gd name="T5" fmla="*/ 28 h 53"/>
                  <a:gd name="T6" fmla="*/ 16 w 63"/>
                  <a:gd name="T7" fmla="*/ 53 h 53"/>
                  <a:gd name="T8" fmla="*/ 2 w 63"/>
                  <a:gd name="T9" fmla="*/ 47 h 53"/>
                  <a:gd name="T10" fmla="*/ 0 w 63"/>
                  <a:gd name="T11" fmla="*/ 18 h 53"/>
                  <a:gd name="T12" fmla="*/ 0 w 63"/>
                  <a:gd name="T13" fmla="*/ 8 h 53"/>
                  <a:gd name="T14" fmla="*/ 38 w 63"/>
                  <a:gd name="T15" fmla="*/ 0 h 53"/>
                  <a:gd name="T16" fmla="*/ 56 w 63"/>
                  <a:gd name="T17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53">
                    <a:moveTo>
                      <a:pt x="56" y="0"/>
                    </a:moveTo>
                    <a:lnTo>
                      <a:pt x="63" y="13"/>
                    </a:lnTo>
                    <a:lnTo>
                      <a:pt x="39" y="28"/>
                    </a:lnTo>
                    <a:lnTo>
                      <a:pt x="16" y="53"/>
                    </a:lnTo>
                    <a:lnTo>
                      <a:pt x="2" y="47"/>
                    </a:lnTo>
                    <a:lnTo>
                      <a:pt x="0" y="18"/>
                    </a:lnTo>
                    <a:lnTo>
                      <a:pt x="0" y="8"/>
                    </a:lnTo>
                    <a:lnTo>
                      <a:pt x="38" y="0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sp>
          <p:nvSpPr>
            <p:cNvPr id="25" name="PL"/>
            <p:cNvSpPr>
              <a:spLocks noChangeAspect="1"/>
            </p:cNvSpPr>
            <p:nvPr/>
          </p:nvSpPr>
          <p:spPr bwMode="auto">
            <a:xfrm>
              <a:off x="6248400" y="3259138"/>
              <a:ext cx="1028700" cy="876300"/>
            </a:xfrm>
            <a:custGeom>
              <a:avLst/>
              <a:gdLst>
                <a:gd name="T0" fmla="*/ 14 w 697"/>
                <a:gd name="T1" fmla="*/ 185 h 735"/>
                <a:gd name="T2" fmla="*/ 0 w 697"/>
                <a:gd name="T3" fmla="*/ 235 h 735"/>
                <a:gd name="T4" fmla="*/ 31 w 697"/>
                <a:gd name="T5" fmla="*/ 282 h 735"/>
                <a:gd name="T6" fmla="*/ 25 w 697"/>
                <a:gd name="T7" fmla="*/ 322 h 735"/>
                <a:gd name="T8" fmla="*/ 38 w 697"/>
                <a:gd name="T9" fmla="*/ 356 h 735"/>
                <a:gd name="T10" fmla="*/ 47 w 697"/>
                <a:gd name="T11" fmla="*/ 423 h 735"/>
                <a:gd name="T12" fmla="*/ 50 w 697"/>
                <a:gd name="T13" fmla="*/ 448 h 735"/>
                <a:gd name="T14" fmla="*/ 42 w 697"/>
                <a:gd name="T15" fmla="*/ 472 h 735"/>
                <a:gd name="T16" fmla="*/ 61 w 697"/>
                <a:gd name="T17" fmla="*/ 485 h 735"/>
                <a:gd name="T18" fmla="*/ 80 w 697"/>
                <a:gd name="T19" fmla="*/ 501 h 735"/>
                <a:gd name="T20" fmla="*/ 99 w 697"/>
                <a:gd name="T21" fmla="*/ 541 h 735"/>
                <a:gd name="T22" fmla="*/ 119 w 697"/>
                <a:gd name="T23" fmla="*/ 568 h 735"/>
                <a:gd name="T24" fmla="*/ 160 w 697"/>
                <a:gd name="T25" fmla="*/ 580 h 735"/>
                <a:gd name="T26" fmla="*/ 188 w 697"/>
                <a:gd name="T27" fmla="*/ 578 h 735"/>
                <a:gd name="T28" fmla="*/ 228 w 697"/>
                <a:gd name="T29" fmla="*/ 620 h 735"/>
                <a:gd name="T30" fmla="*/ 276 w 697"/>
                <a:gd name="T31" fmla="*/ 643 h 735"/>
                <a:gd name="T32" fmla="*/ 312 w 697"/>
                <a:gd name="T33" fmla="*/ 636 h 735"/>
                <a:gd name="T34" fmla="*/ 350 w 697"/>
                <a:gd name="T35" fmla="*/ 664 h 735"/>
                <a:gd name="T36" fmla="*/ 369 w 697"/>
                <a:gd name="T37" fmla="*/ 667 h 735"/>
                <a:gd name="T38" fmla="*/ 397 w 697"/>
                <a:gd name="T39" fmla="*/ 680 h 735"/>
                <a:gd name="T40" fmla="*/ 429 w 697"/>
                <a:gd name="T41" fmla="*/ 707 h 735"/>
                <a:gd name="T42" fmla="*/ 457 w 697"/>
                <a:gd name="T43" fmla="*/ 711 h 735"/>
                <a:gd name="T44" fmla="*/ 479 w 697"/>
                <a:gd name="T45" fmla="*/ 696 h 735"/>
                <a:gd name="T46" fmla="*/ 609 w 697"/>
                <a:gd name="T47" fmla="*/ 735 h 735"/>
                <a:gd name="T48" fmla="*/ 614 w 697"/>
                <a:gd name="T49" fmla="*/ 696 h 735"/>
                <a:gd name="T50" fmla="*/ 678 w 697"/>
                <a:gd name="T51" fmla="*/ 580 h 735"/>
                <a:gd name="T52" fmla="*/ 697 w 697"/>
                <a:gd name="T53" fmla="*/ 532 h 735"/>
                <a:gd name="T54" fmla="*/ 673 w 697"/>
                <a:gd name="T55" fmla="*/ 461 h 735"/>
                <a:gd name="T56" fmla="*/ 638 w 697"/>
                <a:gd name="T57" fmla="*/ 408 h 735"/>
                <a:gd name="T58" fmla="*/ 638 w 697"/>
                <a:gd name="T59" fmla="*/ 361 h 735"/>
                <a:gd name="T60" fmla="*/ 636 w 697"/>
                <a:gd name="T61" fmla="*/ 322 h 735"/>
                <a:gd name="T62" fmla="*/ 636 w 697"/>
                <a:gd name="T63" fmla="*/ 296 h 735"/>
                <a:gd name="T64" fmla="*/ 661 w 697"/>
                <a:gd name="T65" fmla="*/ 259 h 735"/>
                <a:gd name="T66" fmla="*/ 650 w 697"/>
                <a:gd name="T67" fmla="*/ 182 h 735"/>
                <a:gd name="T68" fmla="*/ 642 w 697"/>
                <a:gd name="T69" fmla="*/ 129 h 735"/>
                <a:gd name="T70" fmla="*/ 609 w 697"/>
                <a:gd name="T71" fmla="*/ 84 h 735"/>
                <a:gd name="T72" fmla="*/ 528 w 697"/>
                <a:gd name="T73" fmla="*/ 80 h 735"/>
                <a:gd name="T74" fmla="*/ 435 w 697"/>
                <a:gd name="T75" fmla="*/ 71 h 735"/>
                <a:gd name="T76" fmla="*/ 385 w 697"/>
                <a:gd name="T77" fmla="*/ 56 h 735"/>
                <a:gd name="T78" fmla="*/ 355 w 697"/>
                <a:gd name="T79" fmla="*/ 74 h 735"/>
                <a:gd name="T80" fmla="*/ 326 w 697"/>
                <a:gd name="T81" fmla="*/ 53 h 735"/>
                <a:gd name="T82" fmla="*/ 303 w 697"/>
                <a:gd name="T83" fmla="*/ 46 h 735"/>
                <a:gd name="T84" fmla="*/ 276 w 697"/>
                <a:gd name="T85" fmla="*/ 3 h 735"/>
                <a:gd name="T86" fmla="*/ 232 w 697"/>
                <a:gd name="T87" fmla="*/ 9 h 735"/>
                <a:gd name="T88" fmla="*/ 190 w 697"/>
                <a:gd name="T89" fmla="*/ 28 h 735"/>
                <a:gd name="T90" fmla="*/ 124 w 697"/>
                <a:gd name="T91" fmla="*/ 61 h 735"/>
                <a:gd name="T92" fmla="*/ 66 w 697"/>
                <a:gd name="T93" fmla="*/ 90 h 735"/>
                <a:gd name="T94" fmla="*/ 31 w 697"/>
                <a:gd name="T95" fmla="*/ 129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97" h="735">
                  <a:moveTo>
                    <a:pt x="17" y="139"/>
                  </a:moveTo>
                  <a:lnTo>
                    <a:pt x="14" y="185"/>
                  </a:lnTo>
                  <a:lnTo>
                    <a:pt x="14" y="213"/>
                  </a:lnTo>
                  <a:lnTo>
                    <a:pt x="0" y="235"/>
                  </a:lnTo>
                  <a:lnTo>
                    <a:pt x="28" y="272"/>
                  </a:lnTo>
                  <a:lnTo>
                    <a:pt x="31" y="282"/>
                  </a:lnTo>
                  <a:lnTo>
                    <a:pt x="24" y="306"/>
                  </a:lnTo>
                  <a:lnTo>
                    <a:pt x="25" y="322"/>
                  </a:lnTo>
                  <a:lnTo>
                    <a:pt x="39" y="343"/>
                  </a:lnTo>
                  <a:lnTo>
                    <a:pt x="38" y="356"/>
                  </a:lnTo>
                  <a:lnTo>
                    <a:pt x="36" y="395"/>
                  </a:lnTo>
                  <a:lnTo>
                    <a:pt x="47" y="423"/>
                  </a:lnTo>
                  <a:lnTo>
                    <a:pt x="56" y="438"/>
                  </a:lnTo>
                  <a:lnTo>
                    <a:pt x="50" y="448"/>
                  </a:lnTo>
                  <a:lnTo>
                    <a:pt x="50" y="464"/>
                  </a:lnTo>
                  <a:lnTo>
                    <a:pt x="42" y="472"/>
                  </a:lnTo>
                  <a:lnTo>
                    <a:pt x="42" y="482"/>
                  </a:lnTo>
                  <a:lnTo>
                    <a:pt x="61" y="485"/>
                  </a:lnTo>
                  <a:lnTo>
                    <a:pt x="75" y="491"/>
                  </a:lnTo>
                  <a:lnTo>
                    <a:pt x="80" y="501"/>
                  </a:lnTo>
                  <a:lnTo>
                    <a:pt x="80" y="519"/>
                  </a:lnTo>
                  <a:lnTo>
                    <a:pt x="99" y="541"/>
                  </a:lnTo>
                  <a:lnTo>
                    <a:pt x="115" y="549"/>
                  </a:lnTo>
                  <a:lnTo>
                    <a:pt x="119" y="568"/>
                  </a:lnTo>
                  <a:lnTo>
                    <a:pt x="141" y="599"/>
                  </a:lnTo>
                  <a:lnTo>
                    <a:pt x="160" y="580"/>
                  </a:lnTo>
                  <a:lnTo>
                    <a:pt x="176" y="575"/>
                  </a:lnTo>
                  <a:lnTo>
                    <a:pt x="188" y="578"/>
                  </a:lnTo>
                  <a:lnTo>
                    <a:pt x="220" y="617"/>
                  </a:lnTo>
                  <a:lnTo>
                    <a:pt x="228" y="620"/>
                  </a:lnTo>
                  <a:lnTo>
                    <a:pt x="267" y="640"/>
                  </a:lnTo>
                  <a:lnTo>
                    <a:pt x="276" y="643"/>
                  </a:lnTo>
                  <a:lnTo>
                    <a:pt x="293" y="639"/>
                  </a:lnTo>
                  <a:lnTo>
                    <a:pt x="312" y="636"/>
                  </a:lnTo>
                  <a:lnTo>
                    <a:pt x="328" y="643"/>
                  </a:lnTo>
                  <a:lnTo>
                    <a:pt x="350" y="664"/>
                  </a:lnTo>
                  <a:lnTo>
                    <a:pt x="359" y="676"/>
                  </a:lnTo>
                  <a:lnTo>
                    <a:pt x="369" y="667"/>
                  </a:lnTo>
                  <a:lnTo>
                    <a:pt x="380" y="664"/>
                  </a:lnTo>
                  <a:lnTo>
                    <a:pt x="397" y="680"/>
                  </a:lnTo>
                  <a:lnTo>
                    <a:pt x="416" y="696"/>
                  </a:lnTo>
                  <a:lnTo>
                    <a:pt x="429" y="707"/>
                  </a:lnTo>
                  <a:lnTo>
                    <a:pt x="448" y="714"/>
                  </a:lnTo>
                  <a:lnTo>
                    <a:pt x="457" y="711"/>
                  </a:lnTo>
                  <a:lnTo>
                    <a:pt x="466" y="701"/>
                  </a:lnTo>
                  <a:lnTo>
                    <a:pt x="479" y="696"/>
                  </a:lnTo>
                  <a:lnTo>
                    <a:pt x="502" y="704"/>
                  </a:lnTo>
                  <a:lnTo>
                    <a:pt x="609" y="735"/>
                  </a:lnTo>
                  <a:lnTo>
                    <a:pt x="626" y="720"/>
                  </a:lnTo>
                  <a:lnTo>
                    <a:pt x="614" y="696"/>
                  </a:lnTo>
                  <a:lnTo>
                    <a:pt x="603" y="657"/>
                  </a:lnTo>
                  <a:lnTo>
                    <a:pt x="678" y="580"/>
                  </a:lnTo>
                  <a:lnTo>
                    <a:pt x="692" y="562"/>
                  </a:lnTo>
                  <a:lnTo>
                    <a:pt x="697" y="532"/>
                  </a:lnTo>
                  <a:lnTo>
                    <a:pt x="685" y="494"/>
                  </a:lnTo>
                  <a:lnTo>
                    <a:pt x="673" y="461"/>
                  </a:lnTo>
                  <a:lnTo>
                    <a:pt x="652" y="424"/>
                  </a:lnTo>
                  <a:lnTo>
                    <a:pt x="638" y="408"/>
                  </a:lnTo>
                  <a:lnTo>
                    <a:pt x="636" y="386"/>
                  </a:lnTo>
                  <a:lnTo>
                    <a:pt x="638" y="361"/>
                  </a:lnTo>
                  <a:lnTo>
                    <a:pt x="645" y="337"/>
                  </a:lnTo>
                  <a:lnTo>
                    <a:pt x="636" y="322"/>
                  </a:lnTo>
                  <a:lnTo>
                    <a:pt x="624" y="312"/>
                  </a:lnTo>
                  <a:lnTo>
                    <a:pt x="636" y="296"/>
                  </a:lnTo>
                  <a:lnTo>
                    <a:pt x="655" y="266"/>
                  </a:lnTo>
                  <a:lnTo>
                    <a:pt x="661" y="259"/>
                  </a:lnTo>
                  <a:lnTo>
                    <a:pt x="657" y="208"/>
                  </a:lnTo>
                  <a:lnTo>
                    <a:pt x="650" y="182"/>
                  </a:lnTo>
                  <a:lnTo>
                    <a:pt x="642" y="155"/>
                  </a:lnTo>
                  <a:lnTo>
                    <a:pt x="642" y="129"/>
                  </a:lnTo>
                  <a:lnTo>
                    <a:pt x="628" y="105"/>
                  </a:lnTo>
                  <a:lnTo>
                    <a:pt x="609" y="84"/>
                  </a:lnTo>
                  <a:lnTo>
                    <a:pt x="589" y="81"/>
                  </a:lnTo>
                  <a:lnTo>
                    <a:pt x="528" y="80"/>
                  </a:lnTo>
                  <a:lnTo>
                    <a:pt x="495" y="77"/>
                  </a:lnTo>
                  <a:lnTo>
                    <a:pt x="435" y="71"/>
                  </a:lnTo>
                  <a:lnTo>
                    <a:pt x="410" y="58"/>
                  </a:lnTo>
                  <a:lnTo>
                    <a:pt x="385" y="56"/>
                  </a:lnTo>
                  <a:lnTo>
                    <a:pt x="371" y="61"/>
                  </a:lnTo>
                  <a:lnTo>
                    <a:pt x="355" y="74"/>
                  </a:lnTo>
                  <a:lnTo>
                    <a:pt x="340" y="68"/>
                  </a:lnTo>
                  <a:lnTo>
                    <a:pt x="326" y="53"/>
                  </a:lnTo>
                  <a:lnTo>
                    <a:pt x="309" y="53"/>
                  </a:lnTo>
                  <a:lnTo>
                    <a:pt x="303" y="46"/>
                  </a:lnTo>
                  <a:lnTo>
                    <a:pt x="298" y="21"/>
                  </a:lnTo>
                  <a:lnTo>
                    <a:pt x="276" y="3"/>
                  </a:lnTo>
                  <a:lnTo>
                    <a:pt x="261" y="0"/>
                  </a:lnTo>
                  <a:lnTo>
                    <a:pt x="232" y="9"/>
                  </a:lnTo>
                  <a:lnTo>
                    <a:pt x="209" y="16"/>
                  </a:lnTo>
                  <a:lnTo>
                    <a:pt x="190" y="28"/>
                  </a:lnTo>
                  <a:lnTo>
                    <a:pt x="157" y="50"/>
                  </a:lnTo>
                  <a:lnTo>
                    <a:pt x="124" y="61"/>
                  </a:lnTo>
                  <a:lnTo>
                    <a:pt x="96" y="74"/>
                  </a:lnTo>
                  <a:lnTo>
                    <a:pt x="66" y="90"/>
                  </a:lnTo>
                  <a:lnTo>
                    <a:pt x="50" y="111"/>
                  </a:lnTo>
                  <a:lnTo>
                    <a:pt x="31" y="129"/>
                  </a:lnTo>
                  <a:lnTo>
                    <a:pt x="17" y="139"/>
                  </a:lnTo>
                  <a:close/>
                </a:path>
              </a:pathLst>
            </a:custGeom>
            <a:solidFill>
              <a:srgbClr val="DCE6F2"/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grpSp>
          <p:nvGrpSpPr>
            <p:cNvPr id="26" name="FI"/>
            <p:cNvGrpSpPr>
              <a:grpSpLocks/>
            </p:cNvGrpSpPr>
            <p:nvPr/>
          </p:nvGrpSpPr>
          <p:grpSpPr bwMode="auto">
            <a:xfrm>
              <a:off x="6795831" y="990600"/>
              <a:ext cx="873127" cy="1531932"/>
              <a:chOff x="3757282" y="1308775"/>
              <a:chExt cx="401" cy="793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94" name="Freeform 566"/>
              <p:cNvSpPr>
                <a:spLocks noChangeAspect="1"/>
              </p:cNvSpPr>
              <p:nvPr/>
            </p:nvSpPr>
            <p:spPr bwMode="auto">
              <a:xfrm>
                <a:off x="3757282" y="1309520"/>
                <a:ext cx="24" cy="22"/>
              </a:xfrm>
              <a:custGeom>
                <a:avLst/>
                <a:gdLst>
                  <a:gd name="T0" fmla="*/ 30 w 35"/>
                  <a:gd name="T1" fmla="*/ 0 h 37"/>
                  <a:gd name="T2" fmla="*/ 16 w 35"/>
                  <a:gd name="T3" fmla="*/ 9 h 37"/>
                  <a:gd name="T4" fmla="*/ 0 w 35"/>
                  <a:gd name="T5" fmla="*/ 24 h 37"/>
                  <a:gd name="T6" fmla="*/ 2 w 35"/>
                  <a:gd name="T7" fmla="*/ 37 h 37"/>
                  <a:gd name="T8" fmla="*/ 11 w 35"/>
                  <a:gd name="T9" fmla="*/ 37 h 37"/>
                  <a:gd name="T10" fmla="*/ 35 w 35"/>
                  <a:gd name="T11" fmla="*/ 19 h 37"/>
                  <a:gd name="T12" fmla="*/ 30 w 35"/>
                  <a:gd name="T1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37">
                    <a:moveTo>
                      <a:pt x="30" y="0"/>
                    </a:moveTo>
                    <a:lnTo>
                      <a:pt x="16" y="9"/>
                    </a:lnTo>
                    <a:lnTo>
                      <a:pt x="0" y="24"/>
                    </a:lnTo>
                    <a:lnTo>
                      <a:pt x="2" y="37"/>
                    </a:lnTo>
                    <a:lnTo>
                      <a:pt x="11" y="37"/>
                    </a:lnTo>
                    <a:lnTo>
                      <a:pt x="35" y="19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95" name="Freeform 567"/>
              <p:cNvSpPr>
                <a:spLocks noChangeAspect="1"/>
              </p:cNvSpPr>
              <p:nvPr/>
            </p:nvSpPr>
            <p:spPr bwMode="auto">
              <a:xfrm>
                <a:off x="3757306" y="1308775"/>
                <a:ext cx="377" cy="793"/>
              </a:xfrm>
              <a:custGeom>
                <a:avLst/>
                <a:gdLst>
                  <a:gd name="T0" fmla="*/ 151 w 553"/>
                  <a:gd name="T1" fmla="*/ 1239 h 1281"/>
                  <a:gd name="T2" fmla="*/ 118 w 553"/>
                  <a:gd name="T3" fmla="*/ 1207 h 1281"/>
                  <a:gd name="T4" fmla="*/ 75 w 553"/>
                  <a:gd name="T5" fmla="*/ 1197 h 1281"/>
                  <a:gd name="T6" fmla="*/ 75 w 553"/>
                  <a:gd name="T7" fmla="*/ 1096 h 1281"/>
                  <a:gd name="T8" fmla="*/ 56 w 553"/>
                  <a:gd name="T9" fmla="*/ 1028 h 1281"/>
                  <a:gd name="T10" fmla="*/ 52 w 553"/>
                  <a:gd name="T11" fmla="*/ 975 h 1281"/>
                  <a:gd name="T12" fmla="*/ 38 w 553"/>
                  <a:gd name="T13" fmla="*/ 930 h 1281"/>
                  <a:gd name="T14" fmla="*/ 66 w 553"/>
                  <a:gd name="T15" fmla="*/ 883 h 1281"/>
                  <a:gd name="T16" fmla="*/ 80 w 553"/>
                  <a:gd name="T17" fmla="*/ 840 h 1281"/>
                  <a:gd name="T18" fmla="*/ 136 w 553"/>
                  <a:gd name="T19" fmla="*/ 788 h 1281"/>
                  <a:gd name="T20" fmla="*/ 174 w 553"/>
                  <a:gd name="T21" fmla="*/ 725 h 1281"/>
                  <a:gd name="T22" fmla="*/ 201 w 553"/>
                  <a:gd name="T23" fmla="*/ 672 h 1281"/>
                  <a:gd name="T24" fmla="*/ 225 w 553"/>
                  <a:gd name="T25" fmla="*/ 636 h 1281"/>
                  <a:gd name="T26" fmla="*/ 229 w 553"/>
                  <a:gd name="T27" fmla="*/ 599 h 1281"/>
                  <a:gd name="T28" fmla="*/ 220 w 553"/>
                  <a:gd name="T29" fmla="*/ 562 h 1281"/>
                  <a:gd name="T30" fmla="*/ 193 w 553"/>
                  <a:gd name="T31" fmla="*/ 546 h 1281"/>
                  <a:gd name="T32" fmla="*/ 151 w 553"/>
                  <a:gd name="T33" fmla="*/ 445 h 1281"/>
                  <a:gd name="T34" fmla="*/ 155 w 553"/>
                  <a:gd name="T35" fmla="*/ 361 h 1281"/>
                  <a:gd name="T36" fmla="*/ 136 w 553"/>
                  <a:gd name="T37" fmla="*/ 277 h 1281"/>
                  <a:gd name="T38" fmla="*/ 103 w 553"/>
                  <a:gd name="T39" fmla="*/ 223 h 1281"/>
                  <a:gd name="T40" fmla="*/ 38 w 553"/>
                  <a:gd name="T41" fmla="*/ 182 h 1281"/>
                  <a:gd name="T42" fmla="*/ 14 w 553"/>
                  <a:gd name="T43" fmla="*/ 139 h 1281"/>
                  <a:gd name="T44" fmla="*/ 19 w 553"/>
                  <a:gd name="T45" fmla="*/ 111 h 1281"/>
                  <a:gd name="T46" fmla="*/ 61 w 553"/>
                  <a:gd name="T47" fmla="*/ 135 h 1281"/>
                  <a:gd name="T48" fmla="*/ 136 w 553"/>
                  <a:gd name="T49" fmla="*/ 155 h 1281"/>
                  <a:gd name="T50" fmla="*/ 165 w 553"/>
                  <a:gd name="T51" fmla="*/ 176 h 1281"/>
                  <a:gd name="T52" fmla="*/ 201 w 553"/>
                  <a:gd name="T53" fmla="*/ 139 h 1281"/>
                  <a:gd name="T54" fmla="*/ 225 w 553"/>
                  <a:gd name="T55" fmla="*/ 111 h 1281"/>
                  <a:gd name="T56" fmla="*/ 220 w 553"/>
                  <a:gd name="T57" fmla="*/ 52 h 1281"/>
                  <a:gd name="T58" fmla="*/ 258 w 553"/>
                  <a:gd name="T59" fmla="*/ 27 h 1281"/>
                  <a:gd name="T60" fmla="*/ 309 w 553"/>
                  <a:gd name="T61" fmla="*/ 37 h 1281"/>
                  <a:gd name="T62" fmla="*/ 309 w 553"/>
                  <a:gd name="T63" fmla="*/ 84 h 1281"/>
                  <a:gd name="T64" fmla="*/ 267 w 553"/>
                  <a:gd name="T65" fmla="*/ 131 h 1281"/>
                  <a:gd name="T66" fmla="*/ 314 w 553"/>
                  <a:gd name="T67" fmla="*/ 121 h 1281"/>
                  <a:gd name="T68" fmla="*/ 319 w 553"/>
                  <a:gd name="T69" fmla="*/ 42 h 1281"/>
                  <a:gd name="T70" fmla="*/ 347 w 553"/>
                  <a:gd name="T71" fmla="*/ 89 h 1281"/>
                  <a:gd name="T72" fmla="*/ 338 w 553"/>
                  <a:gd name="T73" fmla="*/ 160 h 1281"/>
                  <a:gd name="T74" fmla="*/ 375 w 553"/>
                  <a:gd name="T75" fmla="*/ 223 h 1281"/>
                  <a:gd name="T76" fmla="*/ 399 w 553"/>
                  <a:gd name="T77" fmla="*/ 281 h 1281"/>
                  <a:gd name="T78" fmla="*/ 403 w 553"/>
                  <a:gd name="T79" fmla="*/ 371 h 1281"/>
                  <a:gd name="T80" fmla="*/ 441 w 553"/>
                  <a:gd name="T81" fmla="*/ 498 h 1281"/>
                  <a:gd name="T82" fmla="*/ 455 w 553"/>
                  <a:gd name="T83" fmla="*/ 636 h 1281"/>
                  <a:gd name="T84" fmla="*/ 474 w 553"/>
                  <a:gd name="T85" fmla="*/ 735 h 1281"/>
                  <a:gd name="T86" fmla="*/ 529 w 553"/>
                  <a:gd name="T87" fmla="*/ 803 h 1281"/>
                  <a:gd name="T88" fmla="*/ 553 w 553"/>
                  <a:gd name="T89" fmla="*/ 857 h 1281"/>
                  <a:gd name="T90" fmla="*/ 526 w 553"/>
                  <a:gd name="T91" fmla="*/ 964 h 1281"/>
                  <a:gd name="T92" fmla="*/ 512 w 553"/>
                  <a:gd name="T93" fmla="*/ 1022 h 1281"/>
                  <a:gd name="T94" fmla="*/ 483 w 553"/>
                  <a:gd name="T95" fmla="*/ 1055 h 1281"/>
                  <a:gd name="T96" fmla="*/ 413 w 553"/>
                  <a:gd name="T97" fmla="*/ 1133 h 1281"/>
                  <a:gd name="T98" fmla="*/ 380 w 553"/>
                  <a:gd name="T99" fmla="*/ 1170 h 1281"/>
                  <a:gd name="T100" fmla="*/ 338 w 553"/>
                  <a:gd name="T101" fmla="*/ 1192 h 1281"/>
                  <a:gd name="T102" fmla="*/ 272 w 553"/>
                  <a:gd name="T103" fmla="*/ 1213 h 1281"/>
                  <a:gd name="T104" fmla="*/ 206 w 553"/>
                  <a:gd name="T105" fmla="*/ 1244 h 1281"/>
                  <a:gd name="T106" fmla="*/ 155 w 553"/>
                  <a:gd name="T107" fmla="*/ 1281 h 1281"/>
                  <a:gd name="connsiteX0" fmla="*/ 2803 w 10000"/>
                  <a:gd name="connsiteY0" fmla="*/ 10000 h 10000"/>
                  <a:gd name="connsiteX1" fmla="*/ 2731 w 10000"/>
                  <a:gd name="connsiteY1" fmla="*/ 9672 h 10000"/>
                  <a:gd name="connsiteX2" fmla="*/ 2387 w 10000"/>
                  <a:gd name="connsiteY2" fmla="*/ 9500 h 10000"/>
                  <a:gd name="connsiteX3" fmla="*/ 2134 w 10000"/>
                  <a:gd name="connsiteY3" fmla="*/ 9422 h 10000"/>
                  <a:gd name="connsiteX4" fmla="*/ 1700 w 10000"/>
                  <a:gd name="connsiteY4" fmla="*/ 9344 h 10000"/>
                  <a:gd name="connsiteX5" fmla="*/ 1356 w 10000"/>
                  <a:gd name="connsiteY5" fmla="*/ 9344 h 10000"/>
                  <a:gd name="connsiteX6" fmla="*/ 1193 w 10000"/>
                  <a:gd name="connsiteY6" fmla="*/ 9180 h 10000"/>
                  <a:gd name="connsiteX7" fmla="*/ 1356 w 10000"/>
                  <a:gd name="connsiteY7" fmla="*/ 8556 h 10000"/>
                  <a:gd name="connsiteX8" fmla="*/ 1284 w 10000"/>
                  <a:gd name="connsiteY8" fmla="*/ 8189 h 10000"/>
                  <a:gd name="connsiteX9" fmla="*/ 1013 w 10000"/>
                  <a:gd name="connsiteY9" fmla="*/ 8025 h 10000"/>
                  <a:gd name="connsiteX10" fmla="*/ 850 w 10000"/>
                  <a:gd name="connsiteY10" fmla="*/ 7947 h 10000"/>
                  <a:gd name="connsiteX11" fmla="*/ 940 w 10000"/>
                  <a:gd name="connsiteY11" fmla="*/ 7611 h 10000"/>
                  <a:gd name="connsiteX12" fmla="*/ 850 w 10000"/>
                  <a:gd name="connsiteY12" fmla="*/ 7416 h 10000"/>
                  <a:gd name="connsiteX13" fmla="*/ 687 w 10000"/>
                  <a:gd name="connsiteY13" fmla="*/ 7260 h 10000"/>
                  <a:gd name="connsiteX14" fmla="*/ 940 w 10000"/>
                  <a:gd name="connsiteY14" fmla="*/ 6893 h 10000"/>
                  <a:gd name="connsiteX15" fmla="*/ 1193 w 10000"/>
                  <a:gd name="connsiteY15" fmla="*/ 6893 h 10000"/>
                  <a:gd name="connsiteX16" fmla="*/ 1356 w 10000"/>
                  <a:gd name="connsiteY16" fmla="*/ 6815 h 10000"/>
                  <a:gd name="connsiteX17" fmla="*/ 1447 w 10000"/>
                  <a:gd name="connsiteY17" fmla="*/ 6557 h 10000"/>
                  <a:gd name="connsiteX18" fmla="*/ 1953 w 10000"/>
                  <a:gd name="connsiteY18" fmla="*/ 6362 h 10000"/>
                  <a:gd name="connsiteX19" fmla="*/ 2459 w 10000"/>
                  <a:gd name="connsiteY19" fmla="*/ 6151 h 10000"/>
                  <a:gd name="connsiteX20" fmla="*/ 2550 w 10000"/>
                  <a:gd name="connsiteY20" fmla="*/ 5902 h 10000"/>
                  <a:gd name="connsiteX21" fmla="*/ 3146 w 10000"/>
                  <a:gd name="connsiteY21" fmla="*/ 5660 h 10000"/>
                  <a:gd name="connsiteX22" fmla="*/ 3725 w 10000"/>
                  <a:gd name="connsiteY22" fmla="*/ 5371 h 10000"/>
                  <a:gd name="connsiteX23" fmla="*/ 3635 w 10000"/>
                  <a:gd name="connsiteY23" fmla="*/ 5246 h 10000"/>
                  <a:gd name="connsiteX24" fmla="*/ 3635 w 10000"/>
                  <a:gd name="connsiteY24" fmla="*/ 5082 h 10000"/>
                  <a:gd name="connsiteX25" fmla="*/ 4069 w 10000"/>
                  <a:gd name="connsiteY25" fmla="*/ 4965 h 10000"/>
                  <a:gd name="connsiteX26" fmla="*/ 4231 w 10000"/>
                  <a:gd name="connsiteY26" fmla="*/ 4918 h 10000"/>
                  <a:gd name="connsiteX27" fmla="*/ 4141 w 10000"/>
                  <a:gd name="connsiteY27" fmla="*/ 4676 h 10000"/>
                  <a:gd name="connsiteX28" fmla="*/ 4141 w 10000"/>
                  <a:gd name="connsiteY28" fmla="*/ 4426 h 10000"/>
                  <a:gd name="connsiteX29" fmla="*/ 3978 w 10000"/>
                  <a:gd name="connsiteY29" fmla="*/ 4387 h 10000"/>
                  <a:gd name="connsiteX30" fmla="*/ 3725 w 10000"/>
                  <a:gd name="connsiteY30" fmla="*/ 4426 h 10000"/>
                  <a:gd name="connsiteX31" fmla="*/ 3490 w 10000"/>
                  <a:gd name="connsiteY31" fmla="*/ 4262 h 10000"/>
                  <a:gd name="connsiteX32" fmla="*/ 3237 w 10000"/>
                  <a:gd name="connsiteY32" fmla="*/ 3810 h 10000"/>
                  <a:gd name="connsiteX33" fmla="*/ 2731 w 10000"/>
                  <a:gd name="connsiteY33" fmla="*/ 3474 h 10000"/>
                  <a:gd name="connsiteX34" fmla="*/ 2893 w 10000"/>
                  <a:gd name="connsiteY34" fmla="*/ 3021 h 10000"/>
                  <a:gd name="connsiteX35" fmla="*/ 2803 w 10000"/>
                  <a:gd name="connsiteY35" fmla="*/ 2818 h 10000"/>
                  <a:gd name="connsiteX36" fmla="*/ 2206 w 10000"/>
                  <a:gd name="connsiteY36" fmla="*/ 2529 h 10000"/>
                  <a:gd name="connsiteX37" fmla="*/ 2459 w 10000"/>
                  <a:gd name="connsiteY37" fmla="*/ 2162 h 10000"/>
                  <a:gd name="connsiteX38" fmla="*/ 2297 w 10000"/>
                  <a:gd name="connsiteY38" fmla="*/ 1952 h 10000"/>
                  <a:gd name="connsiteX39" fmla="*/ 1863 w 10000"/>
                  <a:gd name="connsiteY39" fmla="*/ 1741 h 10000"/>
                  <a:gd name="connsiteX40" fmla="*/ 1609 w 10000"/>
                  <a:gd name="connsiteY40" fmla="*/ 1874 h 10000"/>
                  <a:gd name="connsiteX41" fmla="*/ 687 w 10000"/>
                  <a:gd name="connsiteY41" fmla="*/ 1421 h 10000"/>
                  <a:gd name="connsiteX42" fmla="*/ 434 w 10000"/>
                  <a:gd name="connsiteY42" fmla="*/ 1249 h 10000"/>
                  <a:gd name="connsiteX43" fmla="*/ 253 w 10000"/>
                  <a:gd name="connsiteY43" fmla="*/ 1085 h 10000"/>
                  <a:gd name="connsiteX44" fmla="*/ 0 w 10000"/>
                  <a:gd name="connsiteY44" fmla="*/ 1023 h 10000"/>
                  <a:gd name="connsiteX45" fmla="*/ 344 w 10000"/>
                  <a:gd name="connsiteY45" fmla="*/ 867 h 10000"/>
                  <a:gd name="connsiteX46" fmla="*/ 850 w 10000"/>
                  <a:gd name="connsiteY46" fmla="*/ 867 h 10000"/>
                  <a:gd name="connsiteX47" fmla="*/ 1103 w 10000"/>
                  <a:gd name="connsiteY47" fmla="*/ 1054 h 10000"/>
                  <a:gd name="connsiteX48" fmla="*/ 1790 w 10000"/>
                  <a:gd name="connsiteY48" fmla="*/ 1421 h 10000"/>
                  <a:gd name="connsiteX49" fmla="*/ 2459 w 10000"/>
                  <a:gd name="connsiteY49" fmla="*/ 1210 h 10000"/>
                  <a:gd name="connsiteX50" fmla="*/ 2893 w 10000"/>
                  <a:gd name="connsiteY50" fmla="*/ 1249 h 10000"/>
                  <a:gd name="connsiteX51" fmla="*/ 2984 w 10000"/>
                  <a:gd name="connsiteY51" fmla="*/ 1374 h 10000"/>
                  <a:gd name="connsiteX52" fmla="*/ 3490 w 10000"/>
                  <a:gd name="connsiteY52" fmla="*/ 1421 h 10000"/>
                  <a:gd name="connsiteX53" fmla="*/ 3635 w 10000"/>
                  <a:gd name="connsiteY53" fmla="*/ 1085 h 10000"/>
                  <a:gd name="connsiteX54" fmla="*/ 3888 w 10000"/>
                  <a:gd name="connsiteY54" fmla="*/ 984 h 10000"/>
                  <a:gd name="connsiteX55" fmla="*/ 4069 w 10000"/>
                  <a:gd name="connsiteY55" fmla="*/ 867 h 10000"/>
                  <a:gd name="connsiteX56" fmla="*/ 4069 w 10000"/>
                  <a:gd name="connsiteY56" fmla="*/ 742 h 10000"/>
                  <a:gd name="connsiteX57" fmla="*/ 3978 w 10000"/>
                  <a:gd name="connsiteY57" fmla="*/ 406 h 10000"/>
                  <a:gd name="connsiteX58" fmla="*/ 4412 w 10000"/>
                  <a:gd name="connsiteY58" fmla="*/ 211 h 10000"/>
                  <a:gd name="connsiteX59" fmla="*/ 4665 w 10000"/>
                  <a:gd name="connsiteY59" fmla="*/ 211 h 10000"/>
                  <a:gd name="connsiteX60" fmla="*/ 5081 w 10000"/>
                  <a:gd name="connsiteY60" fmla="*/ 0 h 10000"/>
                  <a:gd name="connsiteX61" fmla="*/ 5588 w 10000"/>
                  <a:gd name="connsiteY61" fmla="*/ 289 h 10000"/>
                  <a:gd name="connsiteX62" fmla="*/ 5769 w 10000"/>
                  <a:gd name="connsiteY62" fmla="*/ 406 h 10000"/>
                  <a:gd name="connsiteX63" fmla="*/ 5588 w 10000"/>
                  <a:gd name="connsiteY63" fmla="*/ 656 h 10000"/>
                  <a:gd name="connsiteX64" fmla="*/ 5172 w 10000"/>
                  <a:gd name="connsiteY64" fmla="*/ 820 h 10000"/>
                  <a:gd name="connsiteX65" fmla="*/ 4828 w 10000"/>
                  <a:gd name="connsiteY65" fmla="*/ 1023 h 10000"/>
                  <a:gd name="connsiteX66" fmla="*/ 5604 w 10000"/>
                  <a:gd name="connsiteY66" fmla="*/ 755 h 10000"/>
                  <a:gd name="connsiteX67" fmla="*/ 5678 w 10000"/>
                  <a:gd name="connsiteY67" fmla="*/ 945 h 10000"/>
                  <a:gd name="connsiteX68" fmla="*/ 5678 w 10000"/>
                  <a:gd name="connsiteY68" fmla="*/ 695 h 10000"/>
                  <a:gd name="connsiteX69" fmla="*/ 5769 w 10000"/>
                  <a:gd name="connsiteY69" fmla="*/ 328 h 10000"/>
                  <a:gd name="connsiteX70" fmla="*/ 6022 w 10000"/>
                  <a:gd name="connsiteY70" fmla="*/ 242 h 10000"/>
                  <a:gd name="connsiteX71" fmla="*/ 6275 w 10000"/>
                  <a:gd name="connsiteY71" fmla="*/ 695 h 10000"/>
                  <a:gd name="connsiteX72" fmla="*/ 6275 w 10000"/>
                  <a:gd name="connsiteY72" fmla="*/ 1085 h 10000"/>
                  <a:gd name="connsiteX73" fmla="*/ 6112 w 10000"/>
                  <a:gd name="connsiteY73" fmla="*/ 1249 h 10000"/>
                  <a:gd name="connsiteX74" fmla="*/ 6112 w 10000"/>
                  <a:gd name="connsiteY74" fmla="*/ 1499 h 10000"/>
                  <a:gd name="connsiteX75" fmla="*/ 6781 w 10000"/>
                  <a:gd name="connsiteY75" fmla="*/ 1741 h 10000"/>
                  <a:gd name="connsiteX76" fmla="*/ 6781 w 10000"/>
                  <a:gd name="connsiteY76" fmla="*/ 1905 h 10000"/>
                  <a:gd name="connsiteX77" fmla="*/ 7215 w 10000"/>
                  <a:gd name="connsiteY77" fmla="*/ 2194 h 10000"/>
                  <a:gd name="connsiteX78" fmla="*/ 7378 w 10000"/>
                  <a:gd name="connsiteY78" fmla="*/ 2404 h 10000"/>
                  <a:gd name="connsiteX79" fmla="*/ 7288 w 10000"/>
                  <a:gd name="connsiteY79" fmla="*/ 2896 h 10000"/>
                  <a:gd name="connsiteX80" fmla="*/ 7559 w 10000"/>
                  <a:gd name="connsiteY80" fmla="*/ 3443 h 10000"/>
                  <a:gd name="connsiteX81" fmla="*/ 7975 w 10000"/>
                  <a:gd name="connsiteY81" fmla="*/ 3888 h 10000"/>
                  <a:gd name="connsiteX82" fmla="*/ 7884 w 10000"/>
                  <a:gd name="connsiteY82" fmla="*/ 4551 h 10000"/>
                  <a:gd name="connsiteX83" fmla="*/ 8228 w 10000"/>
                  <a:gd name="connsiteY83" fmla="*/ 4965 h 10000"/>
                  <a:gd name="connsiteX84" fmla="*/ 8409 w 10000"/>
                  <a:gd name="connsiteY84" fmla="*/ 5129 h 10000"/>
                  <a:gd name="connsiteX85" fmla="*/ 8571 w 10000"/>
                  <a:gd name="connsiteY85" fmla="*/ 5738 h 10000"/>
                  <a:gd name="connsiteX86" fmla="*/ 8734 w 10000"/>
                  <a:gd name="connsiteY86" fmla="*/ 5995 h 10000"/>
                  <a:gd name="connsiteX87" fmla="*/ 9566 w 10000"/>
                  <a:gd name="connsiteY87" fmla="*/ 6269 h 10000"/>
                  <a:gd name="connsiteX88" fmla="*/ 10000 w 10000"/>
                  <a:gd name="connsiteY88" fmla="*/ 6526 h 10000"/>
                  <a:gd name="connsiteX89" fmla="*/ 10000 w 10000"/>
                  <a:gd name="connsiteY89" fmla="*/ 6690 h 10000"/>
                  <a:gd name="connsiteX90" fmla="*/ 9656 w 10000"/>
                  <a:gd name="connsiteY90" fmla="*/ 7447 h 10000"/>
                  <a:gd name="connsiteX91" fmla="*/ 9512 w 10000"/>
                  <a:gd name="connsiteY91" fmla="*/ 7525 h 10000"/>
                  <a:gd name="connsiteX92" fmla="*/ 9656 w 10000"/>
                  <a:gd name="connsiteY92" fmla="*/ 7689 h 10000"/>
                  <a:gd name="connsiteX93" fmla="*/ 9259 w 10000"/>
                  <a:gd name="connsiteY93" fmla="*/ 7978 h 10000"/>
                  <a:gd name="connsiteX94" fmla="*/ 8734 w 10000"/>
                  <a:gd name="connsiteY94" fmla="*/ 8103 h 10000"/>
                  <a:gd name="connsiteX95" fmla="*/ 8734 w 10000"/>
                  <a:gd name="connsiteY95" fmla="*/ 8236 h 10000"/>
                  <a:gd name="connsiteX96" fmla="*/ 7975 w 10000"/>
                  <a:gd name="connsiteY96" fmla="*/ 8728 h 10000"/>
                  <a:gd name="connsiteX97" fmla="*/ 7468 w 10000"/>
                  <a:gd name="connsiteY97" fmla="*/ 8845 h 10000"/>
                  <a:gd name="connsiteX98" fmla="*/ 7378 w 10000"/>
                  <a:gd name="connsiteY98" fmla="*/ 9133 h 10000"/>
                  <a:gd name="connsiteX99" fmla="*/ 6872 w 10000"/>
                  <a:gd name="connsiteY99" fmla="*/ 9133 h 10000"/>
                  <a:gd name="connsiteX100" fmla="*/ 6618 w 10000"/>
                  <a:gd name="connsiteY100" fmla="*/ 9227 h 10000"/>
                  <a:gd name="connsiteX101" fmla="*/ 6112 w 10000"/>
                  <a:gd name="connsiteY101" fmla="*/ 9305 h 10000"/>
                  <a:gd name="connsiteX102" fmla="*/ 5425 w 10000"/>
                  <a:gd name="connsiteY102" fmla="*/ 9258 h 10000"/>
                  <a:gd name="connsiteX103" fmla="*/ 4919 w 10000"/>
                  <a:gd name="connsiteY103" fmla="*/ 9469 h 10000"/>
                  <a:gd name="connsiteX104" fmla="*/ 4322 w 10000"/>
                  <a:gd name="connsiteY104" fmla="*/ 9633 h 10000"/>
                  <a:gd name="connsiteX105" fmla="*/ 3725 w 10000"/>
                  <a:gd name="connsiteY105" fmla="*/ 9711 h 10000"/>
                  <a:gd name="connsiteX106" fmla="*/ 3291 w 10000"/>
                  <a:gd name="connsiteY106" fmla="*/ 9883 h 10000"/>
                  <a:gd name="connsiteX107" fmla="*/ 2803 w 10000"/>
                  <a:gd name="connsiteY107" fmla="*/ 10000 h 10000"/>
                  <a:gd name="connsiteX0" fmla="*/ 2803 w 10000"/>
                  <a:gd name="connsiteY0" fmla="*/ 10000 h 10000"/>
                  <a:gd name="connsiteX1" fmla="*/ 2731 w 10000"/>
                  <a:gd name="connsiteY1" fmla="*/ 9672 h 10000"/>
                  <a:gd name="connsiteX2" fmla="*/ 2387 w 10000"/>
                  <a:gd name="connsiteY2" fmla="*/ 9500 h 10000"/>
                  <a:gd name="connsiteX3" fmla="*/ 2134 w 10000"/>
                  <a:gd name="connsiteY3" fmla="*/ 9422 h 10000"/>
                  <a:gd name="connsiteX4" fmla="*/ 1700 w 10000"/>
                  <a:gd name="connsiteY4" fmla="*/ 9344 h 10000"/>
                  <a:gd name="connsiteX5" fmla="*/ 1356 w 10000"/>
                  <a:gd name="connsiteY5" fmla="*/ 9344 h 10000"/>
                  <a:gd name="connsiteX6" fmla="*/ 1193 w 10000"/>
                  <a:gd name="connsiteY6" fmla="*/ 9180 h 10000"/>
                  <a:gd name="connsiteX7" fmla="*/ 1356 w 10000"/>
                  <a:gd name="connsiteY7" fmla="*/ 8556 h 10000"/>
                  <a:gd name="connsiteX8" fmla="*/ 1284 w 10000"/>
                  <a:gd name="connsiteY8" fmla="*/ 8189 h 10000"/>
                  <a:gd name="connsiteX9" fmla="*/ 1013 w 10000"/>
                  <a:gd name="connsiteY9" fmla="*/ 8025 h 10000"/>
                  <a:gd name="connsiteX10" fmla="*/ 850 w 10000"/>
                  <a:gd name="connsiteY10" fmla="*/ 7947 h 10000"/>
                  <a:gd name="connsiteX11" fmla="*/ 940 w 10000"/>
                  <a:gd name="connsiteY11" fmla="*/ 7611 h 10000"/>
                  <a:gd name="connsiteX12" fmla="*/ 850 w 10000"/>
                  <a:gd name="connsiteY12" fmla="*/ 7416 h 10000"/>
                  <a:gd name="connsiteX13" fmla="*/ 687 w 10000"/>
                  <a:gd name="connsiteY13" fmla="*/ 7260 h 10000"/>
                  <a:gd name="connsiteX14" fmla="*/ 940 w 10000"/>
                  <a:gd name="connsiteY14" fmla="*/ 6893 h 10000"/>
                  <a:gd name="connsiteX15" fmla="*/ 1193 w 10000"/>
                  <a:gd name="connsiteY15" fmla="*/ 6893 h 10000"/>
                  <a:gd name="connsiteX16" fmla="*/ 1356 w 10000"/>
                  <a:gd name="connsiteY16" fmla="*/ 6815 h 10000"/>
                  <a:gd name="connsiteX17" fmla="*/ 1447 w 10000"/>
                  <a:gd name="connsiteY17" fmla="*/ 6557 h 10000"/>
                  <a:gd name="connsiteX18" fmla="*/ 1953 w 10000"/>
                  <a:gd name="connsiteY18" fmla="*/ 6362 h 10000"/>
                  <a:gd name="connsiteX19" fmla="*/ 2459 w 10000"/>
                  <a:gd name="connsiteY19" fmla="*/ 6151 h 10000"/>
                  <a:gd name="connsiteX20" fmla="*/ 2550 w 10000"/>
                  <a:gd name="connsiteY20" fmla="*/ 5902 h 10000"/>
                  <a:gd name="connsiteX21" fmla="*/ 3146 w 10000"/>
                  <a:gd name="connsiteY21" fmla="*/ 5660 h 10000"/>
                  <a:gd name="connsiteX22" fmla="*/ 3725 w 10000"/>
                  <a:gd name="connsiteY22" fmla="*/ 5371 h 10000"/>
                  <a:gd name="connsiteX23" fmla="*/ 3635 w 10000"/>
                  <a:gd name="connsiteY23" fmla="*/ 5246 h 10000"/>
                  <a:gd name="connsiteX24" fmla="*/ 3635 w 10000"/>
                  <a:gd name="connsiteY24" fmla="*/ 5082 h 10000"/>
                  <a:gd name="connsiteX25" fmla="*/ 4069 w 10000"/>
                  <a:gd name="connsiteY25" fmla="*/ 4965 h 10000"/>
                  <a:gd name="connsiteX26" fmla="*/ 4231 w 10000"/>
                  <a:gd name="connsiteY26" fmla="*/ 4918 h 10000"/>
                  <a:gd name="connsiteX27" fmla="*/ 4141 w 10000"/>
                  <a:gd name="connsiteY27" fmla="*/ 4676 h 10000"/>
                  <a:gd name="connsiteX28" fmla="*/ 4141 w 10000"/>
                  <a:gd name="connsiteY28" fmla="*/ 4426 h 10000"/>
                  <a:gd name="connsiteX29" fmla="*/ 3978 w 10000"/>
                  <a:gd name="connsiteY29" fmla="*/ 4387 h 10000"/>
                  <a:gd name="connsiteX30" fmla="*/ 3725 w 10000"/>
                  <a:gd name="connsiteY30" fmla="*/ 4426 h 10000"/>
                  <a:gd name="connsiteX31" fmla="*/ 3490 w 10000"/>
                  <a:gd name="connsiteY31" fmla="*/ 4262 h 10000"/>
                  <a:gd name="connsiteX32" fmla="*/ 3237 w 10000"/>
                  <a:gd name="connsiteY32" fmla="*/ 3810 h 10000"/>
                  <a:gd name="connsiteX33" fmla="*/ 2731 w 10000"/>
                  <a:gd name="connsiteY33" fmla="*/ 3474 h 10000"/>
                  <a:gd name="connsiteX34" fmla="*/ 2893 w 10000"/>
                  <a:gd name="connsiteY34" fmla="*/ 3021 h 10000"/>
                  <a:gd name="connsiteX35" fmla="*/ 2803 w 10000"/>
                  <a:gd name="connsiteY35" fmla="*/ 2818 h 10000"/>
                  <a:gd name="connsiteX36" fmla="*/ 2206 w 10000"/>
                  <a:gd name="connsiteY36" fmla="*/ 2529 h 10000"/>
                  <a:gd name="connsiteX37" fmla="*/ 2459 w 10000"/>
                  <a:gd name="connsiteY37" fmla="*/ 2162 h 10000"/>
                  <a:gd name="connsiteX38" fmla="*/ 2297 w 10000"/>
                  <a:gd name="connsiteY38" fmla="*/ 1952 h 10000"/>
                  <a:gd name="connsiteX39" fmla="*/ 1863 w 10000"/>
                  <a:gd name="connsiteY39" fmla="*/ 1741 h 10000"/>
                  <a:gd name="connsiteX40" fmla="*/ 1609 w 10000"/>
                  <a:gd name="connsiteY40" fmla="*/ 1874 h 10000"/>
                  <a:gd name="connsiteX41" fmla="*/ 687 w 10000"/>
                  <a:gd name="connsiteY41" fmla="*/ 1421 h 10000"/>
                  <a:gd name="connsiteX42" fmla="*/ 434 w 10000"/>
                  <a:gd name="connsiteY42" fmla="*/ 1249 h 10000"/>
                  <a:gd name="connsiteX43" fmla="*/ 253 w 10000"/>
                  <a:gd name="connsiteY43" fmla="*/ 1085 h 10000"/>
                  <a:gd name="connsiteX44" fmla="*/ 0 w 10000"/>
                  <a:gd name="connsiteY44" fmla="*/ 1023 h 10000"/>
                  <a:gd name="connsiteX45" fmla="*/ 344 w 10000"/>
                  <a:gd name="connsiteY45" fmla="*/ 867 h 10000"/>
                  <a:gd name="connsiteX46" fmla="*/ 850 w 10000"/>
                  <a:gd name="connsiteY46" fmla="*/ 867 h 10000"/>
                  <a:gd name="connsiteX47" fmla="*/ 1103 w 10000"/>
                  <a:gd name="connsiteY47" fmla="*/ 1054 h 10000"/>
                  <a:gd name="connsiteX48" fmla="*/ 1790 w 10000"/>
                  <a:gd name="connsiteY48" fmla="*/ 1421 h 10000"/>
                  <a:gd name="connsiteX49" fmla="*/ 2459 w 10000"/>
                  <a:gd name="connsiteY49" fmla="*/ 1210 h 10000"/>
                  <a:gd name="connsiteX50" fmla="*/ 2893 w 10000"/>
                  <a:gd name="connsiteY50" fmla="*/ 1249 h 10000"/>
                  <a:gd name="connsiteX51" fmla="*/ 2984 w 10000"/>
                  <a:gd name="connsiteY51" fmla="*/ 1374 h 10000"/>
                  <a:gd name="connsiteX52" fmla="*/ 3490 w 10000"/>
                  <a:gd name="connsiteY52" fmla="*/ 1421 h 10000"/>
                  <a:gd name="connsiteX53" fmla="*/ 3635 w 10000"/>
                  <a:gd name="connsiteY53" fmla="*/ 1085 h 10000"/>
                  <a:gd name="connsiteX54" fmla="*/ 3888 w 10000"/>
                  <a:gd name="connsiteY54" fmla="*/ 984 h 10000"/>
                  <a:gd name="connsiteX55" fmla="*/ 4069 w 10000"/>
                  <a:gd name="connsiteY55" fmla="*/ 867 h 10000"/>
                  <a:gd name="connsiteX56" fmla="*/ 4069 w 10000"/>
                  <a:gd name="connsiteY56" fmla="*/ 742 h 10000"/>
                  <a:gd name="connsiteX57" fmla="*/ 3978 w 10000"/>
                  <a:gd name="connsiteY57" fmla="*/ 406 h 10000"/>
                  <a:gd name="connsiteX58" fmla="*/ 4412 w 10000"/>
                  <a:gd name="connsiteY58" fmla="*/ 211 h 10000"/>
                  <a:gd name="connsiteX59" fmla="*/ 4665 w 10000"/>
                  <a:gd name="connsiteY59" fmla="*/ 211 h 10000"/>
                  <a:gd name="connsiteX60" fmla="*/ 5081 w 10000"/>
                  <a:gd name="connsiteY60" fmla="*/ 0 h 10000"/>
                  <a:gd name="connsiteX61" fmla="*/ 5588 w 10000"/>
                  <a:gd name="connsiteY61" fmla="*/ 289 h 10000"/>
                  <a:gd name="connsiteX62" fmla="*/ 5769 w 10000"/>
                  <a:gd name="connsiteY62" fmla="*/ 406 h 10000"/>
                  <a:gd name="connsiteX63" fmla="*/ 5588 w 10000"/>
                  <a:gd name="connsiteY63" fmla="*/ 656 h 10000"/>
                  <a:gd name="connsiteX64" fmla="*/ 5172 w 10000"/>
                  <a:gd name="connsiteY64" fmla="*/ 820 h 10000"/>
                  <a:gd name="connsiteX65" fmla="*/ 5741 w 10000"/>
                  <a:gd name="connsiteY65" fmla="*/ 659 h 10000"/>
                  <a:gd name="connsiteX66" fmla="*/ 5604 w 10000"/>
                  <a:gd name="connsiteY66" fmla="*/ 755 h 10000"/>
                  <a:gd name="connsiteX67" fmla="*/ 5678 w 10000"/>
                  <a:gd name="connsiteY67" fmla="*/ 945 h 10000"/>
                  <a:gd name="connsiteX68" fmla="*/ 5678 w 10000"/>
                  <a:gd name="connsiteY68" fmla="*/ 695 h 10000"/>
                  <a:gd name="connsiteX69" fmla="*/ 5769 w 10000"/>
                  <a:gd name="connsiteY69" fmla="*/ 328 h 10000"/>
                  <a:gd name="connsiteX70" fmla="*/ 6022 w 10000"/>
                  <a:gd name="connsiteY70" fmla="*/ 242 h 10000"/>
                  <a:gd name="connsiteX71" fmla="*/ 6275 w 10000"/>
                  <a:gd name="connsiteY71" fmla="*/ 695 h 10000"/>
                  <a:gd name="connsiteX72" fmla="*/ 6275 w 10000"/>
                  <a:gd name="connsiteY72" fmla="*/ 1085 h 10000"/>
                  <a:gd name="connsiteX73" fmla="*/ 6112 w 10000"/>
                  <a:gd name="connsiteY73" fmla="*/ 1249 h 10000"/>
                  <a:gd name="connsiteX74" fmla="*/ 6112 w 10000"/>
                  <a:gd name="connsiteY74" fmla="*/ 1499 h 10000"/>
                  <a:gd name="connsiteX75" fmla="*/ 6781 w 10000"/>
                  <a:gd name="connsiteY75" fmla="*/ 1741 h 10000"/>
                  <a:gd name="connsiteX76" fmla="*/ 6781 w 10000"/>
                  <a:gd name="connsiteY76" fmla="*/ 1905 h 10000"/>
                  <a:gd name="connsiteX77" fmla="*/ 7215 w 10000"/>
                  <a:gd name="connsiteY77" fmla="*/ 2194 h 10000"/>
                  <a:gd name="connsiteX78" fmla="*/ 7378 w 10000"/>
                  <a:gd name="connsiteY78" fmla="*/ 2404 h 10000"/>
                  <a:gd name="connsiteX79" fmla="*/ 7288 w 10000"/>
                  <a:gd name="connsiteY79" fmla="*/ 2896 h 10000"/>
                  <a:gd name="connsiteX80" fmla="*/ 7559 w 10000"/>
                  <a:gd name="connsiteY80" fmla="*/ 3443 h 10000"/>
                  <a:gd name="connsiteX81" fmla="*/ 7975 w 10000"/>
                  <a:gd name="connsiteY81" fmla="*/ 3888 h 10000"/>
                  <a:gd name="connsiteX82" fmla="*/ 7884 w 10000"/>
                  <a:gd name="connsiteY82" fmla="*/ 4551 h 10000"/>
                  <a:gd name="connsiteX83" fmla="*/ 8228 w 10000"/>
                  <a:gd name="connsiteY83" fmla="*/ 4965 h 10000"/>
                  <a:gd name="connsiteX84" fmla="*/ 8409 w 10000"/>
                  <a:gd name="connsiteY84" fmla="*/ 5129 h 10000"/>
                  <a:gd name="connsiteX85" fmla="*/ 8571 w 10000"/>
                  <a:gd name="connsiteY85" fmla="*/ 5738 h 10000"/>
                  <a:gd name="connsiteX86" fmla="*/ 8734 w 10000"/>
                  <a:gd name="connsiteY86" fmla="*/ 5995 h 10000"/>
                  <a:gd name="connsiteX87" fmla="*/ 9566 w 10000"/>
                  <a:gd name="connsiteY87" fmla="*/ 6269 h 10000"/>
                  <a:gd name="connsiteX88" fmla="*/ 10000 w 10000"/>
                  <a:gd name="connsiteY88" fmla="*/ 6526 h 10000"/>
                  <a:gd name="connsiteX89" fmla="*/ 10000 w 10000"/>
                  <a:gd name="connsiteY89" fmla="*/ 6690 h 10000"/>
                  <a:gd name="connsiteX90" fmla="*/ 9656 w 10000"/>
                  <a:gd name="connsiteY90" fmla="*/ 7447 h 10000"/>
                  <a:gd name="connsiteX91" fmla="*/ 9512 w 10000"/>
                  <a:gd name="connsiteY91" fmla="*/ 7525 h 10000"/>
                  <a:gd name="connsiteX92" fmla="*/ 9656 w 10000"/>
                  <a:gd name="connsiteY92" fmla="*/ 7689 h 10000"/>
                  <a:gd name="connsiteX93" fmla="*/ 9259 w 10000"/>
                  <a:gd name="connsiteY93" fmla="*/ 7978 h 10000"/>
                  <a:gd name="connsiteX94" fmla="*/ 8734 w 10000"/>
                  <a:gd name="connsiteY94" fmla="*/ 8103 h 10000"/>
                  <a:gd name="connsiteX95" fmla="*/ 8734 w 10000"/>
                  <a:gd name="connsiteY95" fmla="*/ 8236 h 10000"/>
                  <a:gd name="connsiteX96" fmla="*/ 7975 w 10000"/>
                  <a:gd name="connsiteY96" fmla="*/ 8728 h 10000"/>
                  <a:gd name="connsiteX97" fmla="*/ 7468 w 10000"/>
                  <a:gd name="connsiteY97" fmla="*/ 8845 h 10000"/>
                  <a:gd name="connsiteX98" fmla="*/ 7378 w 10000"/>
                  <a:gd name="connsiteY98" fmla="*/ 9133 h 10000"/>
                  <a:gd name="connsiteX99" fmla="*/ 6872 w 10000"/>
                  <a:gd name="connsiteY99" fmla="*/ 9133 h 10000"/>
                  <a:gd name="connsiteX100" fmla="*/ 6618 w 10000"/>
                  <a:gd name="connsiteY100" fmla="*/ 9227 h 10000"/>
                  <a:gd name="connsiteX101" fmla="*/ 6112 w 10000"/>
                  <a:gd name="connsiteY101" fmla="*/ 9305 h 10000"/>
                  <a:gd name="connsiteX102" fmla="*/ 5425 w 10000"/>
                  <a:gd name="connsiteY102" fmla="*/ 9258 h 10000"/>
                  <a:gd name="connsiteX103" fmla="*/ 4919 w 10000"/>
                  <a:gd name="connsiteY103" fmla="*/ 9469 h 10000"/>
                  <a:gd name="connsiteX104" fmla="*/ 4322 w 10000"/>
                  <a:gd name="connsiteY104" fmla="*/ 9633 h 10000"/>
                  <a:gd name="connsiteX105" fmla="*/ 3725 w 10000"/>
                  <a:gd name="connsiteY105" fmla="*/ 9711 h 10000"/>
                  <a:gd name="connsiteX106" fmla="*/ 3291 w 10000"/>
                  <a:gd name="connsiteY106" fmla="*/ 9883 h 10000"/>
                  <a:gd name="connsiteX107" fmla="*/ 2803 w 10000"/>
                  <a:gd name="connsiteY107" fmla="*/ 10000 h 10000"/>
                  <a:gd name="connsiteX0" fmla="*/ 2803 w 10000"/>
                  <a:gd name="connsiteY0" fmla="*/ 10000 h 10000"/>
                  <a:gd name="connsiteX1" fmla="*/ 2731 w 10000"/>
                  <a:gd name="connsiteY1" fmla="*/ 9672 h 10000"/>
                  <a:gd name="connsiteX2" fmla="*/ 2387 w 10000"/>
                  <a:gd name="connsiteY2" fmla="*/ 9500 h 10000"/>
                  <a:gd name="connsiteX3" fmla="*/ 2134 w 10000"/>
                  <a:gd name="connsiteY3" fmla="*/ 9422 h 10000"/>
                  <a:gd name="connsiteX4" fmla="*/ 1700 w 10000"/>
                  <a:gd name="connsiteY4" fmla="*/ 9344 h 10000"/>
                  <a:gd name="connsiteX5" fmla="*/ 1356 w 10000"/>
                  <a:gd name="connsiteY5" fmla="*/ 9344 h 10000"/>
                  <a:gd name="connsiteX6" fmla="*/ 1193 w 10000"/>
                  <a:gd name="connsiteY6" fmla="*/ 9180 h 10000"/>
                  <a:gd name="connsiteX7" fmla="*/ 1356 w 10000"/>
                  <a:gd name="connsiteY7" fmla="*/ 8556 h 10000"/>
                  <a:gd name="connsiteX8" fmla="*/ 1284 w 10000"/>
                  <a:gd name="connsiteY8" fmla="*/ 8189 h 10000"/>
                  <a:gd name="connsiteX9" fmla="*/ 1013 w 10000"/>
                  <a:gd name="connsiteY9" fmla="*/ 8025 h 10000"/>
                  <a:gd name="connsiteX10" fmla="*/ 850 w 10000"/>
                  <a:gd name="connsiteY10" fmla="*/ 7947 h 10000"/>
                  <a:gd name="connsiteX11" fmla="*/ 940 w 10000"/>
                  <a:gd name="connsiteY11" fmla="*/ 7611 h 10000"/>
                  <a:gd name="connsiteX12" fmla="*/ 850 w 10000"/>
                  <a:gd name="connsiteY12" fmla="*/ 7416 h 10000"/>
                  <a:gd name="connsiteX13" fmla="*/ 687 w 10000"/>
                  <a:gd name="connsiteY13" fmla="*/ 7260 h 10000"/>
                  <a:gd name="connsiteX14" fmla="*/ 940 w 10000"/>
                  <a:gd name="connsiteY14" fmla="*/ 6893 h 10000"/>
                  <a:gd name="connsiteX15" fmla="*/ 1193 w 10000"/>
                  <a:gd name="connsiteY15" fmla="*/ 6893 h 10000"/>
                  <a:gd name="connsiteX16" fmla="*/ 1356 w 10000"/>
                  <a:gd name="connsiteY16" fmla="*/ 6815 h 10000"/>
                  <a:gd name="connsiteX17" fmla="*/ 1447 w 10000"/>
                  <a:gd name="connsiteY17" fmla="*/ 6557 h 10000"/>
                  <a:gd name="connsiteX18" fmla="*/ 1953 w 10000"/>
                  <a:gd name="connsiteY18" fmla="*/ 6362 h 10000"/>
                  <a:gd name="connsiteX19" fmla="*/ 2459 w 10000"/>
                  <a:gd name="connsiteY19" fmla="*/ 6151 h 10000"/>
                  <a:gd name="connsiteX20" fmla="*/ 2550 w 10000"/>
                  <a:gd name="connsiteY20" fmla="*/ 5902 h 10000"/>
                  <a:gd name="connsiteX21" fmla="*/ 3146 w 10000"/>
                  <a:gd name="connsiteY21" fmla="*/ 5660 h 10000"/>
                  <a:gd name="connsiteX22" fmla="*/ 3725 w 10000"/>
                  <a:gd name="connsiteY22" fmla="*/ 5371 h 10000"/>
                  <a:gd name="connsiteX23" fmla="*/ 3635 w 10000"/>
                  <a:gd name="connsiteY23" fmla="*/ 5246 h 10000"/>
                  <a:gd name="connsiteX24" fmla="*/ 3635 w 10000"/>
                  <a:gd name="connsiteY24" fmla="*/ 5082 h 10000"/>
                  <a:gd name="connsiteX25" fmla="*/ 4069 w 10000"/>
                  <a:gd name="connsiteY25" fmla="*/ 4965 h 10000"/>
                  <a:gd name="connsiteX26" fmla="*/ 4231 w 10000"/>
                  <a:gd name="connsiteY26" fmla="*/ 4918 h 10000"/>
                  <a:gd name="connsiteX27" fmla="*/ 4141 w 10000"/>
                  <a:gd name="connsiteY27" fmla="*/ 4676 h 10000"/>
                  <a:gd name="connsiteX28" fmla="*/ 4141 w 10000"/>
                  <a:gd name="connsiteY28" fmla="*/ 4426 h 10000"/>
                  <a:gd name="connsiteX29" fmla="*/ 3978 w 10000"/>
                  <a:gd name="connsiteY29" fmla="*/ 4387 h 10000"/>
                  <a:gd name="connsiteX30" fmla="*/ 3725 w 10000"/>
                  <a:gd name="connsiteY30" fmla="*/ 4426 h 10000"/>
                  <a:gd name="connsiteX31" fmla="*/ 3490 w 10000"/>
                  <a:gd name="connsiteY31" fmla="*/ 4262 h 10000"/>
                  <a:gd name="connsiteX32" fmla="*/ 3237 w 10000"/>
                  <a:gd name="connsiteY32" fmla="*/ 3810 h 10000"/>
                  <a:gd name="connsiteX33" fmla="*/ 2731 w 10000"/>
                  <a:gd name="connsiteY33" fmla="*/ 3474 h 10000"/>
                  <a:gd name="connsiteX34" fmla="*/ 2893 w 10000"/>
                  <a:gd name="connsiteY34" fmla="*/ 3021 h 10000"/>
                  <a:gd name="connsiteX35" fmla="*/ 2803 w 10000"/>
                  <a:gd name="connsiteY35" fmla="*/ 2818 h 10000"/>
                  <a:gd name="connsiteX36" fmla="*/ 2206 w 10000"/>
                  <a:gd name="connsiteY36" fmla="*/ 2529 h 10000"/>
                  <a:gd name="connsiteX37" fmla="*/ 2459 w 10000"/>
                  <a:gd name="connsiteY37" fmla="*/ 2162 h 10000"/>
                  <a:gd name="connsiteX38" fmla="*/ 2297 w 10000"/>
                  <a:gd name="connsiteY38" fmla="*/ 1952 h 10000"/>
                  <a:gd name="connsiteX39" fmla="*/ 1863 w 10000"/>
                  <a:gd name="connsiteY39" fmla="*/ 1741 h 10000"/>
                  <a:gd name="connsiteX40" fmla="*/ 1609 w 10000"/>
                  <a:gd name="connsiteY40" fmla="*/ 1874 h 10000"/>
                  <a:gd name="connsiteX41" fmla="*/ 687 w 10000"/>
                  <a:gd name="connsiteY41" fmla="*/ 1421 h 10000"/>
                  <a:gd name="connsiteX42" fmla="*/ 434 w 10000"/>
                  <a:gd name="connsiteY42" fmla="*/ 1249 h 10000"/>
                  <a:gd name="connsiteX43" fmla="*/ 253 w 10000"/>
                  <a:gd name="connsiteY43" fmla="*/ 1085 h 10000"/>
                  <a:gd name="connsiteX44" fmla="*/ 0 w 10000"/>
                  <a:gd name="connsiteY44" fmla="*/ 1023 h 10000"/>
                  <a:gd name="connsiteX45" fmla="*/ 344 w 10000"/>
                  <a:gd name="connsiteY45" fmla="*/ 867 h 10000"/>
                  <a:gd name="connsiteX46" fmla="*/ 850 w 10000"/>
                  <a:gd name="connsiteY46" fmla="*/ 867 h 10000"/>
                  <a:gd name="connsiteX47" fmla="*/ 1103 w 10000"/>
                  <a:gd name="connsiteY47" fmla="*/ 1054 h 10000"/>
                  <a:gd name="connsiteX48" fmla="*/ 1790 w 10000"/>
                  <a:gd name="connsiteY48" fmla="*/ 1421 h 10000"/>
                  <a:gd name="connsiteX49" fmla="*/ 2459 w 10000"/>
                  <a:gd name="connsiteY49" fmla="*/ 1210 h 10000"/>
                  <a:gd name="connsiteX50" fmla="*/ 2893 w 10000"/>
                  <a:gd name="connsiteY50" fmla="*/ 1249 h 10000"/>
                  <a:gd name="connsiteX51" fmla="*/ 2984 w 10000"/>
                  <a:gd name="connsiteY51" fmla="*/ 1374 h 10000"/>
                  <a:gd name="connsiteX52" fmla="*/ 3490 w 10000"/>
                  <a:gd name="connsiteY52" fmla="*/ 1421 h 10000"/>
                  <a:gd name="connsiteX53" fmla="*/ 3635 w 10000"/>
                  <a:gd name="connsiteY53" fmla="*/ 1085 h 10000"/>
                  <a:gd name="connsiteX54" fmla="*/ 3888 w 10000"/>
                  <a:gd name="connsiteY54" fmla="*/ 984 h 10000"/>
                  <a:gd name="connsiteX55" fmla="*/ 4069 w 10000"/>
                  <a:gd name="connsiteY55" fmla="*/ 867 h 10000"/>
                  <a:gd name="connsiteX56" fmla="*/ 4069 w 10000"/>
                  <a:gd name="connsiteY56" fmla="*/ 742 h 10000"/>
                  <a:gd name="connsiteX57" fmla="*/ 3978 w 10000"/>
                  <a:gd name="connsiteY57" fmla="*/ 406 h 10000"/>
                  <a:gd name="connsiteX58" fmla="*/ 4412 w 10000"/>
                  <a:gd name="connsiteY58" fmla="*/ 211 h 10000"/>
                  <a:gd name="connsiteX59" fmla="*/ 4665 w 10000"/>
                  <a:gd name="connsiteY59" fmla="*/ 211 h 10000"/>
                  <a:gd name="connsiteX60" fmla="*/ 5081 w 10000"/>
                  <a:gd name="connsiteY60" fmla="*/ 0 h 10000"/>
                  <a:gd name="connsiteX61" fmla="*/ 5588 w 10000"/>
                  <a:gd name="connsiteY61" fmla="*/ 289 h 10000"/>
                  <a:gd name="connsiteX62" fmla="*/ 5769 w 10000"/>
                  <a:gd name="connsiteY62" fmla="*/ 406 h 10000"/>
                  <a:gd name="connsiteX63" fmla="*/ 5588 w 10000"/>
                  <a:gd name="connsiteY63" fmla="*/ 656 h 10000"/>
                  <a:gd name="connsiteX64" fmla="*/ 5572 w 10000"/>
                  <a:gd name="connsiteY64" fmla="*/ 577 h 10000"/>
                  <a:gd name="connsiteX65" fmla="*/ 5741 w 10000"/>
                  <a:gd name="connsiteY65" fmla="*/ 659 h 10000"/>
                  <a:gd name="connsiteX66" fmla="*/ 5604 w 10000"/>
                  <a:gd name="connsiteY66" fmla="*/ 755 h 10000"/>
                  <a:gd name="connsiteX67" fmla="*/ 5678 w 10000"/>
                  <a:gd name="connsiteY67" fmla="*/ 945 h 10000"/>
                  <a:gd name="connsiteX68" fmla="*/ 5678 w 10000"/>
                  <a:gd name="connsiteY68" fmla="*/ 695 h 10000"/>
                  <a:gd name="connsiteX69" fmla="*/ 5769 w 10000"/>
                  <a:gd name="connsiteY69" fmla="*/ 328 h 10000"/>
                  <a:gd name="connsiteX70" fmla="*/ 6022 w 10000"/>
                  <a:gd name="connsiteY70" fmla="*/ 242 h 10000"/>
                  <a:gd name="connsiteX71" fmla="*/ 6275 w 10000"/>
                  <a:gd name="connsiteY71" fmla="*/ 695 h 10000"/>
                  <a:gd name="connsiteX72" fmla="*/ 6275 w 10000"/>
                  <a:gd name="connsiteY72" fmla="*/ 1085 h 10000"/>
                  <a:gd name="connsiteX73" fmla="*/ 6112 w 10000"/>
                  <a:gd name="connsiteY73" fmla="*/ 1249 h 10000"/>
                  <a:gd name="connsiteX74" fmla="*/ 6112 w 10000"/>
                  <a:gd name="connsiteY74" fmla="*/ 1499 h 10000"/>
                  <a:gd name="connsiteX75" fmla="*/ 6781 w 10000"/>
                  <a:gd name="connsiteY75" fmla="*/ 1741 h 10000"/>
                  <a:gd name="connsiteX76" fmla="*/ 6781 w 10000"/>
                  <a:gd name="connsiteY76" fmla="*/ 1905 h 10000"/>
                  <a:gd name="connsiteX77" fmla="*/ 7215 w 10000"/>
                  <a:gd name="connsiteY77" fmla="*/ 2194 h 10000"/>
                  <a:gd name="connsiteX78" fmla="*/ 7378 w 10000"/>
                  <a:gd name="connsiteY78" fmla="*/ 2404 h 10000"/>
                  <a:gd name="connsiteX79" fmla="*/ 7288 w 10000"/>
                  <a:gd name="connsiteY79" fmla="*/ 2896 h 10000"/>
                  <a:gd name="connsiteX80" fmla="*/ 7559 w 10000"/>
                  <a:gd name="connsiteY80" fmla="*/ 3443 h 10000"/>
                  <a:gd name="connsiteX81" fmla="*/ 7975 w 10000"/>
                  <a:gd name="connsiteY81" fmla="*/ 3888 h 10000"/>
                  <a:gd name="connsiteX82" fmla="*/ 7884 w 10000"/>
                  <a:gd name="connsiteY82" fmla="*/ 4551 h 10000"/>
                  <a:gd name="connsiteX83" fmla="*/ 8228 w 10000"/>
                  <a:gd name="connsiteY83" fmla="*/ 4965 h 10000"/>
                  <a:gd name="connsiteX84" fmla="*/ 8409 w 10000"/>
                  <a:gd name="connsiteY84" fmla="*/ 5129 h 10000"/>
                  <a:gd name="connsiteX85" fmla="*/ 8571 w 10000"/>
                  <a:gd name="connsiteY85" fmla="*/ 5738 h 10000"/>
                  <a:gd name="connsiteX86" fmla="*/ 8734 w 10000"/>
                  <a:gd name="connsiteY86" fmla="*/ 5995 h 10000"/>
                  <a:gd name="connsiteX87" fmla="*/ 9566 w 10000"/>
                  <a:gd name="connsiteY87" fmla="*/ 6269 h 10000"/>
                  <a:gd name="connsiteX88" fmla="*/ 10000 w 10000"/>
                  <a:gd name="connsiteY88" fmla="*/ 6526 h 10000"/>
                  <a:gd name="connsiteX89" fmla="*/ 10000 w 10000"/>
                  <a:gd name="connsiteY89" fmla="*/ 6690 h 10000"/>
                  <a:gd name="connsiteX90" fmla="*/ 9656 w 10000"/>
                  <a:gd name="connsiteY90" fmla="*/ 7447 h 10000"/>
                  <a:gd name="connsiteX91" fmla="*/ 9512 w 10000"/>
                  <a:gd name="connsiteY91" fmla="*/ 7525 h 10000"/>
                  <a:gd name="connsiteX92" fmla="*/ 9656 w 10000"/>
                  <a:gd name="connsiteY92" fmla="*/ 7689 h 10000"/>
                  <a:gd name="connsiteX93" fmla="*/ 9259 w 10000"/>
                  <a:gd name="connsiteY93" fmla="*/ 7978 h 10000"/>
                  <a:gd name="connsiteX94" fmla="*/ 8734 w 10000"/>
                  <a:gd name="connsiteY94" fmla="*/ 8103 h 10000"/>
                  <a:gd name="connsiteX95" fmla="*/ 8734 w 10000"/>
                  <a:gd name="connsiteY95" fmla="*/ 8236 h 10000"/>
                  <a:gd name="connsiteX96" fmla="*/ 7975 w 10000"/>
                  <a:gd name="connsiteY96" fmla="*/ 8728 h 10000"/>
                  <a:gd name="connsiteX97" fmla="*/ 7468 w 10000"/>
                  <a:gd name="connsiteY97" fmla="*/ 8845 h 10000"/>
                  <a:gd name="connsiteX98" fmla="*/ 7378 w 10000"/>
                  <a:gd name="connsiteY98" fmla="*/ 9133 h 10000"/>
                  <a:gd name="connsiteX99" fmla="*/ 6872 w 10000"/>
                  <a:gd name="connsiteY99" fmla="*/ 9133 h 10000"/>
                  <a:gd name="connsiteX100" fmla="*/ 6618 w 10000"/>
                  <a:gd name="connsiteY100" fmla="*/ 9227 h 10000"/>
                  <a:gd name="connsiteX101" fmla="*/ 6112 w 10000"/>
                  <a:gd name="connsiteY101" fmla="*/ 9305 h 10000"/>
                  <a:gd name="connsiteX102" fmla="*/ 5425 w 10000"/>
                  <a:gd name="connsiteY102" fmla="*/ 9258 h 10000"/>
                  <a:gd name="connsiteX103" fmla="*/ 4919 w 10000"/>
                  <a:gd name="connsiteY103" fmla="*/ 9469 h 10000"/>
                  <a:gd name="connsiteX104" fmla="*/ 4322 w 10000"/>
                  <a:gd name="connsiteY104" fmla="*/ 9633 h 10000"/>
                  <a:gd name="connsiteX105" fmla="*/ 3725 w 10000"/>
                  <a:gd name="connsiteY105" fmla="*/ 9711 h 10000"/>
                  <a:gd name="connsiteX106" fmla="*/ 3291 w 10000"/>
                  <a:gd name="connsiteY106" fmla="*/ 9883 h 10000"/>
                  <a:gd name="connsiteX107" fmla="*/ 2803 w 10000"/>
                  <a:gd name="connsiteY107" fmla="*/ 10000 h 10000"/>
                  <a:gd name="connsiteX0" fmla="*/ 2803 w 10000"/>
                  <a:gd name="connsiteY0" fmla="*/ 10000 h 10000"/>
                  <a:gd name="connsiteX1" fmla="*/ 2731 w 10000"/>
                  <a:gd name="connsiteY1" fmla="*/ 9672 h 10000"/>
                  <a:gd name="connsiteX2" fmla="*/ 2387 w 10000"/>
                  <a:gd name="connsiteY2" fmla="*/ 9500 h 10000"/>
                  <a:gd name="connsiteX3" fmla="*/ 2134 w 10000"/>
                  <a:gd name="connsiteY3" fmla="*/ 9422 h 10000"/>
                  <a:gd name="connsiteX4" fmla="*/ 1700 w 10000"/>
                  <a:gd name="connsiteY4" fmla="*/ 9344 h 10000"/>
                  <a:gd name="connsiteX5" fmla="*/ 1356 w 10000"/>
                  <a:gd name="connsiteY5" fmla="*/ 9344 h 10000"/>
                  <a:gd name="connsiteX6" fmla="*/ 1193 w 10000"/>
                  <a:gd name="connsiteY6" fmla="*/ 9180 h 10000"/>
                  <a:gd name="connsiteX7" fmla="*/ 1356 w 10000"/>
                  <a:gd name="connsiteY7" fmla="*/ 8556 h 10000"/>
                  <a:gd name="connsiteX8" fmla="*/ 1284 w 10000"/>
                  <a:gd name="connsiteY8" fmla="*/ 8189 h 10000"/>
                  <a:gd name="connsiteX9" fmla="*/ 1013 w 10000"/>
                  <a:gd name="connsiteY9" fmla="*/ 8025 h 10000"/>
                  <a:gd name="connsiteX10" fmla="*/ 850 w 10000"/>
                  <a:gd name="connsiteY10" fmla="*/ 7947 h 10000"/>
                  <a:gd name="connsiteX11" fmla="*/ 940 w 10000"/>
                  <a:gd name="connsiteY11" fmla="*/ 7611 h 10000"/>
                  <a:gd name="connsiteX12" fmla="*/ 850 w 10000"/>
                  <a:gd name="connsiteY12" fmla="*/ 7416 h 10000"/>
                  <a:gd name="connsiteX13" fmla="*/ 687 w 10000"/>
                  <a:gd name="connsiteY13" fmla="*/ 7260 h 10000"/>
                  <a:gd name="connsiteX14" fmla="*/ 940 w 10000"/>
                  <a:gd name="connsiteY14" fmla="*/ 6893 h 10000"/>
                  <a:gd name="connsiteX15" fmla="*/ 1193 w 10000"/>
                  <a:gd name="connsiteY15" fmla="*/ 6893 h 10000"/>
                  <a:gd name="connsiteX16" fmla="*/ 1356 w 10000"/>
                  <a:gd name="connsiteY16" fmla="*/ 6815 h 10000"/>
                  <a:gd name="connsiteX17" fmla="*/ 1447 w 10000"/>
                  <a:gd name="connsiteY17" fmla="*/ 6557 h 10000"/>
                  <a:gd name="connsiteX18" fmla="*/ 1953 w 10000"/>
                  <a:gd name="connsiteY18" fmla="*/ 6362 h 10000"/>
                  <a:gd name="connsiteX19" fmla="*/ 2459 w 10000"/>
                  <a:gd name="connsiteY19" fmla="*/ 6151 h 10000"/>
                  <a:gd name="connsiteX20" fmla="*/ 2550 w 10000"/>
                  <a:gd name="connsiteY20" fmla="*/ 5902 h 10000"/>
                  <a:gd name="connsiteX21" fmla="*/ 3146 w 10000"/>
                  <a:gd name="connsiteY21" fmla="*/ 5660 h 10000"/>
                  <a:gd name="connsiteX22" fmla="*/ 3725 w 10000"/>
                  <a:gd name="connsiteY22" fmla="*/ 5371 h 10000"/>
                  <a:gd name="connsiteX23" fmla="*/ 3635 w 10000"/>
                  <a:gd name="connsiteY23" fmla="*/ 5246 h 10000"/>
                  <a:gd name="connsiteX24" fmla="*/ 3635 w 10000"/>
                  <a:gd name="connsiteY24" fmla="*/ 5082 h 10000"/>
                  <a:gd name="connsiteX25" fmla="*/ 4069 w 10000"/>
                  <a:gd name="connsiteY25" fmla="*/ 4965 h 10000"/>
                  <a:gd name="connsiteX26" fmla="*/ 4231 w 10000"/>
                  <a:gd name="connsiteY26" fmla="*/ 4918 h 10000"/>
                  <a:gd name="connsiteX27" fmla="*/ 4141 w 10000"/>
                  <a:gd name="connsiteY27" fmla="*/ 4676 h 10000"/>
                  <a:gd name="connsiteX28" fmla="*/ 4141 w 10000"/>
                  <a:gd name="connsiteY28" fmla="*/ 4426 h 10000"/>
                  <a:gd name="connsiteX29" fmla="*/ 3978 w 10000"/>
                  <a:gd name="connsiteY29" fmla="*/ 4387 h 10000"/>
                  <a:gd name="connsiteX30" fmla="*/ 3725 w 10000"/>
                  <a:gd name="connsiteY30" fmla="*/ 4426 h 10000"/>
                  <a:gd name="connsiteX31" fmla="*/ 3490 w 10000"/>
                  <a:gd name="connsiteY31" fmla="*/ 4262 h 10000"/>
                  <a:gd name="connsiteX32" fmla="*/ 3237 w 10000"/>
                  <a:gd name="connsiteY32" fmla="*/ 3810 h 10000"/>
                  <a:gd name="connsiteX33" fmla="*/ 2731 w 10000"/>
                  <a:gd name="connsiteY33" fmla="*/ 3474 h 10000"/>
                  <a:gd name="connsiteX34" fmla="*/ 2893 w 10000"/>
                  <a:gd name="connsiteY34" fmla="*/ 3021 h 10000"/>
                  <a:gd name="connsiteX35" fmla="*/ 2803 w 10000"/>
                  <a:gd name="connsiteY35" fmla="*/ 2818 h 10000"/>
                  <a:gd name="connsiteX36" fmla="*/ 2206 w 10000"/>
                  <a:gd name="connsiteY36" fmla="*/ 2529 h 10000"/>
                  <a:gd name="connsiteX37" fmla="*/ 2459 w 10000"/>
                  <a:gd name="connsiteY37" fmla="*/ 2162 h 10000"/>
                  <a:gd name="connsiteX38" fmla="*/ 2297 w 10000"/>
                  <a:gd name="connsiteY38" fmla="*/ 1952 h 10000"/>
                  <a:gd name="connsiteX39" fmla="*/ 1863 w 10000"/>
                  <a:gd name="connsiteY39" fmla="*/ 1741 h 10000"/>
                  <a:gd name="connsiteX40" fmla="*/ 1609 w 10000"/>
                  <a:gd name="connsiteY40" fmla="*/ 1874 h 10000"/>
                  <a:gd name="connsiteX41" fmla="*/ 687 w 10000"/>
                  <a:gd name="connsiteY41" fmla="*/ 1421 h 10000"/>
                  <a:gd name="connsiteX42" fmla="*/ 434 w 10000"/>
                  <a:gd name="connsiteY42" fmla="*/ 1249 h 10000"/>
                  <a:gd name="connsiteX43" fmla="*/ 253 w 10000"/>
                  <a:gd name="connsiteY43" fmla="*/ 1085 h 10000"/>
                  <a:gd name="connsiteX44" fmla="*/ 0 w 10000"/>
                  <a:gd name="connsiteY44" fmla="*/ 1023 h 10000"/>
                  <a:gd name="connsiteX45" fmla="*/ 344 w 10000"/>
                  <a:gd name="connsiteY45" fmla="*/ 867 h 10000"/>
                  <a:gd name="connsiteX46" fmla="*/ 850 w 10000"/>
                  <a:gd name="connsiteY46" fmla="*/ 867 h 10000"/>
                  <a:gd name="connsiteX47" fmla="*/ 1103 w 10000"/>
                  <a:gd name="connsiteY47" fmla="*/ 1054 h 10000"/>
                  <a:gd name="connsiteX48" fmla="*/ 1790 w 10000"/>
                  <a:gd name="connsiteY48" fmla="*/ 1421 h 10000"/>
                  <a:gd name="connsiteX49" fmla="*/ 2459 w 10000"/>
                  <a:gd name="connsiteY49" fmla="*/ 1210 h 10000"/>
                  <a:gd name="connsiteX50" fmla="*/ 2893 w 10000"/>
                  <a:gd name="connsiteY50" fmla="*/ 1249 h 10000"/>
                  <a:gd name="connsiteX51" fmla="*/ 2984 w 10000"/>
                  <a:gd name="connsiteY51" fmla="*/ 1374 h 10000"/>
                  <a:gd name="connsiteX52" fmla="*/ 3490 w 10000"/>
                  <a:gd name="connsiteY52" fmla="*/ 1421 h 10000"/>
                  <a:gd name="connsiteX53" fmla="*/ 3635 w 10000"/>
                  <a:gd name="connsiteY53" fmla="*/ 1085 h 10000"/>
                  <a:gd name="connsiteX54" fmla="*/ 3888 w 10000"/>
                  <a:gd name="connsiteY54" fmla="*/ 984 h 10000"/>
                  <a:gd name="connsiteX55" fmla="*/ 4069 w 10000"/>
                  <a:gd name="connsiteY55" fmla="*/ 867 h 10000"/>
                  <a:gd name="connsiteX56" fmla="*/ 4069 w 10000"/>
                  <a:gd name="connsiteY56" fmla="*/ 742 h 10000"/>
                  <a:gd name="connsiteX57" fmla="*/ 3978 w 10000"/>
                  <a:gd name="connsiteY57" fmla="*/ 406 h 10000"/>
                  <a:gd name="connsiteX58" fmla="*/ 4412 w 10000"/>
                  <a:gd name="connsiteY58" fmla="*/ 211 h 10000"/>
                  <a:gd name="connsiteX59" fmla="*/ 4665 w 10000"/>
                  <a:gd name="connsiteY59" fmla="*/ 211 h 10000"/>
                  <a:gd name="connsiteX60" fmla="*/ 5081 w 10000"/>
                  <a:gd name="connsiteY60" fmla="*/ 0 h 10000"/>
                  <a:gd name="connsiteX61" fmla="*/ 5588 w 10000"/>
                  <a:gd name="connsiteY61" fmla="*/ 289 h 10000"/>
                  <a:gd name="connsiteX62" fmla="*/ 5769 w 10000"/>
                  <a:gd name="connsiteY62" fmla="*/ 406 h 10000"/>
                  <a:gd name="connsiteX63" fmla="*/ 5588 w 10000"/>
                  <a:gd name="connsiteY63" fmla="*/ 656 h 10000"/>
                  <a:gd name="connsiteX64" fmla="*/ 5572 w 10000"/>
                  <a:gd name="connsiteY64" fmla="*/ 577 h 10000"/>
                  <a:gd name="connsiteX65" fmla="*/ 5741 w 10000"/>
                  <a:gd name="connsiteY65" fmla="*/ 659 h 10000"/>
                  <a:gd name="connsiteX66" fmla="*/ 5604 w 10000"/>
                  <a:gd name="connsiteY66" fmla="*/ 755 h 10000"/>
                  <a:gd name="connsiteX67" fmla="*/ 5678 w 10000"/>
                  <a:gd name="connsiteY67" fmla="*/ 945 h 10000"/>
                  <a:gd name="connsiteX68" fmla="*/ 5792 w 10000"/>
                  <a:gd name="connsiteY68" fmla="*/ 574 h 10000"/>
                  <a:gd name="connsiteX69" fmla="*/ 5769 w 10000"/>
                  <a:gd name="connsiteY69" fmla="*/ 328 h 10000"/>
                  <a:gd name="connsiteX70" fmla="*/ 6022 w 10000"/>
                  <a:gd name="connsiteY70" fmla="*/ 242 h 10000"/>
                  <a:gd name="connsiteX71" fmla="*/ 6275 w 10000"/>
                  <a:gd name="connsiteY71" fmla="*/ 695 h 10000"/>
                  <a:gd name="connsiteX72" fmla="*/ 6275 w 10000"/>
                  <a:gd name="connsiteY72" fmla="*/ 1085 h 10000"/>
                  <a:gd name="connsiteX73" fmla="*/ 6112 w 10000"/>
                  <a:gd name="connsiteY73" fmla="*/ 1249 h 10000"/>
                  <a:gd name="connsiteX74" fmla="*/ 6112 w 10000"/>
                  <a:gd name="connsiteY74" fmla="*/ 1499 h 10000"/>
                  <a:gd name="connsiteX75" fmla="*/ 6781 w 10000"/>
                  <a:gd name="connsiteY75" fmla="*/ 1741 h 10000"/>
                  <a:gd name="connsiteX76" fmla="*/ 6781 w 10000"/>
                  <a:gd name="connsiteY76" fmla="*/ 1905 h 10000"/>
                  <a:gd name="connsiteX77" fmla="*/ 7215 w 10000"/>
                  <a:gd name="connsiteY77" fmla="*/ 2194 h 10000"/>
                  <a:gd name="connsiteX78" fmla="*/ 7378 w 10000"/>
                  <a:gd name="connsiteY78" fmla="*/ 2404 h 10000"/>
                  <a:gd name="connsiteX79" fmla="*/ 7288 w 10000"/>
                  <a:gd name="connsiteY79" fmla="*/ 2896 h 10000"/>
                  <a:gd name="connsiteX80" fmla="*/ 7559 w 10000"/>
                  <a:gd name="connsiteY80" fmla="*/ 3443 h 10000"/>
                  <a:gd name="connsiteX81" fmla="*/ 7975 w 10000"/>
                  <a:gd name="connsiteY81" fmla="*/ 3888 h 10000"/>
                  <a:gd name="connsiteX82" fmla="*/ 7884 w 10000"/>
                  <a:gd name="connsiteY82" fmla="*/ 4551 h 10000"/>
                  <a:gd name="connsiteX83" fmla="*/ 8228 w 10000"/>
                  <a:gd name="connsiteY83" fmla="*/ 4965 h 10000"/>
                  <a:gd name="connsiteX84" fmla="*/ 8409 w 10000"/>
                  <a:gd name="connsiteY84" fmla="*/ 5129 h 10000"/>
                  <a:gd name="connsiteX85" fmla="*/ 8571 w 10000"/>
                  <a:gd name="connsiteY85" fmla="*/ 5738 h 10000"/>
                  <a:gd name="connsiteX86" fmla="*/ 8734 w 10000"/>
                  <a:gd name="connsiteY86" fmla="*/ 5995 h 10000"/>
                  <a:gd name="connsiteX87" fmla="*/ 9566 w 10000"/>
                  <a:gd name="connsiteY87" fmla="*/ 6269 h 10000"/>
                  <a:gd name="connsiteX88" fmla="*/ 10000 w 10000"/>
                  <a:gd name="connsiteY88" fmla="*/ 6526 h 10000"/>
                  <a:gd name="connsiteX89" fmla="*/ 10000 w 10000"/>
                  <a:gd name="connsiteY89" fmla="*/ 6690 h 10000"/>
                  <a:gd name="connsiteX90" fmla="*/ 9656 w 10000"/>
                  <a:gd name="connsiteY90" fmla="*/ 7447 h 10000"/>
                  <a:gd name="connsiteX91" fmla="*/ 9512 w 10000"/>
                  <a:gd name="connsiteY91" fmla="*/ 7525 h 10000"/>
                  <a:gd name="connsiteX92" fmla="*/ 9656 w 10000"/>
                  <a:gd name="connsiteY92" fmla="*/ 7689 h 10000"/>
                  <a:gd name="connsiteX93" fmla="*/ 9259 w 10000"/>
                  <a:gd name="connsiteY93" fmla="*/ 7978 h 10000"/>
                  <a:gd name="connsiteX94" fmla="*/ 8734 w 10000"/>
                  <a:gd name="connsiteY94" fmla="*/ 8103 h 10000"/>
                  <a:gd name="connsiteX95" fmla="*/ 8734 w 10000"/>
                  <a:gd name="connsiteY95" fmla="*/ 8236 h 10000"/>
                  <a:gd name="connsiteX96" fmla="*/ 7975 w 10000"/>
                  <a:gd name="connsiteY96" fmla="*/ 8728 h 10000"/>
                  <a:gd name="connsiteX97" fmla="*/ 7468 w 10000"/>
                  <a:gd name="connsiteY97" fmla="*/ 8845 h 10000"/>
                  <a:gd name="connsiteX98" fmla="*/ 7378 w 10000"/>
                  <a:gd name="connsiteY98" fmla="*/ 9133 h 10000"/>
                  <a:gd name="connsiteX99" fmla="*/ 6872 w 10000"/>
                  <a:gd name="connsiteY99" fmla="*/ 9133 h 10000"/>
                  <a:gd name="connsiteX100" fmla="*/ 6618 w 10000"/>
                  <a:gd name="connsiteY100" fmla="*/ 9227 h 10000"/>
                  <a:gd name="connsiteX101" fmla="*/ 6112 w 10000"/>
                  <a:gd name="connsiteY101" fmla="*/ 9305 h 10000"/>
                  <a:gd name="connsiteX102" fmla="*/ 5425 w 10000"/>
                  <a:gd name="connsiteY102" fmla="*/ 9258 h 10000"/>
                  <a:gd name="connsiteX103" fmla="*/ 4919 w 10000"/>
                  <a:gd name="connsiteY103" fmla="*/ 9469 h 10000"/>
                  <a:gd name="connsiteX104" fmla="*/ 4322 w 10000"/>
                  <a:gd name="connsiteY104" fmla="*/ 9633 h 10000"/>
                  <a:gd name="connsiteX105" fmla="*/ 3725 w 10000"/>
                  <a:gd name="connsiteY105" fmla="*/ 9711 h 10000"/>
                  <a:gd name="connsiteX106" fmla="*/ 3291 w 10000"/>
                  <a:gd name="connsiteY106" fmla="*/ 9883 h 10000"/>
                  <a:gd name="connsiteX107" fmla="*/ 2803 w 10000"/>
                  <a:gd name="connsiteY107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10000" h="10000">
                    <a:moveTo>
                      <a:pt x="2803" y="10000"/>
                    </a:moveTo>
                    <a:cubicBezTo>
                      <a:pt x="2779" y="9891"/>
                      <a:pt x="2755" y="9781"/>
                      <a:pt x="2731" y="9672"/>
                    </a:cubicBezTo>
                    <a:lnTo>
                      <a:pt x="2387" y="9500"/>
                    </a:lnTo>
                    <a:lnTo>
                      <a:pt x="2134" y="9422"/>
                    </a:lnTo>
                    <a:lnTo>
                      <a:pt x="1700" y="9344"/>
                    </a:lnTo>
                    <a:lnTo>
                      <a:pt x="1356" y="9344"/>
                    </a:lnTo>
                    <a:cubicBezTo>
                      <a:pt x="1302" y="9289"/>
                      <a:pt x="1247" y="9235"/>
                      <a:pt x="1193" y="9180"/>
                    </a:cubicBezTo>
                    <a:cubicBezTo>
                      <a:pt x="1247" y="8972"/>
                      <a:pt x="1302" y="8764"/>
                      <a:pt x="1356" y="8556"/>
                    </a:cubicBezTo>
                    <a:cubicBezTo>
                      <a:pt x="1332" y="8434"/>
                      <a:pt x="1308" y="8311"/>
                      <a:pt x="1284" y="8189"/>
                    </a:cubicBezTo>
                    <a:lnTo>
                      <a:pt x="1013" y="8025"/>
                    </a:lnTo>
                    <a:lnTo>
                      <a:pt x="850" y="7947"/>
                    </a:lnTo>
                    <a:lnTo>
                      <a:pt x="940" y="7611"/>
                    </a:lnTo>
                    <a:lnTo>
                      <a:pt x="850" y="7416"/>
                    </a:lnTo>
                    <a:lnTo>
                      <a:pt x="687" y="7260"/>
                    </a:lnTo>
                    <a:lnTo>
                      <a:pt x="940" y="6893"/>
                    </a:lnTo>
                    <a:lnTo>
                      <a:pt x="1193" y="6893"/>
                    </a:lnTo>
                    <a:lnTo>
                      <a:pt x="1356" y="6815"/>
                    </a:lnTo>
                    <a:cubicBezTo>
                      <a:pt x="1386" y="6729"/>
                      <a:pt x="1417" y="6643"/>
                      <a:pt x="1447" y="6557"/>
                    </a:cubicBezTo>
                    <a:lnTo>
                      <a:pt x="1953" y="6362"/>
                    </a:lnTo>
                    <a:lnTo>
                      <a:pt x="2459" y="6151"/>
                    </a:lnTo>
                    <a:cubicBezTo>
                      <a:pt x="2489" y="6068"/>
                      <a:pt x="2520" y="5985"/>
                      <a:pt x="2550" y="5902"/>
                    </a:cubicBezTo>
                    <a:lnTo>
                      <a:pt x="3146" y="5660"/>
                    </a:lnTo>
                    <a:lnTo>
                      <a:pt x="3725" y="5371"/>
                    </a:lnTo>
                    <a:cubicBezTo>
                      <a:pt x="3695" y="5329"/>
                      <a:pt x="3665" y="5288"/>
                      <a:pt x="3635" y="5246"/>
                    </a:cubicBezTo>
                    <a:lnTo>
                      <a:pt x="3635" y="5082"/>
                    </a:lnTo>
                    <a:lnTo>
                      <a:pt x="4069" y="4965"/>
                    </a:lnTo>
                    <a:lnTo>
                      <a:pt x="4231" y="4918"/>
                    </a:lnTo>
                    <a:cubicBezTo>
                      <a:pt x="4201" y="4837"/>
                      <a:pt x="4171" y="4757"/>
                      <a:pt x="4141" y="4676"/>
                    </a:cubicBezTo>
                    <a:lnTo>
                      <a:pt x="4141" y="4426"/>
                    </a:lnTo>
                    <a:lnTo>
                      <a:pt x="3978" y="4387"/>
                    </a:lnTo>
                    <a:lnTo>
                      <a:pt x="3725" y="4426"/>
                    </a:lnTo>
                    <a:lnTo>
                      <a:pt x="3490" y="4262"/>
                    </a:lnTo>
                    <a:cubicBezTo>
                      <a:pt x="3406" y="4111"/>
                      <a:pt x="3321" y="3961"/>
                      <a:pt x="3237" y="3810"/>
                    </a:cubicBezTo>
                    <a:lnTo>
                      <a:pt x="2731" y="3474"/>
                    </a:lnTo>
                    <a:lnTo>
                      <a:pt x="2893" y="3021"/>
                    </a:lnTo>
                    <a:cubicBezTo>
                      <a:pt x="2863" y="2953"/>
                      <a:pt x="2833" y="2886"/>
                      <a:pt x="2803" y="2818"/>
                    </a:cubicBezTo>
                    <a:lnTo>
                      <a:pt x="2206" y="2529"/>
                    </a:lnTo>
                    <a:lnTo>
                      <a:pt x="2459" y="2162"/>
                    </a:lnTo>
                    <a:lnTo>
                      <a:pt x="2297" y="1952"/>
                    </a:lnTo>
                    <a:lnTo>
                      <a:pt x="1863" y="1741"/>
                    </a:lnTo>
                    <a:lnTo>
                      <a:pt x="1609" y="1874"/>
                    </a:lnTo>
                    <a:lnTo>
                      <a:pt x="687" y="1421"/>
                    </a:lnTo>
                    <a:lnTo>
                      <a:pt x="434" y="1249"/>
                    </a:lnTo>
                    <a:cubicBezTo>
                      <a:pt x="374" y="1194"/>
                      <a:pt x="313" y="1140"/>
                      <a:pt x="253" y="1085"/>
                    </a:cubicBezTo>
                    <a:lnTo>
                      <a:pt x="0" y="1023"/>
                    </a:lnTo>
                    <a:lnTo>
                      <a:pt x="344" y="867"/>
                    </a:lnTo>
                    <a:lnTo>
                      <a:pt x="850" y="867"/>
                    </a:lnTo>
                    <a:lnTo>
                      <a:pt x="1103" y="1054"/>
                    </a:lnTo>
                    <a:lnTo>
                      <a:pt x="1790" y="1421"/>
                    </a:lnTo>
                    <a:lnTo>
                      <a:pt x="2459" y="1210"/>
                    </a:lnTo>
                    <a:lnTo>
                      <a:pt x="2893" y="1249"/>
                    </a:lnTo>
                    <a:cubicBezTo>
                      <a:pt x="2923" y="1291"/>
                      <a:pt x="2954" y="1332"/>
                      <a:pt x="2984" y="1374"/>
                    </a:cubicBezTo>
                    <a:lnTo>
                      <a:pt x="3490" y="1421"/>
                    </a:lnTo>
                    <a:cubicBezTo>
                      <a:pt x="3538" y="1309"/>
                      <a:pt x="3587" y="1197"/>
                      <a:pt x="3635" y="1085"/>
                    </a:cubicBezTo>
                    <a:lnTo>
                      <a:pt x="3888" y="984"/>
                    </a:lnTo>
                    <a:lnTo>
                      <a:pt x="4069" y="867"/>
                    </a:lnTo>
                    <a:lnTo>
                      <a:pt x="4069" y="742"/>
                    </a:lnTo>
                    <a:cubicBezTo>
                      <a:pt x="4039" y="630"/>
                      <a:pt x="4008" y="518"/>
                      <a:pt x="3978" y="406"/>
                    </a:cubicBezTo>
                    <a:lnTo>
                      <a:pt x="4412" y="211"/>
                    </a:lnTo>
                    <a:lnTo>
                      <a:pt x="4665" y="211"/>
                    </a:lnTo>
                    <a:lnTo>
                      <a:pt x="5081" y="0"/>
                    </a:lnTo>
                    <a:lnTo>
                      <a:pt x="5588" y="289"/>
                    </a:lnTo>
                    <a:lnTo>
                      <a:pt x="5769" y="406"/>
                    </a:lnTo>
                    <a:lnTo>
                      <a:pt x="5588" y="656"/>
                    </a:lnTo>
                    <a:cubicBezTo>
                      <a:pt x="5583" y="630"/>
                      <a:pt x="5577" y="603"/>
                      <a:pt x="5572" y="577"/>
                    </a:cubicBezTo>
                    <a:lnTo>
                      <a:pt x="5741" y="659"/>
                    </a:lnTo>
                    <a:lnTo>
                      <a:pt x="5604" y="755"/>
                    </a:lnTo>
                    <a:cubicBezTo>
                      <a:pt x="5629" y="818"/>
                      <a:pt x="5653" y="882"/>
                      <a:pt x="5678" y="945"/>
                    </a:cubicBezTo>
                    <a:lnTo>
                      <a:pt x="5792" y="574"/>
                    </a:lnTo>
                    <a:cubicBezTo>
                      <a:pt x="5822" y="452"/>
                      <a:pt x="5739" y="450"/>
                      <a:pt x="5769" y="328"/>
                    </a:cubicBezTo>
                    <a:lnTo>
                      <a:pt x="6022" y="242"/>
                    </a:lnTo>
                    <a:lnTo>
                      <a:pt x="6275" y="695"/>
                    </a:lnTo>
                    <a:lnTo>
                      <a:pt x="6275" y="1085"/>
                    </a:lnTo>
                    <a:cubicBezTo>
                      <a:pt x="6221" y="1140"/>
                      <a:pt x="6166" y="1194"/>
                      <a:pt x="6112" y="1249"/>
                    </a:cubicBezTo>
                    <a:lnTo>
                      <a:pt x="6112" y="1499"/>
                    </a:lnTo>
                    <a:lnTo>
                      <a:pt x="6781" y="1741"/>
                    </a:lnTo>
                    <a:lnTo>
                      <a:pt x="6781" y="1905"/>
                    </a:lnTo>
                    <a:lnTo>
                      <a:pt x="7215" y="2194"/>
                    </a:lnTo>
                    <a:lnTo>
                      <a:pt x="7378" y="2404"/>
                    </a:lnTo>
                    <a:lnTo>
                      <a:pt x="7288" y="2896"/>
                    </a:lnTo>
                    <a:lnTo>
                      <a:pt x="7559" y="3443"/>
                    </a:lnTo>
                    <a:lnTo>
                      <a:pt x="7975" y="3888"/>
                    </a:lnTo>
                    <a:cubicBezTo>
                      <a:pt x="7945" y="4109"/>
                      <a:pt x="7914" y="4330"/>
                      <a:pt x="7884" y="4551"/>
                    </a:cubicBezTo>
                    <a:lnTo>
                      <a:pt x="8228" y="4965"/>
                    </a:lnTo>
                    <a:cubicBezTo>
                      <a:pt x="8288" y="5020"/>
                      <a:pt x="8349" y="5074"/>
                      <a:pt x="8409" y="5129"/>
                    </a:cubicBezTo>
                    <a:lnTo>
                      <a:pt x="8571" y="5738"/>
                    </a:lnTo>
                    <a:cubicBezTo>
                      <a:pt x="8625" y="5824"/>
                      <a:pt x="8680" y="5909"/>
                      <a:pt x="8734" y="5995"/>
                    </a:cubicBezTo>
                    <a:lnTo>
                      <a:pt x="9566" y="6269"/>
                    </a:lnTo>
                    <a:lnTo>
                      <a:pt x="10000" y="6526"/>
                    </a:lnTo>
                    <a:lnTo>
                      <a:pt x="10000" y="6690"/>
                    </a:lnTo>
                    <a:lnTo>
                      <a:pt x="9656" y="7447"/>
                    </a:lnTo>
                    <a:lnTo>
                      <a:pt x="9512" y="7525"/>
                    </a:lnTo>
                    <a:lnTo>
                      <a:pt x="9656" y="7689"/>
                    </a:lnTo>
                    <a:lnTo>
                      <a:pt x="9259" y="7978"/>
                    </a:lnTo>
                    <a:lnTo>
                      <a:pt x="8734" y="8103"/>
                    </a:lnTo>
                    <a:lnTo>
                      <a:pt x="8734" y="8236"/>
                    </a:lnTo>
                    <a:lnTo>
                      <a:pt x="7975" y="8728"/>
                    </a:lnTo>
                    <a:lnTo>
                      <a:pt x="7468" y="8845"/>
                    </a:lnTo>
                    <a:lnTo>
                      <a:pt x="7378" y="9133"/>
                    </a:lnTo>
                    <a:lnTo>
                      <a:pt x="6872" y="9133"/>
                    </a:lnTo>
                    <a:lnTo>
                      <a:pt x="6618" y="9227"/>
                    </a:lnTo>
                    <a:lnTo>
                      <a:pt x="6112" y="9305"/>
                    </a:lnTo>
                    <a:lnTo>
                      <a:pt x="5425" y="9258"/>
                    </a:lnTo>
                    <a:lnTo>
                      <a:pt x="4919" y="9469"/>
                    </a:lnTo>
                    <a:lnTo>
                      <a:pt x="4322" y="9633"/>
                    </a:lnTo>
                    <a:lnTo>
                      <a:pt x="3725" y="9711"/>
                    </a:lnTo>
                    <a:lnTo>
                      <a:pt x="3291" y="9883"/>
                    </a:lnTo>
                    <a:lnTo>
                      <a:pt x="2803" y="100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grpSp>
          <p:nvGrpSpPr>
            <p:cNvPr id="27" name="SE"/>
            <p:cNvGrpSpPr>
              <a:grpSpLocks/>
            </p:cNvGrpSpPr>
            <p:nvPr/>
          </p:nvGrpSpPr>
          <p:grpSpPr bwMode="auto">
            <a:xfrm>
              <a:off x="6097588" y="1157287"/>
              <a:ext cx="1035054" cy="2009769"/>
              <a:chOff x="3043262" y="1475462"/>
              <a:chExt cx="475" cy="1041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91" name="Freeform 563"/>
              <p:cNvSpPr>
                <a:spLocks noChangeAspect="1"/>
              </p:cNvSpPr>
              <p:nvPr/>
            </p:nvSpPr>
            <p:spPr bwMode="auto">
              <a:xfrm>
                <a:off x="3043451" y="1476363"/>
                <a:ext cx="32" cy="81"/>
              </a:xfrm>
              <a:custGeom>
                <a:avLst/>
                <a:gdLst>
                  <a:gd name="T0" fmla="*/ 46 w 46"/>
                  <a:gd name="T1" fmla="*/ 0 h 131"/>
                  <a:gd name="T2" fmla="*/ 44 w 46"/>
                  <a:gd name="T3" fmla="*/ 44 h 131"/>
                  <a:gd name="T4" fmla="*/ 30 w 46"/>
                  <a:gd name="T5" fmla="*/ 78 h 131"/>
                  <a:gd name="T6" fmla="*/ 9 w 46"/>
                  <a:gd name="T7" fmla="*/ 99 h 131"/>
                  <a:gd name="T8" fmla="*/ 14 w 46"/>
                  <a:gd name="T9" fmla="*/ 122 h 131"/>
                  <a:gd name="T10" fmla="*/ 5 w 46"/>
                  <a:gd name="T11" fmla="*/ 131 h 131"/>
                  <a:gd name="T12" fmla="*/ 0 w 46"/>
                  <a:gd name="T13" fmla="*/ 102 h 131"/>
                  <a:gd name="T14" fmla="*/ 7 w 46"/>
                  <a:gd name="T15" fmla="*/ 81 h 131"/>
                  <a:gd name="T16" fmla="*/ 14 w 46"/>
                  <a:gd name="T17" fmla="*/ 57 h 131"/>
                  <a:gd name="T18" fmla="*/ 46 w 46"/>
                  <a:gd name="T1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131">
                    <a:moveTo>
                      <a:pt x="46" y="0"/>
                    </a:moveTo>
                    <a:lnTo>
                      <a:pt x="44" y="44"/>
                    </a:lnTo>
                    <a:lnTo>
                      <a:pt x="30" y="78"/>
                    </a:lnTo>
                    <a:lnTo>
                      <a:pt x="9" y="99"/>
                    </a:lnTo>
                    <a:lnTo>
                      <a:pt x="14" y="122"/>
                    </a:lnTo>
                    <a:lnTo>
                      <a:pt x="5" y="131"/>
                    </a:lnTo>
                    <a:lnTo>
                      <a:pt x="0" y="102"/>
                    </a:lnTo>
                    <a:lnTo>
                      <a:pt x="7" y="81"/>
                    </a:lnTo>
                    <a:lnTo>
                      <a:pt x="14" y="57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92" name="Freeform 564"/>
              <p:cNvSpPr>
                <a:spLocks noChangeAspect="1"/>
              </p:cNvSpPr>
              <p:nvPr/>
            </p:nvSpPr>
            <p:spPr bwMode="auto">
              <a:xfrm>
                <a:off x="3043522" y="1476325"/>
                <a:ext cx="42" cy="64"/>
              </a:xfrm>
              <a:custGeom>
                <a:avLst/>
                <a:gdLst>
                  <a:gd name="T0" fmla="*/ 50 w 64"/>
                  <a:gd name="T1" fmla="*/ 0 h 104"/>
                  <a:gd name="T2" fmla="*/ 64 w 64"/>
                  <a:gd name="T3" fmla="*/ 0 h 104"/>
                  <a:gd name="T4" fmla="*/ 47 w 64"/>
                  <a:gd name="T5" fmla="*/ 22 h 104"/>
                  <a:gd name="T6" fmla="*/ 45 w 64"/>
                  <a:gd name="T7" fmla="*/ 37 h 104"/>
                  <a:gd name="T8" fmla="*/ 50 w 64"/>
                  <a:gd name="T9" fmla="*/ 59 h 104"/>
                  <a:gd name="T10" fmla="*/ 33 w 64"/>
                  <a:gd name="T11" fmla="*/ 80 h 104"/>
                  <a:gd name="T12" fmla="*/ 12 w 64"/>
                  <a:gd name="T13" fmla="*/ 104 h 104"/>
                  <a:gd name="T14" fmla="*/ 8 w 64"/>
                  <a:gd name="T15" fmla="*/ 80 h 104"/>
                  <a:gd name="T16" fmla="*/ 0 w 64"/>
                  <a:gd name="T17" fmla="*/ 70 h 104"/>
                  <a:gd name="T18" fmla="*/ 0 w 64"/>
                  <a:gd name="T19" fmla="*/ 52 h 104"/>
                  <a:gd name="T20" fmla="*/ 19 w 64"/>
                  <a:gd name="T21" fmla="*/ 32 h 104"/>
                  <a:gd name="T22" fmla="*/ 50 w 64"/>
                  <a:gd name="T2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" h="104">
                    <a:moveTo>
                      <a:pt x="50" y="0"/>
                    </a:moveTo>
                    <a:lnTo>
                      <a:pt x="64" y="0"/>
                    </a:lnTo>
                    <a:lnTo>
                      <a:pt x="47" y="22"/>
                    </a:lnTo>
                    <a:lnTo>
                      <a:pt x="45" y="37"/>
                    </a:lnTo>
                    <a:lnTo>
                      <a:pt x="50" y="59"/>
                    </a:lnTo>
                    <a:lnTo>
                      <a:pt x="33" y="80"/>
                    </a:lnTo>
                    <a:lnTo>
                      <a:pt x="12" y="104"/>
                    </a:lnTo>
                    <a:lnTo>
                      <a:pt x="8" y="80"/>
                    </a:lnTo>
                    <a:lnTo>
                      <a:pt x="0" y="70"/>
                    </a:lnTo>
                    <a:lnTo>
                      <a:pt x="0" y="52"/>
                    </a:lnTo>
                    <a:lnTo>
                      <a:pt x="19" y="3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93" name="Freeform 565"/>
              <p:cNvSpPr>
                <a:spLocks noChangeAspect="1"/>
              </p:cNvSpPr>
              <p:nvPr/>
            </p:nvSpPr>
            <p:spPr bwMode="auto">
              <a:xfrm>
                <a:off x="3043262" y="1475462"/>
                <a:ext cx="475" cy="1041"/>
              </a:xfrm>
              <a:custGeom>
                <a:avLst/>
                <a:gdLst>
                  <a:gd name="T0" fmla="*/ 551 w 701"/>
                  <a:gd name="T1" fmla="*/ 30 h 1686"/>
                  <a:gd name="T2" fmla="*/ 646 w 701"/>
                  <a:gd name="T3" fmla="*/ 104 h 1686"/>
                  <a:gd name="T4" fmla="*/ 655 w 701"/>
                  <a:gd name="T5" fmla="*/ 168 h 1686"/>
                  <a:gd name="T6" fmla="*/ 677 w 701"/>
                  <a:gd name="T7" fmla="*/ 225 h 1686"/>
                  <a:gd name="T8" fmla="*/ 674 w 701"/>
                  <a:gd name="T9" fmla="*/ 299 h 1686"/>
                  <a:gd name="T10" fmla="*/ 692 w 701"/>
                  <a:gd name="T11" fmla="*/ 352 h 1686"/>
                  <a:gd name="T12" fmla="*/ 687 w 701"/>
                  <a:gd name="T13" fmla="*/ 394 h 1686"/>
                  <a:gd name="T14" fmla="*/ 603 w 701"/>
                  <a:gd name="T15" fmla="*/ 404 h 1686"/>
                  <a:gd name="T16" fmla="*/ 566 w 701"/>
                  <a:gd name="T17" fmla="*/ 468 h 1686"/>
                  <a:gd name="T18" fmla="*/ 556 w 701"/>
                  <a:gd name="T19" fmla="*/ 515 h 1686"/>
                  <a:gd name="T20" fmla="*/ 561 w 701"/>
                  <a:gd name="T21" fmla="*/ 583 h 1686"/>
                  <a:gd name="T22" fmla="*/ 533 w 701"/>
                  <a:gd name="T23" fmla="*/ 647 h 1686"/>
                  <a:gd name="T24" fmla="*/ 453 w 701"/>
                  <a:gd name="T25" fmla="*/ 700 h 1686"/>
                  <a:gd name="T26" fmla="*/ 424 w 701"/>
                  <a:gd name="T27" fmla="*/ 731 h 1686"/>
                  <a:gd name="T28" fmla="*/ 387 w 701"/>
                  <a:gd name="T29" fmla="*/ 811 h 1686"/>
                  <a:gd name="T30" fmla="*/ 376 w 701"/>
                  <a:gd name="T31" fmla="*/ 871 h 1686"/>
                  <a:gd name="T32" fmla="*/ 343 w 701"/>
                  <a:gd name="T33" fmla="*/ 956 h 1686"/>
                  <a:gd name="T34" fmla="*/ 391 w 701"/>
                  <a:gd name="T35" fmla="*/ 1067 h 1686"/>
                  <a:gd name="T36" fmla="*/ 429 w 701"/>
                  <a:gd name="T37" fmla="*/ 1151 h 1686"/>
                  <a:gd name="T38" fmla="*/ 387 w 701"/>
                  <a:gd name="T39" fmla="*/ 1182 h 1686"/>
                  <a:gd name="T40" fmla="*/ 352 w 701"/>
                  <a:gd name="T41" fmla="*/ 1188 h 1686"/>
                  <a:gd name="T42" fmla="*/ 272 w 701"/>
                  <a:gd name="T43" fmla="*/ 1194 h 1686"/>
                  <a:gd name="T44" fmla="*/ 347 w 701"/>
                  <a:gd name="T45" fmla="*/ 1214 h 1686"/>
                  <a:gd name="T46" fmla="*/ 387 w 701"/>
                  <a:gd name="T47" fmla="*/ 1241 h 1686"/>
                  <a:gd name="T48" fmla="*/ 361 w 701"/>
                  <a:gd name="T49" fmla="*/ 1262 h 1686"/>
                  <a:gd name="T50" fmla="*/ 314 w 701"/>
                  <a:gd name="T51" fmla="*/ 1309 h 1686"/>
                  <a:gd name="T52" fmla="*/ 300 w 701"/>
                  <a:gd name="T53" fmla="*/ 1356 h 1686"/>
                  <a:gd name="T54" fmla="*/ 281 w 701"/>
                  <a:gd name="T55" fmla="*/ 1467 h 1686"/>
                  <a:gd name="T56" fmla="*/ 258 w 701"/>
                  <a:gd name="T57" fmla="*/ 1541 h 1686"/>
                  <a:gd name="T58" fmla="*/ 201 w 701"/>
                  <a:gd name="T59" fmla="*/ 1599 h 1686"/>
                  <a:gd name="T60" fmla="*/ 145 w 701"/>
                  <a:gd name="T61" fmla="*/ 1620 h 1686"/>
                  <a:gd name="T62" fmla="*/ 135 w 701"/>
                  <a:gd name="T63" fmla="*/ 1670 h 1686"/>
                  <a:gd name="T64" fmla="*/ 80 w 701"/>
                  <a:gd name="T65" fmla="*/ 1686 h 1686"/>
                  <a:gd name="T66" fmla="*/ 55 w 701"/>
                  <a:gd name="T67" fmla="*/ 1659 h 1686"/>
                  <a:gd name="T68" fmla="*/ 33 w 701"/>
                  <a:gd name="T69" fmla="*/ 1568 h 1686"/>
                  <a:gd name="T70" fmla="*/ 52 w 701"/>
                  <a:gd name="T71" fmla="*/ 1546 h 1686"/>
                  <a:gd name="T72" fmla="*/ 55 w 701"/>
                  <a:gd name="T73" fmla="*/ 1515 h 1686"/>
                  <a:gd name="T74" fmla="*/ 33 w 701"/>
                  <a:gd name="T75" fmla="*/ 1430 h 1686"/>
                  <a:gd name="T76" fmla="*/ 14 w 701"/>
                  <a:gd name="T77" fmla="*/ 1362 h 1686"/>
                  <a:gd name="T78" fmla="*/ 0 w 701"/>
                  <a:gd name="T79" fmla="*/ 1256 h 1686"/>
                  <a:gd name="T80" fmla="*/ 24 w 701"/>
                  <a:gd name="T81" fmla="*/ 1214 h 1686"/>
                  <a:gd name="T82" fmla="*/ 42 w 701"/>
                  <a:gd name="T83" fmla="*/ 1108 h 1686"/>
                  <a:gd name="T84" fmla="*/ 88 w 701"/>
                  <a:gd name="T85" fmla="*/ 1046 h 1686"/>
                  <a:gd name="T86" fmla="*/ 74 w 701"/>
                  <a:gd name="T87" fmla="*/ 935 h 1686"/>
                  <a:gd name="T88" fmla="*/ 93 w 701"/>
                  <a:gd name="T89" fmla="*/ 882 h 1686"/>
                  <a:gd name="T90" fmla="*/ 85 w 701"/>
                  <a:gd name="T91" fmla="*/ 790 h 1686"/>
                  <a:gd name="T92" fmla="*/ 104 w 701"/>
                  <a:gd name="T93" fmla="*/ 679 h 1686"/>
                  <a:gd name="T94" fmla="*/ 164 w 701"/>
                  <a:gd name="T95" fmla="*/ 605 h 1686"/>
                  <a:gd name="T96" fmla="*/ 220 w 701"/>
                  <a:gd name="T97" fmla="*/ 583 h 1686"/>
                  <a:gd name="T98" fmla="*/ 197 w 701"/>
                  <a:gd name="T99" fmla="*/ 515 h 1686"/>
                  <a:gd name="T100" fmla="*/ 220 w 701"/>
                  <a:gd name="T101" fmla="*/ 458 h 1686"/>
                  <a:gd name="T102" fmla="*/ 234 w 701"/>
                  <a:gd name="T103" fmla="*/ 373 h 1686"/>
                  <a:gd name="T104" fmla="*/ 296 w 701"/>
                  <a:gd name="T105" fmla="*/ 320 h 1686"/>
                  <a:gd name="T106" fmla="*/ 324 w 701"/>
                  <a:gd name="T107" fmla="*/ 252 h 1686"/>
                  <a:gd name="T108" fmla="*/ 368 w 701"/>
                  <a:gd name="T109" fmla="*/ 147 h 1686"/>
                  <a:gd name="T110" fmla="*/ 418 w 701"/>
                  <a:gd name="T111" fmla="*/ 98 h 1686"/>
                  <a:gd name="T112" fmla="*/ 465 w 701"/>
                  <a:gd name="T113" fmla="*/ 60 h 1686"/>
                  <a:gd name="T114" fmla="*/ 523 w 701"/>
                  <a:gd name="T115" fmla="*/ 0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01" h="1686">
                    <a:moveTo>
                      <a:pt x="528" y="0"/>
                    </a:moveTo>
                    <a:lnTo>
                      <a:pt x="537" y="5"/>
                    </a:lnTo>
                    <a:lnTo>
                      <a:pt x="551" y="30"/>
                    </a:lnTo>
                    <a:lnTo>
                      <a:pt x="613" y="98"/>
                    </a:lnTo>
                    <a:lnTo>
                      <a:pt x="622" y="83"/>
                    </a:lnTo>
                    <a:lnTo>
                      <a:pt x="646" y="104"/>
                    </a:lnTo>
                    <a:lnTo>
                      <a:pt x="655" y="125"/>
                    </a:lnTo>
                    <a:lnTo>
                      <a:pt x="655" y="141"/>
                    </a:lnTo>
                    <a:lnTo>
                      <a:pt x="655" y="168"/>
                    </a:lnTo>
                    <a:lnTo>
                      <a:pt x="646" y="184"/>
                    </a:lnTo>
                    <a:lnTo>
                      <a:pt x="663" y="205"/>
                    </a:lnTo>
                    <a:lnTo>
                      <a:pt x="677" y="225"/>
                    </a:lnTo>
                    <a:lnTo>
                      <a:pt x="677" y="242"/>
                    </a:lnTo>
                    <a:lnTo>
                      <a:pt x="677" y="268"/>
                    </a:lnTo>
                    <a:lnTo>
                      <a:pt x="674" y="299"/>
                    </a:lnTo>
                    <a:lnTo>
                      <a:pt x="663" y="310"/>
                    </a:lnTo>
                    <a:lnTo>
                      <a:pt x="677" y="326"/>
                    </a:lnTo>
                    <a:lnTo>
                      <a:pt x="692" y="352"/>
                    </a:lnTo>
                    <a:lnTo>
                      <a:pt x="701" y="379"/>
                    </a:lnTo>
                    <a:lnTo>
                      <a:pt x="701" y="389"/>
                    </a:lnTo>
                    <a:lnTo>
                      <a:pt x="687" y="394"/>
                    </a:lnTo>
                    <a:lnTo>
                      <a:pt x="627" y="394"/>
                    </a:lnTo>
                    <a:lnTo>
                      <a:pt x="613" y="394"/>
                    </a:lnTo>
                    <a:lnTo>
                      <a:pt x="603" y="404"/>
                    </a:lnTo>
                    <a:lnTo>
                      <a:pt x="603" y="426"/>
                    </a:lnTo>
                    <a:lnTo>
                      <a:pt x="594" y="441"/>
                    </a:lnTo>
                    <a:lnTo>
                      <a:pt x="566" y="468"/>
                    </a:lnTo>
                    <a:lnTo>
                      <a:pt x="570" y="490"/>
                    </a:lnTo>
                    <a:lnTo>
                      <a:pt x="566" y="505"/>
                    </a:lnTo>
                    <a:lnTo>
                      <a:pt x="556" y="515"/>
                    </a:lnTo>
                    <a:lnTo>
                      <a:pt x="566" y="548"/>
                    </a:lnTo>
                    <a:lnTo>
                      <a:pt x="570" y="568"/>
                    </a:lnTo>
                    <a:lnTo>
                      <a:pt x="561" y="583"/>
                    </a:lnTo>
                    <a:lnTo>
                      <a:pt x="542" y="601"/>
                    </a:lnTo>
                    <a:lnTo>
                      <a:pt x="537" y="620"/>
                    </a:lnTo>
                    <a:lnTo>
                      <a:pt x="533" y="647"/>
                    </a:lnTo>
                    <a:lnTo>
                      <a:pt x="500" y="663"/>
                    </a:lnTo>
                    <a:lnTo>
                      <a:pt x="481" y="679"/>
                    </a:lnTo>
                    <a:lnTo>
                      <a:pt x="453" y="700"/>
                    </a:lnTo>
                    <a:lnTo>
                      <a:pt x="457" y="716"/>
                    </a:lnTo>
                    <a:lnTo>
                      <a:pt x="434" y="721"/>
                    </a:lnTo>
                    <a:lnTo>
                      <a:pt x="424" y="731"/>
                    </a:lnTo>
                    <a:lnTo>
                      <a:pt x="401" y="768"/>
                    </a:lnTo>
                    <a:lnTo>
                      <a:pt x="382" y="784"/>
                    </a:lnTo>
                    <a:lnTo>
                      <a:pt x="387" y="811"/>
                    </a:lnTo>
                    <a:lnTo>
                      <a:pt x="376" y="818"/>
                    </a:lnTo>
                    <a:lnTo>
                      <a:pt x="366" y="830"/>
                    </a:lnTo>
                    <a:lnTo>
                      <a:pt x="376" y="871"/>
                    </a:lnTo>
                    <a:lnTo>
                      <a:pt x="371" y="898"/>
                    </a:lnTo>
                    <a:lnTo>
                      <a:pt x="347" y="913"/>
                    </a:lnTo>
                    <a:lnTo>
                      <a:pt x="343" y="956"/>
                    </a:lnTo>
                    <a:lnTo>
                      <a:pt x="347" y="1009"/>
                    </a:lnTo>
                    <a:lnTo>
                      <a:pt x="357" y="1034"/>
                    </a:lnTo>
                    <a:lnTo>
                      <a:pt x="391" y="1067"/>
                    </a:lnTo>
                    <a:lnTo>
                      <a:pt x="405" y="1098"/>
                    </a:lnTo>
                    <a:lnTo>
                      <a:pt x="420" y="1130"/>
                    </a:lnTo>
                    <a:lnTo>
                      <a:pt x="429" y="1151"/>
                    </a:lnTo>
                    <a:lnTo>
                      <a:pt x="420" y="1172"/>
                    </a:lnTo>
                    <a:lnTo>
                      <a:pt x="401" y="1188"/>
                    </a:lnTo>
                    <a:lnTo>
                      <a:pt x="387" y="1182"/>
                    </a:lnTo>
                    <a:lnTo>
                      <a:pt x="376" y="1167"/>
                    </a:lnTo>
                    <a:lnTo>
                      <a:pt x="357" y="1172"/>
                    </a:lnTo>
                    <a:lnTo>
                      <a:pt x="352" y="1188"/>
                    </a:lnTo>
                    <a:lnTo>
                      <a:pt x="324" y="1188"/>
                    </a:lnTo>
                    <a:lnTo>
                      <a:pt x="281" y="1182"/>
                    </a:lnTo>
                    <a:lnTo>
                      <a:pt x="272" y="1194"/>
                    </a:lnTo>
                    <a:lnTo>
                      <a:pt x="300" y="1209"/>
                    </a:lnTo>
                    <a:lnTo>
                      <a:pt x="338" y="1194"/>
                    </a:lnTo>
                    <a:lnTo>
                      <a:pt x="347" y="1214"/>
                    </a:lnTo>
                    <a:lnTo>
                      <a:pt x="376" y="1219"/>
                    </a:lnTo>
                    <a:lnTo>
                      <a:pt x="396" y="1229"/>
                    </a:lnTo>
                    <a:lnTo>
                      <a:pt x="387" y="1241"/>
                    </a:lnTo>
                    <a:lnTo>
                      <a:pt x="361" y="1235"/>
                    </a:lnTo>
                    <a:lnTo>
                      <a:pt x="357" y="1246"/>
                    </a:lnTo>
                    <a:lnTo>
                      <a:pt x="361" y="1262"/>
                    </a:lnTo>
                    <a:lnTo>
                      <a:pt x="347" y="1283"/>
                    </a:lnTo>
                    <a:lnTo>
                      <a:pt x="324" y="1303"/>
                    </a:lnTo>
                    <a:lnTo>
                      <a:pt x="314" y="1309"/>
                    </a:lnTo>
                    <a:lnTo>
                      <a:pt x="305" y="1315"/>
                    </a:lnTo>
                    <a:lnTo>
                      <a:pt x="310" y="1340"/>
                    </a:lnTo>
                    <a:lnTo>
                      <a:pt x="300" y="1356"/>
                    </a:lnTo>
                    <a:lnTo>
                      <a:pt x="286" y="1389"/>
                    </a:lnTo>
                    <a:lnTo>
                      <a:pt x="291" y="1420"/>
                    </a:lnTo>
                    <a:lnTo>
                      <a:pt x="281" y="1467"/>
                    </a:lnTo>
                    <a:lnTo>
                      <a:pt x="272" y="1488"/>
                    </a:lnTo>
                    <a:lnTo>
                      <a:pt x="272" y="1519"/>
                    </a:lnTo>
                    <a:lnTo>
                      <a:pt x="258" y="1541"/>
                    </a:lnTo>
                    <a:lnTo>
                      <a:pt x="239" y="1578"/>
                    </a:lnTo>
                    <a:lnTo>
                      <a:pt x="234" y="1605"/>
                    </a:lnTo>
                    <a:lnTo>
                      <a:pt x="201" y="1599"/>
                    </a:lnTo>
                    <a:lnTo>
                      <a:pt x="168" y="1599"/>
                    </a:lnTo>
                    <a:lnTo>
                      <a:pt x="164" y="1615"/>
                    </a:lnTo>
                    <a:lnTo>
                      <a:pt x="145" y="1620"/>
                    </a:lnTo>
                    <a:lnTo>
                      <a:pt x="135" y="1626"/>
                    </a:lnTo>
                    <a:lnTo>
                      <a:pt x="140" y="1643"/>
                    </a:lnTo>
                    <a:lnTo>
                      <a:pt x="135" y="1670"/>
                    </a:lnTo>
                    <a:lnTo>
                      <a:pt x="112" y="1686"/>
                    </a:lnTo>
                    <a:lnTo>
                      <a:pt x="99" y="1670"/>
                    </a:lnTo>
                    <a:lnTo>
                      <a:pt x="80" y="1686"/>
                    </a:lnTo>
                    <a:lnTo>
                      <a:pt x="55" y="1686"/>
                    </a:lnTo>
                    <a:lnTo>
                      <a:pt x="47" y="1670"/>
                    </a:lnTo>
                    <a:lnTo>
                      <a:pt x="55" y="1659"/>
                    </a:lnTo>
                    <a:lnTo>
                      <a:pt x="61" y="1630"/>
                    </a:lnTo>
                    <a:lnTo>
                      <a:pt x="42" y="1589"/>
                    </a:lnTo>
                    <a:lnTo>
                      <a:pt x="33" y="1568"/>
                    </a:lnTo>
                    <a:lnTo>
                      <a:pt x="38" y="1556"/>
                    </a:lnTo>
                    <a:lnTo>
                      <a:pt x="47" y="1556"/>
                    </a:lnTo>
                    <a:lnTo>
                      <a:pt x="52" y="1546"/>
                    </a:lnTo>
                    <a:lnTo>
                      <a:pt x="55" y="1535"/>
                    </a:lnTo>
                    <a:lnTo>
                      <a:pt x="61" y="1525"/>
                    </a:lnTo>
                    <a:lnTo>
                      <a:pt x="55" y="1515"/>
                    </a:lnTo>
                    <a:lnTo>
                      <a:pt x="47" y="1494"/>
                    </a:lnTo>
                    <a:lnTo>
                      <a:pt x="28" y="1462"/>
                    </a:lnTo>
                    <a:lnTo>
                      <a:pt x="33" y="1430"/>
                    </a:lnTo>
                    <a:lnTo>
                      <a:pt x="19" y="1404"/>
                    </a:lnTo>
                    <a:lnTo>
                      <a:pt x="5" y="1389"/>
                    </a:lnTo>
                    <a:lnTo>
                      <a:pt x="14" y="1362"/>
                    </a:lnTo>
                    <a:lnTo>
                      <a:pt x="24" y="1309"/>
                    </a:lnTo>
                    <a:lnTo>
                      <a:pt x="5" y="1283"/>
                    </a:lnTo>
                    <a:lnTo>
                      <a:pt x="0" y="1256"/>
                    </a:lnTo>
                    <a:lnTo>
                      <a:pt x="0" y="1241"/>
                    </a:lnTo>
                    <a:lnTo>
                      <a:pt x="9" y="1209"/>
                    </a:lnTo>
                    <a:lnTo>
                      <a:pt x="24" y="1214"/>
                    </a:lnTo>
                    <a:lnTo>
                      <a:pt x="38" y="1172"/>
                    </a:lnTo>
                    <a:lnTo>
                      <a:pt x="38" y="1124"/>
                    </a:lnTo>
                    <a:lnTo>
                      <a:pt x="42" y="1108"/>
                    </a:lnTo>
                    <a:lnTo>
                      <a:pt x="61" y="1093"/>
                    </a:lnTo>
                    <a:lnTo>
                      <a:pt x="88" y="1071"/>
                    </a:lnTo>
                    <a:lnTo>
                      <a:pt x="88" y="1046"/>
                    </a:lnTo>
                    <a:lnTo>
                      <a:pt x="85" y="966"/>
                    </a:lnTo>
                    <a:lnTo>
                      <a:pt x="74" y="956"/>
                    </a:lnTo>
                    <a:lnTo>
                      <a:pt x="74" y="935"/>
                    </a:lnTo>
                    <a:lnTo>
                      <a:pt x="99" y="923"/>
                    </a:lnTo>
                    <a:lnTo>
                      <a:pt x="107" y="913"/>
                    </a:lnTo>
                    <a:lnTo>
                      <a:pt x="93" y="882"/>
                    </a:lnTo>
                    <a:lnTo>
                      <a:pt x="74" y="851"/>
                    </a:lnTo>
                    <a:lnTo>
                      <a:pt x="80" y="815"/>
                    </a:lnTo>
                    <a:lnTo>
                      <a:pt x="85" y="790"/>
                    </a:lnTo>
                    <a:lnTo>
                      <a:pt x="104" y="743"/>
                    </a:lnTo>
                    <a:lnTo>
                      <a:pt x="104" y="721"/>
                    </a:lnTo>
                    <a:lnTo>
                      <a:pt x="104" y="679"/>
                    </a:lnTo>
                    <a:lnTo>
                      <a:pt x="118" y="642"/>
                    </a:lnTo>
                    <a:lnTo>
                      <a:pt x="140" y="620"/>
                    </a:lnTo>
                    <a:lnTo>
                      <a:pt x="164" y="605"/>
                    </a:lnTo>
                    <a:lnTo>
                      <a:pt x="187" y="610"/>
                    </a:lnTo>
                    <a:lnTo>
                      <a:pt x="211" y="620"/>
                    </a:lnTo>
                    <a:lnTo>
                      <a:pt x="220" y="583"/>
                    </a:lnTo>
                    <a:lnTo>
                      <a:pt x="211" y="552"/>
                    </a:lnTo>
                    <a:lnTo>
                      <a:pt x="201" y="531"/>
                    </a:lnTo>
                    <a:lnTo>
                      <a:pt x="197" y="515"/>
                    </a:lnTo>
                    <a:lnTo>
                      <a:pt x="201" y="500"/>
                    </a:lnTo>
                    <a:lnTo>
                      <a:pt x="216" y="494"/>
                    </a:lnTo>
                    <a:lnTo>
                      <a:pt x="220" y="458"/>
                    </a:lnTo>
                    <a:lnTo>
                      <a:pt x="230" y="426"/>
                    </a:lnTo>
                    <a:lnTo>
                      <a:pt x="234" y="400"/>
                    </a:lnTo>
                    <a:lnTo>
                      <a:pt x="234" y="373"/>
                    </a:lnTo>
                    <a:lnTo>
                      <a:pt x="248" y="347"/>
                    </a:lnTo>
                    <a:lnTo>
                      <a:pt x="277" y="326"/>
                    </a:lnTo>
                    <a:lnTo>
                      <a:pt x="296" y="320"/>
                    </a:lnTo>
                    <a:lnTo>
                      <a:pt x="296" y="295"/>
                    </a:lnTo>
                    <a:lnTo>
                      <a:pt x="305" y="278"/>
                    </a:lnTo>
                    <a:lnTo>
                      <a:pt x="324" y="252"/>
                    </a:lnTo>
                    <a:lnTo>
                      <a:pt x="343" y="236"/>
                    </a:lnTo>
                    <a:lnTo>
                      <a:pt x="333" y="191"/>
                    </a:lnTo>
                    <a:lnTo>
                      <a:pt x="368" y="147"/>
                    </a:lnTo>
                    <a:lnTo>
                      <a:pt x="376" y="128"/>
                    </a:lnTo>
                    <a:lnTo>
                      <a:pt x="401" y="123"/>
                    </a:lnTo>
                    <a:lnTo>
                      <a:pt x="418" y="98"/>
                    </a:lnTo>
                    <a:lnTo>
                      <a:pt x="418" y="83"/>
                    </a:lnTo>
                    <a:lnTo>
                      <a:pt x="434" y="64"/>
                    </a:lnTo>
                    <a:lnTo>
                      <a:pt x="465" y="60"/>
                    </a:lnTo>
                    <a:lnTo>
                      <a:pt x="500" y="60"/>
                    </a:lnTo>
                    <a:lnTo>
                      <a:pt x="528" y="30"/>
                    </a:lnTo>
                    <a:lnTo>
                      <a:pt x="523" y="0"/>
                    </a:lnTo>
                    <a:lnTo>
                      <a:pt x="52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grpSp>
          <p:nvGrpSpPr>
            <p:cNvPr id="28" name="NO"/>
            <p:cNvGrpSpPr>
              <a:grpSpLocks/>
            </p:cNvGrpSpPr>
            <p:nvPr/>
          </p:nvGrpSpPr>
          <p:grpSpPr bwMode="auto">
            <a:xfrm>
              <a:off x="5584744" y="990600"/>
              <a:ext cx="1892300" cy="1884365"/>
              <a:chOff x="2536825" y="1148442"/>
              <a:chExt cx="1192" cy="1187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80" name="Freeform 552"/>
              <p:cNvSpPr>
                <a:spLocks noChangeAspect="1"/>
              </p:cNvSpPr>
              <p:nvPr/>
            </p:nvSpPr>
            <p:spPr bwMode="auto">
              <a:xfrm>
                <a:off x="2536825" y="1148442"/>
                <a:ext cx="1192" cy="1187"/>
              </a:xfrm>
              <a:custGeom>
                <a:avLst/>
                <a:gdLst>
                  <a:gd name="T0" fmla="*/ 376 w 1279"/>
                  <a:gd name="T1" fmla="*/ 1439 h 1576"/>
                  <a:gd name="T2" fmla="*/ 427 w 1279"/>
                  <a:gd name="T3" fmla="*/ 1349 h 1576"/>
                  <a:gd name="T4" fmla="*/ 413 w 1279"/>
                  <a:gd name="T5" fmla="*/ 1227 h 1576"/>
                  <a:gd name="T6" fmla="*/ 423 w 1279"/>
                  <a:gd name="T7" fmla="*/ 1122 h 1576"/>
                  <a:gd name="T8" fmla="*/ 446 w 1279"/>
                  <a:gd name="T9" fmla="*/ 977 h 1576"/>
                  <a:gd name="T10" fmla="*/ 511 w 1279"/>
                  <a:gd name="T11" fmla="*/ 877 h 1576"/>
                  <a:gd name="T12" fmla="*/ 544 w 1279"/>
                  <a:gd name="T13" fmla="*/ 798 h 1576"/>
                  <a:gd name="T14" fmla="*/ 568 w 1279"/>
                  <a:gd name="T15" fmla="*/ 719 h 1576"/>
                  <a:gd name="T16" fmla="*/ 638 w 1279"/>
                  <a:gd name="T17" fmla="*/ 587 h 1576"/>
                  <a:gd name="T18" fmla="*/ 676 w 1279"/>
                  <a:gd name="T19" fmla="*/ 482 h 1576"/>
                  <a:gd name="T20" fmla="*/ 762 w 1279"/>
                  <a:gd name="T21" fmla="*/ 376 h 1576"/>
                  <a:gd name="T22" fmla="*/ 833 w 1279"/>
                  <a:gd name="T23" fmla="*/ 340 h 1576"/>
                  <a:gd name="T24" fmla="*/ 880 w 1279"/>
                  <a:gd name="T25" fmla="*/ 247 h 1576"/>
                  <a:gd name="T26" fmla="*/ 993 w 1279"/>
                  <a:gd name="T27" fmla="*/ 297 h 1576"/>
                  <a:gd name="T28" fmla="*/ 1053 w 1279"/>
                  <a:gd name="T29" fmla="*/ 312 h 1576"/>
                  <a:gd name="T30" fmla="*/ 1086 w 1279"/>
                  <a:gd name="T31" fmla="*/ 189 h 1576"/>
                  <a:gd name="T32" fmla="*/ 1180 w 1279"/>
                  <a:gd name="T33" fmla="*/ 179 h 1576"/>
                  <a:gd name="T34" fmla="*/ 1213 w 1279"/>
                  <a:gd name="T35" fmla="*/ 226 h 1576"/>
                  <a:gd name="T36" fmla="*/ 1241 w 1279"/>
                  <a:gd name="T37" fmla="*/ 163 h 1576"/>
                  <a:gd name="T38" fmla="*/ 1274 w 1279"/>
                  <a:gd name="T39" fmla="*/ 89 h 1576"/>
                  <a:gd name="T40" fmla="*/ 1213 w 1279"/>
                  <a:gd name="T41" fmla="*/ 27 h 1576"/>
                  <a:gd name="T42" fmla="*/ 1157 w 1279"/>
                  <a:gd name="T43" fmla="*/ 31 h 1576"/>
                  <a:gd name="T44" fmla="*/ 1124 w 1279"/>
                  <a:gd name="T45" fmla="*/ 27 h 1576"/>
                  <a:gd name="T46" fmla="*/ 1078 w 1279"/>
                  <a:gd name="T47" fmla="*/ 62 h 1576"/>
                  <a:gd name="T48" fmla="*/ 1059 w 1279"/>
                  <a:gd name="T49" fmla="*/ 42 h 1576"/>
                  <a:gd name="T50" fmla="*/ 988 w 1279"/>
                  <a:gd name="T51" fmla="*/ 136 h 1576"/>
                  <a:gd name="T52" fmla="*/ 918 w 1279"/>
                  <a:gd name="T53" fmla="*/ 163 h 1576"/>
                  <a:gd name="T54" fmla="*/ 842 w 1279"/>
                  <a:gd name="T55" fmla="*/ 189 h 1576"/>
                  <a:gd name="T56" fmla="*/ 753 w 1279"/>
                  <a:gd name="T57" fmla="*/ 210 h 1576"/>
                  <a:gd name="T58" fmla="*/ 743 w 1279"/>
                  <a:gd name="T59" fmla="*/ 287 h 1576"/>
                  <a:gd name="T60" fmla="*/ 734 w 1279"/>
                  <a:gd name="T61" fmla="*/ 355 h 1576"/>
                  <a:gd name="T62" fmla="*/ 662 w 1279"/>
                  <a:gd name="T63" fmla="*/ 371 h 1576"/>
                  <a:gd name="T64" fmla="*/ 638 w 1279"/>
                  <a:gd name="T65" fmla="*/ 429 h 1576"/>
                  <a:gd name="T66" fmla="*/ 582 w 1279"/>
                  <a:gd name="T67" fmla="*/ 513 h 1576"/>
                  <a:gd name="T68" fmla="*/ 525 w 1279"/>
                  <a:gd name="T69" fmla="*/ 618 h 1576"/>
                  <a:gd name="T70" fmla="*/ 479 w 1279"/>
                  <a:gd name="T71" fmla="*/ 725 h 1576"/>
                  <a:gd name="T72" fmla="*/ 451 w 1279"/>
                  <a:gd name="T73" fmla="*/ 788 h 1576"/>
                  <a:gd name="T74" fmla="*/ 361 w 1279"/>
                  <a:gd name="T75" fmla="*/ 877 h 1576"/>
                  <a:gd name="T76" fmla="*/ 413 w 1279"/>
                  <a:gd name="T77" fmla="*/ 887 h 1576"/>
                  <a:gd name="T78" fmla="*/ 333 w 1279"/>
                  <a:gd name="T79" fmla="*/ 904 h 1576"/>
                  <a:gd name="T80" fmla="*/ 258 w 1279"/>
                  <a:gd name="T81" fmla="*/ 957 h 1576"/>
                  <a:gd name="T82" fmla="*/ 195 w 1279"/>
                  <a:gd name="T83" fmla="*/ 961 h 1576"/>
                  <a:gd name="T84" fmla="*/ 143 w 1279"/>
                  <a:gd name="T85" fmla="*/ 1001 h 1576"/>
                  <a:gd name="T86" fmla="*/ 110 w 1279"/>
                  <a:gd name="T87" fmla="*/ 1041 h 1576"/>
                  <a:gd name="T88" fmla="*/ 44 w 1279"/>
                  <a:gd name="T89" fmla="*/ 1088 h 1576"/>
                  <a:gd name="T90" fmla="*/ 25 w 1279"/>
                  <a:gd name="T91" fmla="*/ 1261 h 1576"/>
                  <a:gd name="T92" fmla="*/ 52 w 1279"/>
                  <a:gd name="T93" fmla="*/ 1301 h 1576"/>
                  <a:gd name="T94" fmla="*/ 25 w 1279"/>
                  <a:gd name="T95" fmla="*/ 1378 h 1576"/>
                  <a:gd name="T96" fmla="*/ 42 w 1279"/>
                  <a:gd name="T97" fmla="*/ 1423 h 1576"/>
                  <a:gd name="T98" fmla="*/ 0 w 1279"/>
                  <a:gd name="T99" fmla="*/ 1462 h 1576"/>
                  <a:gd name="T100" fmla="*/ 107 w 1279"/>
                  <a:gd name="T101" fmla="*/ 1576 h 1576"/>
                  <a:gd name="T102" fmla="*/ 265 w 1279"/>
                  <a:gd name="T103" fmla="*/ 1446 h 1576"/>
                  <a:gd name="T104" fmla="*/ 321 w 1279"/>
                  <a:gd name="T105" fmla="*/ 1372 h 1576"/>
                  <a:gd name="T106" fmla="*/ 333 w 1279"/>
                  <a:gd name="T107" fmla="*/ 1483 h 1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79" h="1576">
                    <a:moveTo>
                      <a:pt x="343" y="1483"/>
                    </a:moveTo>
                    <a:lnTo>
                      <a:pt x="347" y="1480"/>
                    </a:lnTo>
                    <a:lnTo>
                      <a:pt x="361" y="1476"/>
                    </a:lnTo>
                    <a:lnTo>
                      <a:pt x="371" y="1459"/>
                    </a:lnTo>
                    <a:lnTo>
                      <a:pt x="376" y="1439"/>
                    </a:lnTo>
                    <a:lnTo>
                      <a:pt x="380" y="1428"/>
                    </a:lnTo>
                    <a:lnTo>
                      <a:pt x="376" y="1396"/>
                    </a:lnTo>
                    <a:lnTo>
                      <a:pt x="380" y="1375"/>
                    </a:lnTo>
                    <a:lnTo>
                      <a:pt x="394" y="1365"/>
                    </a:lnTo>
                    <a:lnTo>
                      <a:pt x="427" y="1349"/>
                    </a:lnTo>
                    <a:lnTo>
                      <a:pt x="432" y="1332"/>
                    </a:lnTo>
                    <a:lnTo>
                      <a:pt x="427" y="1280"/>
                    </a:lnTo>
                    <a:lnTo>
                      <a:pt x="423" y="1270"/>
                    </a:lnTo>
                    <a:lnTo>
                      <a:pt x="423" y="1238"/>
                    </a:lnTo>
                    <a:lnTo>
                      <a:pt x="413" y="1227"/>
                    </a:lnTo>
                    <a:lnTo>
                      <a:pt x="418" y="1202"/>
                    </a:lnTo>
                    <a:lnTo>
                      <a:pt x="427" y="1202"/>
                    </a:lnTo>
                    <a:lnTo>
                      <a:pt x="451" y="1186"/>
                    </a:lnTo>
                    <a:lnTo>
                      <a:pt x="432" y="1137"/>
                    </a:lnTo>
                    <a:lnTo>
                      <a:pt x="423" y="1122"/>
                    </a:lnTo>
                    <a:lnTo>
                      <a:pt x="423" y="1118"/>
                    </a:lnTo>
                    <a:lnTo>
                      <a:pt x="423" y="1078"/>
                    </a:lnTo>
                    <a:lnTo>
                      <a:pt x="437" y="1046"/>
                    </a:lnTo>
                    <a:lnTo>
                      <a:pt x="441" y="1014"/>
                    </a:lnTo>
                    <a:lnTo>
                      <a:pt x="446" y="977"/>
                    </a:lnTo>
                    <a:lnTo>
                      <a:pt x="441" y="945"/>
                    </a:lnTo>
                    <a:lnTo>
                      <a:pt x="451" y="924"/>
                    </a:lnTo>
                    <a:lnTo>
                      <a:pt x="456" y="908"/>
                    </a:lnTo>
                    <a:lnTo>
                      <a:pt x="484" y="887"/>
                    </a:lnTo>
                    <a:lnTo>
                      <a:pt x="511" y="877"/>
                    </a:lnTo>
                    <a:lnTo>
                      <a:pt x="536" y="887"/>
                    </a:lnTo>
                    <a:lnTo>
                      <a:pt x="544" y="893"/>
                    </a:lnTo>
                    <a:lnTo>
                      <a:pt x="558" y="872"/>
                    </a:lnTo>
                    <a:lnTo>
                      <a:pt x="558" y="846"/>
                    </a:lnTo>
                    <a:lnTo>
                      <a:pt x="544" y="798"/>
                    </a:lnTo>
                    <a:lnTo>
                      <a:pt x="539" y="778"/>
                    </a:lnTo>
                    <a:lnTo>
                      <a:pt x="544" y="766"/>
                    </a:lnTo>
                    <a:lnTo>
                      <a:pt x="553" y="766"/>
                    </a:lnTo>
                    <a:lnTo>
                      <a:pt x="563" y="751"/>
                    </a:lnTo>
                    <a:lnTo>
                      <a:pt x="568" y="719"/>
                    </a:lnTo>
                    <a:lnTo>
                      <a:pt x="572" y="677"/>
                    </a:lnTo>
                    <a:lnTo>
                      <a:pt x="577" y="635"/>
                    </a:lnTo>
                    <a:lnTo>
                      <a:pt x="591" y="618"/>
                    </a:lnTo>
                    <a:lnTo>
                      <a:pt x="619" y="598"/>
                    </a:lnTo>
                    <a:lnTo>
                      <a:pt x="638" y="587"/>
                    </a:lnTo>
                    <a:lnTo>
                      <a:pt x="643" y="556"/>
                    </a:lnTo>
                    <a:lnTo>
                      <a:pt x="652" y="534"/>
                    </a:lnTo>
                    <a:lnTo>
                      <a:pt x="676" y="513"/>
                    </a:lnTo>
                    <a:lnTo>
                      <a:pt x="681" y="497"/>
                    </a:lnTo>
                    <a:lnTo>
                      <a:pt x="676" y="482"/>
                    </a:lnTo>
                    <a:lnTo>
                      <a:pt x="676" y="460"/>
                    </a:lnTo>
                    <a:lnTo>
                      <a:pt x="695" y="445"/>
                    </a:lnTo>
                    <a:lnTo>
                      <a:pt x="718" y="398"/>
                    </a:lnTo>
                    <a:lnTo>
                      <a:pt x="734" y="402"/>
                    </a:lnTo>
                    <a:lnTo>
                      <a:pt x="762" y="376"/>
                    </a:lnTo>
                    <a:lnTo>
                      <a:pt x="758" y="355"/>
                    </a:lnTo>
                    <a:lnTo>
                      <a:pt x="776" y="334"/>
                    </a:lnTo>
                    <a:lnTo>
                      <a:pt x="786" y="340"/>
                    </a:lnTo>
                    <a:lnTo>
                      <a:pt x="805" y="334"/>
                    </a:lnTo>
                    <a:lnTo>
                      <a:pt x="833" y="340"/>
                    </a:lnTo>
                    <a:lnTo>
                      <a:pt x="870" y="303"/>
                    </a:lnTo>
                    <a:lnTo>
                      <a:pt x="866" y="281"/>
                    </a:lnTo>
                    <a:lnTo>
                      <a:pt x="870" y="271"/>
                    </a:lnTo>
                    <a:lnTo>
                      <a:pt x="861" y="267"/>
                    </a:lnTo>
                    <a:lnTo>
                      <a:pt x="880" y="247"/>
                    </a:lnTo>
                    <a:lnTo>
                      <a:pt x="908" y="243"/>
                    </a:lnTo>
                    <a:lnTo>
                      <a:pt x="927" y="271"/>
                    </a:lnTo>
                    <a:lnTo>
                      <a:pt x="960" y="312"/>
                    </a:lnTo>
                    <a:lnTo>
                      <a:pt x="974" y="312"/>
                    </a:lnTo>
                    <a:lnTo>
                      <a:pt x="993" y="297"/>
                    </a:lnTo>
                    <a:lnTo>
                      <a:pt x="1007" y="293"/>
                    </a:lnTo>
                    <a:lnTo>
                      <a:pt x="1016" y="297"/>
                    </a:lnTo>
                    <a:lnTo>
                      <a:pt x="1031" y="312"/>
                    </a:lnTo>
                    <a:lnTo>
                      <a:pt x="1048" y="318"/>
                    </a:lnTo>
                    <a:lnTo>
                      <a:pt x="1053" y="312"/>
                    </a:lnTo>
                    <a:lnTo>
                      <a:pt x="1062" y="293"/>
                    </a:lnTo>
                    <a:lnTo>
                      <a:pt x="1067" y="281"/>
                    </a:lnTo>
                    <a:lnTo>
                      <a:pt x="1086" y="247"/>
                    </a:lnTo>
                    <a:lnTo>
                      <a:pt x="1091" y="243"/>
                    </a:lnTo>
                    <a:lnTo>
                      <a:pt x="1086" y="189"/>
                    </a:lnTo>
                    <a:lnTo>
                      <a:pt x="1110" y="163"/>
                    </a:lnTo>
                    <a:lnTo>
                      <a:pt x="1119" y="169"/>
                    </a:lnTo>
                    <a:lnTo>
                      <a:pt x="1147" y="136"/>
                    </a:lnTo>
                    <a:lnTo>
                      <a:pt x="1171" y="169"/>
                    </a:lnTo>
                    <a:lnTo>
                      <a:pt x="1180" y="179"/>
                    </a:lnTo>
                    <a:lnTo>
                      <a:pt x="1194" y="173"/>
                    </a:lnTo>
                    <a:lnTo>
                      <a:pt x="1204" y="189"/>
                    </a:lnTo>
                    <a:lnTo>
                      <a:pt x="1204" y="200"/>
                    </a:lnTo>
                    <a:lnTo>
                      <a:pt x="1213" y="210"/>
                    </a:lnTo>
                    <a:lnTo>
                      <a:pt x="1213" y="226"/>
                    </a:lnTo>
                    <a:lnTo>
                      <a:pt x="1227" y="206"/>
                    </a:lnTo>
                    <a:lnTo>
                      <a:pt x="1251" y="184"/>
                    </a:lnTo>
                    <a:lnTo>
                      <a:pt x="1265" y="152"/>
                    </a:lnTo>
                    <a:lnTo>
                      <a:pt x="1255" y="147"/>
                    </a:lnTo>
                    <a:lnTo>
                      <a:pt x="1241" y="163"/>
                    </a:lnTo>
                    <a:lnTo>
                      <a:pt x="1237" y="136"/>
                    </a:lnTo>
                    <a:lnTo>
                      <a:pt x="1227" y="132"/>
                    </a:lnTo>
                    <a:lnTo>
                      <a:pt x="1223" y="116"/>
                    </a:lnTo>
                    <a:lnTo>
                      <a:pt x="1260" y="83"/>
                    </a:lnTo>
                    <a:lnTo>
                      <a:pt x="1274" y="89"/>
                    </a:lnTo>
                    <a:lnTo>
                      <a:pt x="1279" y="68"/>
                    </a:lnTo>
                    <a:lnTo>
                      <a:pt x="1270" y="62"/>
                    </a:lnTo>
                    <a:lnTo>
                      <a:pt x="1246" y="52"/>
                    </a:lnTo>
                    <a:lnTo>
                      <a:pt x="1232" y="46"/>
                    </a:lnTo>
                    <a:lnTo>
                      <a:pt x="1213" y="27"/>
                    </a:lnTo>
                    <a:lnTo>
                      <a:pt x="1194" y="21"/>
                    </a:lnTo>
                    <a:lnTo>
                      <a:pt x="1175" y="42"/>
                    </a:lnTo>
                    <a:lnTo>
                      <a:pt x="1166" y="58"/>
                    </a:lnTo>
                    <a:lnTo>
                      <a:pt x="1147" y="42"/>
                    </a:lnTo>
                    <a:lnTo>
                      <a:pt x="1157" y="31"/>
                    </a:lnTo>
                    <a:lnTo>
                      <a:pt x="1161" y="5"/>
                    </a:lnTo>
                    <a:lnTo>
                      <a:pt x="1157" y="0"/>
                    </a:lnTo>
                    <a:lnTo>
                      <a:pt x="1133" y="0"/>
                    </a:lnTo>
                    <a:lnTo>
                      <a:pt x="1128" y="10"/>
                    </a:lnTo>
                    <a:lnTo>
                      <a:pt x="1124" y="27"/>
                    </a:lnTo>
                    <a:lnTo>
                      <a:pt x="1128" y="42"/>
                    </a:lnTo>
                    <a:lnTo>
                      <a:pt x="1110" y="62"/>
                    </a:lnTo>
                    <a:lnTo>
                      <a:pt x="1095" y="31"/>
                    </a:lnTo>
                    <a:lnTo>
                      <a:pt x="1081" y="37"/>
                    </a:lnTo>
                    <a:lnTo>
                      <a:pt x="1078" y="62"/>
                    </a:lnTo>
                    <a:lnTo>
                      <a:pt x="1067" y="99"/>
                    </a:lnTo>
                    <a:lnTo>
                      <a:pt x="1045" y="126"/>
                    </a:lnTo>
                    <a:lnTo>
                      <a:pt x="1031" y="95"/>
                    </a:lnTo>
                    <a:lnTo>
                      <a:pt x="1053" y="74"/>
                    </a:lnTo>
                    <a:lnTo>
                      <a:pt x="1059" y="42"/>
                    </a:lnTo>
                    <a:lnTo>
                      <a:pt x="1045" y="42"/>
                    </a:lnTo>
                    <a:lnTo>
                      <a:pt x="1021" y="42"/>
                    </a:lnTo>
                    <a:lnTo>
                      <a:pt x="1002" y="74"/>
                    </a:lnTo>
                    <a:lnTo>
                      <a:pt x="979" y="116"/>
                    </a:lnTo>
                    <a:lnTo>
                      <a:pt x="988" y="136"/>
                    </a:lnTo>
                    <a:lnTo>
                      <a:pt x="974" y="147"/>
                    </a:lnTo>
                    <a:lnTo>
                      <a:pt x="955" y="132"/>
                    </a:lnTo>
                    <a:lnTo>
                      <a:pt x="936" y="142"/>
                    </a:lnTo>
                    <a:lnTo>
                      <a:pt x="941" y="163"/>
                    </a:lnTo>
                    <a:lnTo>
                      <a:pt x="918" y="163"/>
                    </a:lnTo>
                    <a:lnTo>
                      <a:pt x="903" y="169"/>
                    </a:lnTo>
                    <a:lnTo>
                      <a:pt x="885" y="194"/>
                    </a:lnTo>
                    <a:lnTo>
                      <a:pt x="861" y="189"/>
                    </a:lnTo>
                    <a:lnTo>
                      <a:pt x="861" y="206"/>
                    </a:lnTo>
                    <a:lnTo>
                      <a:pt x="842" y="189"/>
                    </a:lnTo>
                    <a:lnTo>
                      <a:pt x="819" y="200"/>
                    </a:lnTo>
                    <a:lnTo>
                      <a:pt x="814" y="221"/>
                    </a:lnTo>
                    <a:lnTo>
                      <a:pt x="795" y="226"/>
                    </a:lnTo>
                    <a:lnTo>
                      <a:pt x="781" y="206"/>
                    </a:lnTo>
                    <a:lnTo>
                      <a:pt x="753" y="210"/>
                    </a:lnTo>
                    <a:lnTo>
                      <a:pt x="725" y="221"/>
                    </a:lnTo>
                    <a:lnTo>
                      <a:pt x="725" y="253"/>
                    </a:lnTo>
                    <a:lnTo>
                      <a:pt x="743" y="258"/>
                    </a:lnTo>
                    <a:lnTo>
                      <a:pt x="743" y="267"/>
                    </a:lnTo>
                    <a:lnTo>
                      <a:pt x="743" y="287"/>
                    </a:lnTo>
                    <a:lnTo>
                      <a:pt x="729" y="281"/>
                    </a:lnTo>
                    <a:lnTo>
                      <a:pt x="713" y="293"/>
                    </a:lnTo>
                    <a:lnTo>
                      <a:pt x="718" y="312"/>
                    </a:lnTo>
                    <a:lnTo>
                      <a:pt x="734" y="330"/>
                    </a:lnTo>
                    <a:lnTo>
                      <a:pt x="734" y="355"/>
                    </a:lnTo>
                    <a:lnTo>
                      <a:pt x="718" y="345"/>
                    </a:lnTo>
                    <a:lnTo>
                      <a:pt x="704" y="349"/>
                    </a:lnTo>
                    <a:lnTo>
                      <a:pt x="704" y="371"/>
                    </a:lnTo>
                    <a:lnTo>
                      <a:pt x="681" y="371"/>
                    </a:lnTo>
                    <a:lnTo>
                      <a:pt x="662" y="371"/>
                    </a:lnTo>
                    <a:lnTo>
                      <a:pt x="657" y="386"/>
                    </a:lnTo>
                    <a:lnTo>
                      <a:pt x="652" y="398"/>
                    </a:lnTo>
                    <a:lnTo>
                      <a:pt x="638" y="402"/>
                    </a:lnTo>
                    <a:lnTo>
                      <a:pt x="633" y="413"/>
                    </a:lnTo>
                    <a:lnTo>
                      <a:pt x="638" y="429"/>
                    </a:lnTo>
                    <a:lnTo>
                      <a:pt x="610" y="439"/>
                    </a:lnTo>
                    <a:lnTo>
                      <a:pt x="629" y="460"/>
                    </a:lnTo>
                    <a:lnTo>
                      <a:pt x="633" y="472"/>
                    </a:lnTo>
                    <a:lnTo>
                      <a:pt x="615" y="487"/>
                    </a:lnTo>
                    <a:lnTo>
                      <a:pt x="582" y="513"/>
                    </a:lnTo>
                    <a:lnTo>
                      <a:pt x="558" y="534"/>
                    </a:lnTo>
                    <a:lnTo>
                      <a:pt x="544" y="566"/>
                    </a:lnTo>
                    <a:lnTo>
                      <a:pt x="520" y="587"/>
                    </a:lnTo>
                    <a:lnTo>
                      <a:pt x="520" y="603"/>
                    </a:lnTo>
                    <a:lnTo>
                      <a:pt x="525" y="618"/>
                    </a:lnTo>
                    <a:lnTo>
                      <a:pt x="506" y="635"/>
                    </a:lnTo>
                    <a:lnTo>
                      <a:pt x="511" y="655"/>
                    </a:lnTo>
                    <a:lnTo>
                      <a:pt x="492" y="692"/>
                    </a:lnTo>
                    <a:lnTo>
                      <a:pt x="479" y="698"/>
                    </a:lnTo>
                    <a:lnTo>
                      <a:pt x="479" y="725"/>
                    </a:lnTo>
                    <a:lnTo>
                      <a:pt x="489" y="741"/>
                    </a:lnTo>
                    <a:lnTo>
                      <a:pt x="473" y="756"/>
                    </a:lnTo>
                    <a:lnTo>
                      <a:pt x="465" y="745"/>
                    </a:lnTo>
                    <a:lnTo>
                      <a:pt x="446" y="756"/>
                    </a:lnTo>
                    <a:lnTo>
                      <a:pt x="451" y="788"/>
                    </a:lnTo>
                    <a:lnTo>
                      <a:pt x="432" y="798"/>
                    </a:lnTo>
                    <a:lnTo>
                      <a:pt x="404" y="803"/>
                    </a:lnTo>
                    <a:lnTo>
                      <a:pt x="385" y="830"/>
                    </a:lnTo>
                    <a:lnTo>
                      <a:pt x="380" y="856"/>
                    </a:lnTo>
                    <a:lnTo>
                      <a:pt x="361" y="877"/>
                    </a:lnTo>
                    <a:lnTo>
                      <a:pt x="361" y="893"/>
                    </a:lnTo>
                    <a:lnTo>
                      <a:pt x="385" y="872"/>
                    </a:lnTo>
                    <a:lnTo>
                      <a:pt x="413" y="850"/>
                    </a:lnTo>
                    <a:lnTo>
                      <a:pt x="423" y="856"/>
                    </a:lnTo>
                    <a:lnTo>
                      <a:pt x="413" y="887"/>
                    </a:lnTo>
                    <a:lnTo>
                      <a:pt x="390" y="904"/>
                    </a:lnTo>
                    <a:lnTo>
                      <a:pt x="366" y="899"/>
                    </a:lnTo>
                    <a:lnTo>
                      <a:pt x="371" y="920"/>
                    </a:lnTo>
                    <a:lnTo>
                      <a:pt x="338" y="936"/>
                    </a:lnTo>
                    <a:lnTo>
                      <a:pt x="333" y="904"/>
                    </a:lnTo>
                    <a:lnTo>
                      <a:pt x="319" y="893"/>
                    </a:lnTo>
                    <a:lnTo>
                      <a:pt x="300" y="924"/>
                    </a:lnTo>
                    <a:lnTo>
                      <a:pt x="281" y="924"/>
                    </a:lnTo>
                    <a:lnTo>
                      <a:pt x="261" y="930"/>
                    </a:lnTo>
                    <a:lnTo>
                      <a:pt x="258" y="957"/>
                    </a:lnTo>
                    <a:lnTo>
                      <a:pt x="248" y="961"/>
                    </a:lnTo>
                    <a:lnTo>
                      <a:pt x="248" y="975"/>
                    </a:lnTo>
                    <a:lnTo>
                      <a:pt x="237" y="970"/>
                    </a:lnTo>
                    <a:lnTo>
                      <a:pt x="220" y="958"/>
                    </a:lnTo>
                    <a:lnTo>
                      <a:pt x="195" y="961"/>
                    </a:lnTo>
                    <a:lnTo>
                      <a:pt x="195" y="977"/>
                    </a:lnTo>
                    <a:lnTo>
                      <a:pt x="197" y="991"/>
                    </a:lnTo>
                    <a:lnTo>
                      <a:pt x="187" y="995"/>
                    </a:lnTo>
                    <a:lnTo>
                      <a:pt x="164" y="982"/>
                    </a:lnTo>
                    <a:lnTo>
                      <a:pt x="143" y="1001"/>
                    </a:lnTo>
                    <a:lnTo>
                      <a:pt x="148" y="1017"/>
                    </a:lnTo>
                    <a:lnTo>
                      <a:pt x="145" y="1028"/>
                    </a:lnTo>
                    <a:lnTo>
                      <a:pt x="124" y="1017"/>
                    </a:lnTo>
                    <a:lnTo>
                      <a:pt x="118" y="1031"/>
                    </a:lnTo>
                    <a:lnTo>
                      <a:pt x="110" y="1041"/>
                    </a:lnTo>
                    <a:lnTo>
                      <a:pt x="85" y="1035"/>
                    </a:lnTo>
                    <a:lnTo>
                      <a:pt x="71" y="1038"/>
                    </a:lnTo>
                    <a:lnTo>
                      <a:pt x="68" y="1059"/>
                    </a:lnTo>
                    <a:lnTo>
                      <a:pt x="58" y="1065"/>
                    </a:lnTo>
                    <a:lnTo>
                      <a:pt x="44" y="1088"/>
                    </a:lnTo>
                    <a:lnTo>
                      <a:pt x="47" y="1118"/>
                    </a:lnTo>
                    <a:lnTo>
                      <a:pt x="42" y="1159"/>
                    </a:lnTo>
                    <a:lnTo>
                      <a:pt x="35" y="1202"/>
                    </a:lnTo>
                    <a:lnTo>
                      <a:pt x="30" y="1241"/>
                    </a:lnTo>
                    <a:lnTo>
                      <a:pt x="25" y="1261"/>
                    </a:lnTo>
                    <a:lnTo>
                      <a:pt x="38" y="1280"/>
                    </a:lnTo>
                    <a:lnTo>
                      <a:pt x="58" y="1264"/>
                    </a:lnTo>
                    <a:lnTo>
                      <a:pt x="72" y="1273"/>
                    </a:lnTo>
                    <a:lnTo>
                      <a:pt x="72" y="1288"/>
                    </a:lnTo>
                    <a:lnTo>
                      <a:pt x="52" y="1301"/>
                    </a:lnTo>
                    <a:lnTo>
                      <a:pt x="49" y="1328"/>
                    </a:lnTo>
                    <a:lnTo>
                      <a:pt x="44" y="1341"/>
                    </a:lnTo>
                    <a:lnTo>
                      <a:pt x="24" y="1338"/>
                    </a:lnTo>
                    <a:lnTo>
                      <a:pt x="16" y="1369"/>
                    </a:lnTo>
                    <a:lnTo>
                      <a:pt x="25" y="1378"/>
                    </a:lnTo>
                    <a:lnTo>
                      <a:pt x="44" y="1372"/>
                    </a:lnTo>
                    <a:lnTo>
                      <a:pt x="54" y="1386"/>
                    </a:lnTo>
                    <a:lnTo>
                      <a:pt x="56" y="1394"/>
                    </a:lnTo>
                    <a:lnTo>
                      <a:pt x="40" y="1405"/>
                    </a:lnTo>
                    <a:lnTo>
                      <a:pt x="42" y="1423"/>
                    </a:lnTo>
                    <a:lnTo>
                      <a:pt x="24" y="1428"/>
                    </a:lnTo>
                    <a:lnTo>
                      <a:pt x="11" y="1418"/>
                    </a:lnTo>
                    <a:lnTo>
                      <a:pt x="14" y="1443"/>
                    </a:lnTo>
                    <a:lnTo>
                      <a:pt x="11" y="1462"/>
                    </a:lnTo>
                    <a:lnTo>
                      <a:pt x="0" y="1462"/>
                    </a:lnTo>
                    <a:lnTo>
                      <a:pt x="28" y="1495"/>
                    </a:lnTo>
                    <a:lnTo>
                      <a:pt x="42" y="1513"/>
                    </a:lnTo>
                    <a:lnTo>
                      <a:pt x="49" y="1539"/>
                    </a:lnTo>
                    <a:lnTo>
                      <a:pt x="77" y="1557"/>
                    </a:lnTo>
                    <a:lnTo>
                      <a:pt x="107" y="1576"/>
                    </a:lnTo>
                    <a:lnTo>
                      <a:pt x="137" y="1576"/>
                    </a:lnTo>
                    <a:lnTo>
                      <a:pt x="178" y="1544"/>
                    </a:lnTo>
                    <a:lnTo>
                      <a:pt x="220" y="1510"/>
                    </a:lnTo>
                    <a:lnTo>
                      <a:pt x="258" y="1452"/>
                    </a:lnTo>
                    <a:lnTo>
                      <a:pt x="265" y="1446"/>
                    </a:lnTo>
                    <a:lnTo>
                      <a:pt x="275" y="1465"/>
                    </a:lnTo>
                    <a:lnTo>
                      <a:pt x="294" y="1452"/>
                    </a:lnTo>
                    <a:lnTo>
                      <a:pt x="300" y="1431"/>
                    </a:lnTo>
                    <a:lnTo>
                      <a:pt x="302" y="1405"/>
                    </a:lnTo>
                    <a:lnTo>
                      <a:pt x="321" y="1372"/>
                    </a:lnTo>
                    <a:lnTo>
                      <a:pt x="314" y="1409"/>
                    </a:lnTo>
                    <a:lnTo>
                      <a:pt x="324" y="1415"/>
                    </a:lnTo>
                    <a:lnTo>
                      <a:pt x="319" y="1431"/>
                    </a:lnTo>
                    <a:lnTo>
                      <a:pt x="324" y="1459"/>
                    </a:lnTo>
                    <a:lnTo>
                      <a:pt x="333" y="1483"/>
                    </a:lnTo>
                    <a:lnTo>
                      <a:pt x="344" y="1476"/>
                    </a:lnTo>
                    <a:lnTo>
                      <a:pt x="343" y="1483"/>
                    </a:lnTo>
                    <a:close/>
                  </a:path>
                </a:pathLst>
              </a:custGeom>
              <a:solidFill>
                <a:srgbClr val="DCE6F2"/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1" name="Freeform 553"/>
              <p:cNvSpPr>
                <a:spLocks noChangeAspect="1"/>
              </p:cNvSpPr>
              <p:nvPr/>
            </p:nvSpPr>
            <p:spPr bwMode="auto">
              <a:xfrm>
                <a:off x="2537422" y="1148650"/>
                <a:ext cx="36" cy="42"/>
              </a:xfrm>
              <a:custGeom>
                <a:avLst/>
                <a:gdLst>
                  <a:gd name="T0" fmla="*/ 38 w 38"/>
                  <a:gd name="T1" fmla="*/ 9 h 56"/>
                  <a:gd name="T2" fmla="*/ 34 w 38"/>
                  <a:gd name="T3" fmla="*/ 21 h 56"/>
                  <a:gd name="T4" fmla="*/ 38 w 38"/>
                  <a:gd name="T5" fmla="*/ 47 h 56"/>
                  <a:gd name="T6" fmla="*/ 11 w 38"/>
                  <a:gd name="T7" fmla="*/ 56 h 56"/>
                  <a:gd name="T8" fmla="*/ 0 w 38"/>
                  <a:gd name="T9" fmla="*/ 43 h 56"/>
                  <a:gd name="T10" fmla="*/ 0 w 38"/>
                  <a:gd name="T11" fmla="*/ 21 h 56"/>
                  <a:gd name="T12" fmla="*/ 8 w 38"/>
                  <a:gd name="T13" fmla="*/ 0 h 56"/>
                  <a:gd name="T14" fmla="*/ 38 w 38"/>
                  <a:gd name="T15" fmla="*/ 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56">
                    <a:moveTo>
                      <a:pt x="38" y="9"/>
                    </a:moveTo>
                    <a:lnTo>
                      <a:pt x="34" y="21"/>
                    </a:lnTo>
                    <a:lnTo>
                      <a:pt x="38" y="47"/>
                    </a:lnTo>
                    <a:lnTo>
                      <a:pt x="11" y="56"/>
                    </a:lnTo>
                    <a:lnTo>
                      <a:pt x="0" y="43"/>
                    </a:lnTo>
                    <a:lnTo>
                      <a:pt x="0" y="21"/>
                    </a:lnTo>
                    <a:lnTo>
                      <a:pt x="8" y="0"/>
                    </a:lnTo>
                    <a:lnTo>
                      <a:pt x="38" y="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2" name="Freeform 554"/>
              <p:cNvSpPr>
                <a:spLocks noChangeAspect="1"/>
              </p:cNvSpPr>
              <p:nvPr/>
            </p:nvSpPr>
            <p:spPr bwMode="auto">
              <a:xfrm>
                <a:off x="2537367" y="1148679"/>
                <a:ext cx="32" cy="22"/>
              </a:xfrm>
              <a:custGeom>
                <a:avLst/>
                <a:gdLst>
                  <a:gd name="T0" fmla="*/ 31 w 34"/>
                  <a:gd name="T1" fmla="*/ 0 h 30"/>
                  <a:gd name="T2" fmla="*/ 34 w 34"/>
                  <a:gd name="T3" fmla="*/ 22 h 30"/>
                  <a:gd name="T4" fmla="*/ 8 w 34"/>
                  <a:gd name="T5" fmla="*/ 30 h 30"/>
                  <a:gd name="T6" fmla="*/ 0 w 34"/>
                  <a:gd name="T7" fmla="*/ 9 h 30"/>
                  <a:gd name="T8" fmla="*/ 31 w 34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0">
                    <a:moveTo>
                      <a:pt x="31" y="0"/>
                    </a:moveTo>
                    <a:lnTo>
                      <a:pt x="34" y="22"/>
                    </a:lnTo>
                    <a:lnTo>
                      <a:pt x="8" y="30"/>
                    </a:lnTo>
                    <a:lnTo>
                      <a:pt x="0" y="9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3" name="Freeform 555"/>
              <p:cNvSpPr>
                <a:spLocks noChangeAspect="1"/>
              </p:cNvSpPr>
              <p:nvPr/>
            </p:nvSpPr>
            <p:spPr bwMode="auto">
              <a:xfrm>
                <a:off x="2537376" y="1148632"/>
                <a:ext cx="40" cy="27"/>
              </a:xfrm>
              <a:custGeom>
                <a:avLst/>
                <a:gdLst>
                  <a:gd name="T0" fmla="*/ 0 w 41"/>
                  <a:gd name="T1" fmla="*/ 23 h 36"/>
                  <a:gd name="T2" fmla="*/ 30 w 41"/>
                  <a:gd name="T3" fmla="*/ 36 h 36"/>
                  <a:gd name="T4" fmla="*/ 41 w 41"/>
                  <a:gd name="T5" fmla="*/ 9 h 36"/>
                  <a:gd name="T6" fmla="*/ 22 w 41"/>
                  <a:gd name="T7" fmla="*/ 0 h 36"/>
                  <a:gd name="T8" fmla="*/ 11 w 41"/>
                  <a:gd name="T9" fmla="*/ 9 h 36"/>
                  <a:gd name="T10" fmla="*/ 0 w 41"/>
                  <a:gd name="T11" fmla="*/ 16 h 36"/>
                  <a:gd name="T12" fmla="*/ 0 w 41"/>
                  <a:gd name="T13" fmla="*/ 2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36">
                    <a:moveTo>
                      <a:pt x="0" y="23"/>
                    </a:moveTo>
                    <a:lnTo>
                      <a:pt x="30" y="36"/>
                    </a:lnTo>
                    <a:lnTo>
                      <a:pt x="41" y="9"/>
                    </a:lnTo>
                    <a:lnTo>
                      <a:pt x="22" y="0"/>
                    </a:lnTo>
                    <a:lnTo>
                      <a:pt x="11" y="9"/>
                    </a:lnTo>
                    <a:lnTo>
                      <a:pt x="0" y="16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4" name="Freeform 556"/>
              <p:cNvSpPr>
                <a:spLocks noChangeAspect="1"/>
              </p:cNvSpPr>
              <p:nvPr/>
            </p:nvSpPr>
            <p:spPr bwMode="auto">
              <a:xfrm>
                <a:off x="2537422" y="1148608"/>
                <a:ext cx="29" cy="17"/>
              </a:xfrm>
              <a:custGeom>
                <a:avLst/>
                <a:gdLst>
                  <a:gd name="T0" fmla="*/ 0 w 30"/>
                  <a:gd name="T1" fmla="*/ 22 h 22"/>
                  <a:gd name="T2" fmla="*/ 23 w 30"/>
                  <a:gd name="T3" fmla="*/ 0 h 22"/>
                  <a:gd name="T4" fmla="*/ 30 w 30"/>
                  <a:gd name="T5" fmla="*/ 8 h 22"/>
                  <a:gd name="T6" fmla="*/ 0 w 30"/>
                  <a:gd name="T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2">
                    <a:moveTo>
                      <a:pt x="0" y="22"/>
                    </a:moveTo>
                    <a:lnTo>
                      <a:pt x="23" y="0"/>
                    </a:lnTo>
                    <a:lnTo>
                      <a:pt x="30" y="8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5" name="Freeform 557"/>
              <p:cNvSpPr>
                <a:spLocks noChangeAspect="1"/>
              </p:cNvSpPr>
              <p:nvPr/>
            </p:nvSpPr>
            <p:spPr bwMode="auto">
              <a:xfrm>
                <a:off x="2537321" y="1148688"/>
                <a:ext cx="20" cy="19"/>
              </a:xfrm>
              <a:custGeom>
                <a:avLst/>
                <a:gdLst>
                  <a:gd name="T0" fmla="*/ 19 w 23"/>
                  <a:gd name="T1" fmla="*/ 0 h 26"/>
                  <a:gd name="T2" fmla="*/ 23 w 23"/>
                  <a:gd name="T3" fmla="*/ 22 h 26"/>
                  <a:gd name="T4" fmla="*/ 0 w 23"/>
                  <a:gd name="T5" fmla="*/ 26 h 26"/>
                  <a:gd name="T6" fmla="*/ 19 w 23"/>
                  <a:gd name="T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6">
                    <a:moveTo>
                      <a:pt x="19" y="0"/>
                    </a:moveTo>
                    <a:lnTo>
                      <a:pt x="23" y="22"/>
                    </a:lnTo>
                    <a:lnTo>
                      <a:pt x="0" y="26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6" name="Freeform 558"/>
              <p:cNvSpPr>
                <a:spLocks noChangeAspect="1"/>
              </p:cNvSpPr>
              <p:nvPr/>
            </p:nvSpPr>
            <p:spPr bwMode="auto">
              <a:xfrm>
                <a:off x="2537543" y="1148555"/>
                <a:ext cx="40" cy="29"/>
              </a:xfrm>
              <a:custGeom>
                <a:avLst/>
                <a:gdLst>
                  <a:gd name="T0" fmla="*/ 19 w 42"/>
                  <a:gd name="T1" fmla="*/ 0 h 38"/>
                  <a:gd name="T2" fmla="*/ 0 w 42"/>
                  <a:gd name="T3" fmla="*/ 17 h 38"/>
                  <a:gd name="T4" fmla="*/ 27 w 42"/>
                  <a:gd name="T5" fmla="*/ 38 h 38"/>
                  <a:gd name="T6" fmla="*/ 42 w 42"/>
                  <a:gd name="T7" fmla="*/ 17 h 38"/>
                  <a:gd name="T8" fmla="*/ 19 w 42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8">
                    <a:moveTo>
                      <a:pt x="19" y="0"/>
                    </a:moveTo>
                    <a:lnTo>
                      <a:pt x="0" y="17"/>
                    </a:lnTo>
                    <a:lnTo>
                      <a:pt x="27" y="38"/>
                    </a:lnTo>
                    <a:lnTo>
                      <a:pt x="42" y="17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7" name="Freeform 559"/>
              <p:cNvSpPr>
                <a:spLocks noChangeAspect="1"/>
              </p:cNvSpPr>
              <p:nvPr/>
            </p:nvSpPr>
            <p:spPr bwMode="auto">
              <a:xfrm>
                <a:off x="2537579" y="1148530"/>
                <a:ext cx="40" cy="28"/>
              </a:xfrm>
              <a:custGeom>
                <a:avLst/>
                <a:gdLst>
                  <a:gd name="T0" fmla="*/ 0 w 42"/>
                  <a:gd name="T1" fmla="*/ 13 h 38"/>
                  <a:gd name="T2" fmla="*/ 19 w 42"/>
                  <a:gd name="T3" fmla="*/ 38 h 38"/>
                  <a:gd name="T4" fmla="*/ 42 w 42"/>
                  <a:gd name="T5" fmla="*/ 21 h 38"/>
                  <a:gd name="T6" fmla="*/ 23 w 42"/>
                  <a:gd name="T7" fmla="*/ 0 h 38"/>
                  <a:gd name="T8" fmla="*/ 0 w 42"/>
                  <a:gd name="T9" fmla="*/ 1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8">
                    <a:moveTo>
                      <a:pt x="0" y="13"/>
                    </a:moveTo>
                    <a:lnTo>
                      <a:pt x="19" y="38"/>
                    </a:lnTo>
                    <a:lnTo>
                      <a:pt x="42" y="21"/>
                    </a:lnTo>
                    <a:lnTo>
                      <a:pt x="23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8" name="Freeform 560"/>
              <p:cNvSpPr>
                <a:spLocks noChangeAspect="1"/>
              </p:cNvSpPr>
              <p:nvPr/>
            </p:nvSpPr>
            <p:spPr bwMode="auto">
              <a:xfrm>
                <a:off x="2537682" y="1148475"/>
                <a:ext cx="58" cy="35"/>
              </a:xfrm>
              <a:custGeom>
                <a:avLst/>
                <a:gdLst>
                  <a:gd name="T0" fmla="*/ 26 w 60"/>
                  <a:gd name="T1" fmla="*/ 13 h 47"/>
                  <a:gd name="T2" fmla="*/ 38 w 60"/>
                  <a:gd name="T3" fmla="*/ 22 h 47"/>
                  <a:gd name="T4" fmla="*/ 60 w 60"/>
                  <a:gd name="T5" fmla="*/ 0 h 47"/>
                  <a:gd name="T6" fmla="*/ 49 w 60"/>
                  <a:gd name="T7" fmla="*/ 43 h 47"/>
                  <a:gd name="T8" fmla="*/ 26 w 60"/>
                  <a:gd name="T9" fmla="*/ 47 h 47"/>
                  <a:gd name="T10" fmla="*/ 0 w 60"/>
                  <a:gd name="T11" fmla="*/ 17 h 47"/>
                  <a:gd name="T12" fmla="*/ 26 w 60"/>
                  <a:gd name="T13" fmla="*/ 1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47">
                    <a:moveTo>
                      <a:pt x="26" y="13"/>
                    </a:moveTo>
                    <a:lnTo>
                      <a:pt x="38" y="22"/>
                    </a:lnTo>
                    <a:lnTo>
                      <a:pt x="60" y="0"/>
                    </a:lnTo>
                    <a:lnTo>
                      <a:pt x="49" y="43"/>
                    </a:lnTo>
                    <a:lnTo>
                      <a:pt x="26" y="47"/>
                    </a:lnTo>
                    <a:lnTo>
                      <a:pt x="0" y="17"/>
                    </a:lnTo>
                    <a:lnTo>
                      <a:pt x="26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89" name="Freeform 561"/>
              <p:cNvSpPr>
                <a:spLocks noChangeAspect="1"/>
              </p:cNvSpPr>
              <p:nvPr/>
            </p:nvSpPr>
            <p:spPr bwMode="auto">
              <a:xfrm>
                <a:off x="2537792" y="1148442"/>
                <a:ext cx="27" cy="19"/>
              </a:xfrm>
              <a:custGeom>
                <a:avLst/>
                <a:gdLst>
                  <a:gd name="T0" fmla="*/ 15 w 31"/>
                  <a:gd name="T1" fmla="*/ 0 h 25"/>
                  <a:gd name="T2" fmla="*/ 27 w 31"/>
                  <a:gd name="T3" fmla="*/ 8 h 25"/>
                  <a:gd name="T4" fmla="*/ 31 w 31"/>
                  <a:gd name="T5" fmla="*/ 25 h 25"/>
                  <a:gd name="T6" fmla="*/ 0 w 31"/>
                  <a:gd name="T7" fmla="*/ 25 h 25"/>
                  <a:gd name="T8" fmla="*/ 15 w 31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5">
                    <a:moveTo>
                      <a:pt x="15" y="0"/>
                    </a:moveTo>
                    <a:lnTo>
                      <a:pt x="27" y="8"/>
                    </a:lnTo>
                    <a:lnTo>
                      <a:pt x="31" y="25"/>
                    </a:lnTo>
                    <a:lnTo>
                      <a:pt x="0" y="25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90" name="Freeform 562"/>
              <p:cNvSpPr>
                <a:spLocks noChangeAspect="1"/>
              </p:cNvSpPr>
              <p:nvPr/>
            </p:nvSpPr>
            <p:spPr bwMode="auto">
              <a:xfrm>
                <a:off x="2537065" y="1149099"/>
                <a:ext cx="43" cy="24"/>
              </a:xfrm>
              <a:custGeom>
                <a:avLst/>
                <a:gdLst>
                  <a:gd name="T0" fmla="*/ 46 w 46"/>
                  <a:gd name="T1" fmla="*/ 17 h 29"/>
                  <a:gd name="T2" fmla="*/ 12 w 46"/>
                  <a:gd name="T3" fmla="*/ 0 h 29"/>
                  <a:gd name="T4" fmla="*/ 0 w 46"/>
                  <a:gd name="T5" fmla="*/ 12 h 29"/>
                  <a:gd name="T6" fmla="*/ 4 w 46"/>
                  <a:gd name="T7" fmla="*/ 29 h 29"/>
                  <a:gd name="T8" fmla="*/ 46 w 46"/>
                  <a:gd name="T9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29">
                    <a:moveTo>
                      <a:pt x="46" y="17"/>
                    </a:moveTo>
                    <a:lnTo>
                      <a:pt x="12" y="0"/>
                    </a:lnTo>
                    <a:lnTo>
                      <a:pt x="0" y="12"/>
                    </a:lnTo>
                    <a:lnTo>
                      <a:pt x="4" y="29"/>
                    </a:lnTo>
                    <a:lnTo>
                      <a:pt x="46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sp>
          <p:nvSpPr>
            <p:cNvPr id="29" name="MK"/>
            <p:cNvSpPr>
              <a:spLocks noChangeAspect="1"/>
            </p:cNvSpPr>
            <p:nvPr/>
          </p:nvSpPr>
          <p:spPr bwMode="auto">
            <a:xfrm>
              <a:off x="6932613" y="5165725"/>
              <a:ext cx="306387" cy="203200"/>
            </a:xfrm>
            <a:custGeom>
              <a:avLst/>
              <a:gdLst>
                <a:gd name="T0" fmla="*/ 8 w 205"/>
                <a:gd name="T1" fmla="*/ 47 h 156"/>
                <a:gd name="T2" fmla="*/ 43 w 205"/>
                <a:gd name="T3" fmla="*/ 20 h 156"/>
                <a:gd name="T4" fmla="*/ 66 w 205"/>
                <a:gd name="T5" fmla="*/ 15 h 156"/>
                <a:gd name="T6" fmla="*/ 89 w 205"/>
                <a:gd name="T7" fmla="*/ 8 h 156"/>
                <a:gd name="T8" fmla="*/ 108 w 205"/>
                <a:gd name="T9" fmla="*/ 8 h 156"/>
                <a:gd name="T10" fmla="*/ 127 w 205"/>
                <a:gd name="T11" fmla="*/ 0 h 156"/>
                <a:gd name="T12" fmla="*/ 159 w 205"/>
                <a:gd name="T13" fmla="*/ 8 h 156"/>
                <a:gd name="T14" fmla="*/ 178 w 205"/>
                <a:gd name="T15" fmla="*/ 7 h 156"/>
                <a:gd name="T16" fmla="*/ 197 w 205"/>
                <a:gd name="T17" fmla="*/ 28 h 156"/>
                <a:gd name="T18" fmla="*/ 195 w 205"/>
                <a:gd name="T19" fmla="*/ 89 h 156"/>
                <a:gd name="T20" fmla="*/ 205 w 205"/>
                <a:gd name="T21" fmla="*/ 97 h 156"/>
                <a:gd name="T22" fmla="*/ 191 w 205"/>
                <a:gd name="T23" fmla="*/ 122 h 156"/>
                <a:gd name="T24" fmla="*/ 146 w 205"/>
                <a:gd name="T25" fmla="*/ 132 h 156"/>
                <a:gd name="T26" fmla="*/ 127 w 205"/>
                <a:gd name="T27" fmla="*/ 126 h 156"/>
                <a:gd name="T28" fmla="*/ 114 w 205"/>
                <a:gd name="T29" fmla="*/ 156 h 156"/>
                <a:gd name="T30" fmla="*/ 80 w 205"/>
                <a:gd name="T31" fmla="*/ 153 h 156"/>
                <a:gd name="T32" fmla="*/ 66 w 205"/>
                <a:gd name="T33" fmla="*/ 149 h 156"/>
                <a:gd name="T34" fmla="*/ 46 w 205"/>
                <a:gd name="T35" fmla="*/ 148 h 156"/>
                <a:gd name="T36" fmla="*/ 34 w 205"/>
                <a:gd name="T37" fmla="*/ 135 h 156"/>
                <a:gd name="T38" fmla="*/ 27 w 205"/>
                <a:gd name="T39" fmla="*/ 139 h 156"/>
                <a:gd name="T40" fmla="*/ 11 w 205"/>
                <a:gd name="T41" fmla="*/ 126 h 156"/>
                <a:gd name="T42" fmla="*/ 0 w 205"/>
                <a:gd name="T43" fmla="*/ 89 h 156"/>
                <a:gd name="T44" fmla="*/ 9 w 205"/>
                <a:gd name="T45" fmla="*/ 71 h 156"/>
                <a:gd name="T46" fmla="*/ 8 w 205"/>
                <a:gd name="T47" fmla="*/ 4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5" h="156">
                  <a:moveTo>
                    <a:pt x="8" y="47"/>
                  </a:moveTo>
                  <a:lnTo>
                    <a:pt x="43" y="20"/>
                  </a:lnTo>
                  <a:lnTo>
                    <a:pt x="66" y="15"/>
                  </a:lnTo>
                  <a:lnTo>
                    <a:pt x="89" y="8"/>
                  </a:lnTo>
                  <a:lnTo>
                    <a:pt x="108" y="8"/>
                  </a:lnTo>
                  <a:lnTo>
                    <a:pt x="127" y="0"/>
                  </a:lnTo>
                  <a:lnTo>
                    <a:pt x="159" y="8"/>
                  </a:lnTo>
                  <a:lnTo>
                    <a:pt x="178" y="7"/>
                  </a:lnTo>
                  <a:lnTo>
                    <a:pt x="197" y="28"/>
                  </a:lnTo>
                  <a:lnTo>
                    <a:pt x="195" y="89"/>
                  </a:lnTo>
                  <a:lnTo>
                    <a:pt x="205" y="97"/>
                  </a:lnTo>
                  <a:lnTo>
                    <a:pt x="191" y="122"/>
                  </a:lnTo>
                  <a:lnTo>
                    <a:pt x="146" y="132"/>
                  </a:lnTo>
                  <a:lnTo>
                    <a:pt x="127" y="126"/>
                  </a:lnTo>
                  <a:lnTo>
                    <a:pt x="114" y="156"/>
                  </a:lnTo>
                  <a:lnTo>
                    <a:pt x="80" y="153"/>
                  </a:lnTo>
                  <a:lnTo>
                    <a:pt x="66" y="149"/>
                  </a:lnTo>
                  <a:lnTo>
                    <a:pt x="46" y="148"/>
                  </a:lnTo>
                  <a:lnTo>
                    <a:pt x="34" y="135"/>
                  </a:lnTo>
                  <a:lnTo>
                    <a:pt x="27" y="139"/>
                  </a:lnTo>
                  <a:lnTo>
                    <a:pt x="11" y="126"/>
                  </a:lnTo>
                  <a:lnTo>
                    <a:pt x="0" y="89"/>
                  </a:lnTo>
                  <a:lnTo>
                    <a:pt x="9" y="71"/>
                  </a:lnTo>
                  <a:lnTo>
                    <a:pt x="8" y="4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30" name="PT"/>
            <p:cNvSpPr>
              <a:spLocks noChangeAspect="1"/>
            </p:cNvSpPr>
            <p:nvPr/>
          </p:nvSpPr>
          <p:spPr bwMode="auto">
            <a:xfrm>
              <a:off x="3048000" y="4589463"/>
              <a:ext cx="574675" cy="735012"/>
            </a:xfrm>
            <a:custGeom>
              <a:avLst/>
              <a:gdLst>
                <a:gd name="T0" fmla="*/ 224 w 388"/>
                <a:gd name="T1" fmla="*/ 0 h 619"/>
                <a:gd name="T2" fmla="*/ 246 w 388"/>
                <a:gd name="T3" fmla="*/ 53 h 619"/>
                <a:gd name="T4" fmla="*/ 267 w 388"/>
                <a:gd name="T5" fmla="*/ 54 h 619"/>
                <a:gd name="T6" fmla="*/ 324 w 388"/>
                <a:gd name="T7" fmla="*/ 64 h 619"/>
                <a:gd name="T8" fmla="*/ 353 w 388"/>
                <a:gd name="T9" fmla="*/ 80 h 619"/>
                <a:gd name="T10" fmla="*/ 377 w 388"/>
                <a:gd name="T11" fmla="*/ 127 h 619"/>
                <a:gd name="T12" fmla="*/ 384 w 388"/>
                <a:gd name="T13" fmla="*/ 147 h 619"/>
                <a:gd name="T14" fmla="*/ 314 w 388"/>
                <a:gd name="T15" fmla="*/ 179 h 619"/>
                <a:gd name="T16" fmla="*/ 294 w 388"/>
                <a:gd name="T17" fmla="*/ 238 h 619"/>
                <a:gd name="T18" fmla="*/ 274 w 388"/>
                <a:gd name="T19" fmla="*/ 292 h 619"/>
                <a:gd name="T20" fmla="*/ 260 w 388"/>
                <a:gd name="T21" fmla="*/ 333 h 619"/>
                <a:gd name="T22" fmla="*/ 228 w 388"/>
                <a:gd name="T23" fmla="*/ 323 h 619"/>
                <a:gd name="T24" fmla="*/ 222 w 388"/>
                <a:gd name="T25" fmla="*/ 366 h 619"/>
                <a:gd name="T26" fmla="*/ 225 w 388"/>
                <a:gd name="T27" fmla="*/ 407 h 619"/>
                <a:gd name="T28" fmla="*/ 196 w 388"/>
                <a:gd name="T29" fmla="*/ 445 h 619"/>
                <a:gd name="T30" fmla="*/ 192 w 388"/>
                <a:gd name="T31" fmla="*/ 502 h 619"/>
                <a:gd name="T32" fmla="*/ 198 w 388"/>
                <a:gd name="T33" fmla="*/ 536 h 619"/>
                <a:gd name="T34" fmla="*/ 147 w 388"/>
                <a:gd name="T35" fmla="*/ 565 h 619"/>
                <a:gd name="T36" fmla="*/ 146 w 388"/>
                <a:gd name="T37" fmla="*/ 613 h 619"/>
                <a:gd name="T38" fmla="*/ 75 w 388"/>
                <a:gd name="T39" fmla="*/ 619 h 619"/>
                <a:gd name="T40" fmla="*/ 24 w 388"/>
                <a:gd name="T41" fmla="*/ 576 h 619"/>
                <a:gd name="T42" fmla="*/ 0 w 388"/>
                <a:gd name="T43" fmla="*/ 561 h 619"/>
                <a:gd name="T44" fmla="*/ 28 w 388"/>
                <a:gd name="T45" fmla="*/ 514 h 619"/>
                <a:gd name="T46" fmla="*/ 61 w 388"/>
                <a:gd name="T47" fmla="*/ 445 h 619"/>
                <a:gd name="T48" fmla="*/ 56 w 388"/>
                <a:gd name="T49" fmla="*/ 408 h 619"/>
                <a:gd name="T50" fmla="*/ 38 w 388"/>
                <a:gd name="T51" fmla="*/ 386 h 619"/>
                <a:gd name="T52" fmla="*/ 66 w 388"/>
                <a:gd name="T53" fmla="*/ 359 h 619"/>
                <a:gd name="T54" fmla="*/ 28 w 388"/>
                <a:gd name="T55" fmla="*/ 364 h 619"/>
                <a:gd name="T56" fmla="*/ 38 w 388"/>
                <a:gd name="T57" fmla="*/ 322 h 619"/>
                <a:gd name="T58" fmla="*/ 52 w 388"/>
                <a:gd name="T59" fmla="*/ 285 h 619"/>
                <a:gd name="T60" fmla="*/ 66 w 388"/>
                <a:gd name="T61" fmla="*/ 265 h 619"/>
                <a:gd name="T62" fmla="*/ 104 w 388"/>
                <a:gd name="T63" fmla="*/ 238 h 619"/>
                <a:gd name="T64" fmla="*/ 155 w 388"/>
                <a:gd name="T65" fmla="*/ 164 h 619"/>
                <a:gd name="T66" fmla="*/ 174 w 388"/>
                <a:gd name="T67" fmla="*/ 111 h 619"/>
                <a:gd name="T68" fmla="*/ 187 w 388"/>
                <a:gd name="T69" fmla="*/ 54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8" h="619">
                  <a:moveTo>
                    <a:pt x="196" y="6"/>
                  </a:moveTo>
                  <a:lnTo>
                    <a:pt x="224" y="0"/>
                  </a:lnTo>
                  <a:lnTo>
                    <a:pt x="243" y="24"/>
                  </a:lnTo>
                  <a:lnTo>
                    <a:pt x="246" y="53"/>
                  </a:lnTo>
                  <a:lnTo>
                    <a:pt x="253" y="59"/>
                  </a:lnTo>
                  <a:lnTo>
                    <a:pt x="267" y="54"/>
                  </a:lnTo>
                  <a:lnTo>
                    <a:pt x="312" y="74"/>
                  </a:lnTo>
                  <a:lnTo>
                    <a:pt x="324" y="64"/>
                  </a:lnTo>
                  <a:lnTo>
                    <a:pt x="342" y="63"/>
                  </a:lnTo>
                  <a:lnTo>
                    <a:pt x="353" y="80"/>
                  </a:lnTo>
                  <a:lnTo>
                    <a:pt x="363" y="108"/>
                  </a:lnTo>
                  <a:lnTo>
                    <a:pt x="377" y="127"/>
                  </a:lnTo>
                  <a:lnTo>
                    <a:pt x="388" y="137"/>
                  </a:lnTo>
                  <a:lnTo>
                    <a:pt x="384" y="147"/>
                  </a:lnTo>
                  <a:lnTo>
                    <a:pt x="351" y="157"/>
                  </a:lnTo>
                  <a:lnTo>
                    <a:pt x="314" y="179"/>
                  </a:lnTo>
                  <a:lnTo>
                    <a:pt x="315" y="218"/>
                  </a:lnTo>
                  <a:lnTo>
                    <a:pt x="294" y="238"/>
                  </a:lnTo>
                  <a:lnTo>
                    <a:pt x="276" y="255"/>
                  </a:lnTo>
                  <a:lnTo>
                    <a:pt x="274" y="292"/>
                  </a:lnTo>
                  <a:lnTo>
                    <a:pt x="274" y="316"/>
                  </a:lnTo>
                  <a:lnTo>
                    <a:pt x="260" y="333"/>
                  </a:lnTo>
                  <a:lnTo>
                    <a:pt x="248" y="316"/>
                  </a:lnTo>
                  <a:lnTo>
                    <a:pt x="228" y="323"/>
                  </a:lnTo>
                  <a:lnTo>
                    <a:pt x="225" y="335"/>
                  </a:lnTo>
                  <a:lnTo>
                    <a:pt x="222" y="366"/>
                  </a:lnTo>
                  <a:lnTo>
                    <a:pt x="229" y="377"/>
                  </a:lnTo>
                  <a:lnTo>
                    <a:pt x="225" y="407"/>
                  </a:lnTo>
                  <a:lnTo>
                    <a:pt x="213" y="421"/>
                  </a:lnTo>
                  <a:lnTo>
                    <a:pt x="196" y="445"/>
                  </a:lnTo>
                  <a:lnTo>
                    <a:pt x="189" y="465"/>
                  </a:lnTo>
                  <a:lnTo>
                    <a:pt x="192" y="502"/>
                  </a:lnTo>
                  <a:lnTo>
                    <a:pt x="206" y="524"/>
                  </a:lnTo>
                  <a:lnTo>
                    <a:pt x="198" y="536"/>
                  </a:lnTo>
                  <a:lnTo>
                    <a:pt x="161" y="549"/>
                  </a:lnTo>
                  <a:lnTo>
                    <a:pt x="147" y="565"/>
                  </a:lnTo>
                  <a:lnTo>
                    <a:pt x="146" y="582"/>
                  </a:lnTo>
                  <a:lnTo>
                    <a:pt x="146" y="613"/>
                  </a:lnTo>
                  <a:lnTo>
                    <a:pt x="104" y="613"/>
                  </a:lnTo>
                  <a:lnTo>
                    <a:pt x="75" y="619"/>
                  </a:lnTo>
                  <a:lnTo>
                    <a:pt x="42" y="576"/>
                  </a:lnTo>
                  <a:lnTo>
                    <a:pt x="24" y="576"/>
                  </a:lnTo>
                  <a:lnTo>
                    <a:pt x="9" y="576"/>
                  </a:lnTo>
                  <a:lnTo>
                    <a:pt x="0" y="561"/>
                  </a:lnTo>
                  <a:lnTo>
                    <a:pt x="9" y="545"/>
                  </a:lnTo>
                  <a:lnTo>
                    <a:pt x="28" y="514"/>
                  </a:lnTo>
                  <a:lnTo>
                    <a:pt x="38" y="482"/>
                  </a:lnTo>
                  <a:lnTo>
                    <a:pt x="61" y="445"/>
                  </a:lnTo>
                  <a:lnTo>
                    <a:pt x="66" y="424"/>
                  </a:lnTo>
                  <a:lnTo>
                    <a:pt x="56" y="408"/>
                  </a:lnTo>
                  <a:lnTo>
                    <a:pt x="42" y="394"/>
                  </a:lnTo>
                  <a:lnTo>
                    <a:pt x="38" y="386"/>
                  </a:lnTo>
                  <a:lnTo>
                    <a:pt x="56" y="380"/>
                  </a:lnTo>
                  <a:lnTo>
                    <a:pt x="66" y="359"/>
                  </a:lnTo>
                  <a:lnTo>
                    <a:pt x="47" y="353"/>
                  </a:lnTo>
                  <a:lnTo>
                    <a:pt x="28" y="364"/>
                  </a:lnTo>
                  <a:lnTo>
                    <a:pt x="28" y="337"/>
                  </a:lnTo>
                  <a:lnTo>
                    <a:pt x="38" y="322"/>
                  </a:lnTo>
                  <a:lnTo>
                    <a:pt x="47" y="306"/>
                  </a:lnTo>
                  <a:lnTo>
                    <a:pt x="52" y="285"/>
                  </a:lnTo>
                  <a:lnTo>
                    <a:pt x="56" y="269"/>
                  </a:lnTo>
                  <a:lnTo>
                    <a:pt x="66" y="265"/>
                  </a:lnTo>
                  <a:lnTo>
                    <a:pt x="80" y="275"/>
                  </a:lnTo>
                  <a:lnTo>
                    <a:pt x="104" y="238"/>
                  </a:lnTo>
                  <a:lnTo>
                    <a:pt x="118" y="212"/>
                  </a:lnTo>
                  <a:lnTo>
                    <a:pt x="155" y="164"/>
                  </a:lnTo>
                  <a:lnTo>
                    <a:pt x="155" y="144"/>
                  </a:lnTo>
                  <a:lnTo>
                    <a:pt x="174" y="111"/>
                  </a:lnTo>
                  <a:lnTo>
                    <a:pt x="179" y="74"/>
                  </a:lnTo>
                  <a:lnTo>
                    <a:pt x="187" y="54"/>
                  </a:lnTo>
                  <a:lnTo>
                    <a:pt x="196" y="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grpSp>
          <p:nvGrpSpPr>
            <p:cNvPr id="31" name="ES"/>
            <p:cNvGrpSpPr>
              <a:grpSpLocks/>
            </p:cNvGrpSpPr>
            <p:nvPr/>
          </p:nvGrpSpPr>
          <p:grpSpPr bwMode="auto">
            <a:xfrm>
              <a:off x="3260628" y="4351278"/>
              <a:ext cx="1579555" cy="1219185"/>
              <a:chOff x="212709" y="4669452"/>
              <a:chExt cx="724" cy="631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76" name="Freeform 548"/>
              <p:cNvSpPr>
                <a:spLocks noChangeAspect="1"/>
              </p:cNvSpPr>
              <p:nvPr/>
            </p:nvSpPr>
            <p:spPr bwMode="auto">
              <a:xfrm>
                <a:off x="213239" y="4669976"/>
                <a:ext cx="27" cy="20"/>
              </a:xfrm>
              <a:custGeom>
                <a:avLst/>
                <a:gdLst>
                  <a:gd name="T0" fmla="*/ 39 w 39"/>
                  <a:gd name="T1" fmla="*/ 0 h 31"/>
                  <a:gd name="T2" fmla="*/ 20 w 39"/>
                  <a:gd name="T3" fmla="*/ 0 h 31"/>
                  <a:gd name="T4" fmla="*/ 0 w 39"/>
                  <a:gd name="T5" fmla="*/ 21 h 31"/>
                  <a:gd name="T6" fmla="*/ 10 w 39"/>
                  <a:gd name="T7" fmla="*/ 31 h 31"/>
                  <a:gd name="T8" fmla="*/ 29 w 39"/>
                  <a:gd name="T9" fmla="*/ 31 h 31"/>
                  <a:gd name="T10" fmla="*/ 39 w 39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31">
                    <a:moveTo>
                      <a:pt x="39" y="0"/>
                    </a:moveTo>
                    <a:lnTo>
                      <a:pt x="20" y="0"/>
                    </a:lnTo>
                    <a:lnTo>
                      <a:pt x="0" y="21"/>
                    </a:lnTo>
                    <a:lnTo>
                      <a:pt x="10" y="31"/>
                    </a:lnTo>
                    <a:lnTo>
                      <a:pt x="29" y="31"/>
                    </a:lnTo>
                    <a:lnTo>
                      <a:pt x="39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7" name="Freeform 549"/>
              <p:cNvSpPr>
                <a:spLocks noChangeAspect="1"/>
              </p:cNvSpPr>
              <p:nvPr/>
            </p:nvSpPr>
            <p:spPr bwMode="auto">
              <a:xfrm>
                <a:off x="213316" y="4669928"/>
                <a:ext cx="62" cy="48"/>
              </a:xfrm>
              <a:custGeom>
                <a:avLst/>
                <a:gdLst>
                  <a:gd name="T0" fmla="*/ 66 w 90"/>
                  <a:gd name="T1" fmla="*/ 0 h 80"/>
                  <a:gd name="T2" fmla="*/ 57 w 90"/>
                  <a:gd name="T3" fmla="*/ 10 h 80"/>
                  <a:gd name="T4" fmla="*/ 19 w 90"/>
                  <a:gd name="T5" fmla="*/ 16 h 80"/>
                  <a:gd name="T6" fmla="*/ 0 w 90"/>
                  <a:gd name="T7" fmla="*/ 43 h 80"/>
                  <a:gd name="T8" fmla="*/ 28 w 90"/>
                  <a:gd name="T9" fmla="*/ 64 h 80"/>
                  <a:gd name="T10" fmla="*/ 43 w 90"/>
                  <a:gd name="T11" fmla="*/ 80 h 80"/>
                  <a:gd name="T12" fmla="*/ 71 w 90"/>
                  <a:gd name="T13" fmla="*/ 74 h 80"/>
                  <a:gd name="T14" fmla="*/ 90 w 90"/>
                  <a:gd name="T15" fmla="*/ 64 h 80"/>
                  <a:gd name="T16" fmla="*/ 85 w 90"/>
                  <a:gd name="T17" fmla="*/ 43 h 80"/>
                  <a:gd name="T18" fmla="*/ 71 w 90"/>
                  <a:gd name="T19" fmla="*/ 27 h 80"/>
                  <a:gd name="T20" fmla="*/ 66 w 90"/>
                  <a:gd name="T21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0" h="80">
                    <a:moveTo>
                      <a:pt x="66" y="0"/>
                    </a:moveTo>
                    <a:lnTo>
                      <a:pt x="57" y="10"/>
                    </a:lnTo>
                    <a:lnTo>
                      <a:pt x="19" y="16"/>
                    </a:lnTo>
                    <a:lnTo>
                      <a:pt x="0" y="43"/>
                    </a:lnTo>
                    <a:lnTo>
                      <a:pt x="28" y="64"/>
                    </a:lnTo>
                    <a:lnTo>
                      <a:pt x="43" y="80"/>
                    </a:lnTo>
                    <a:lnTo>
                      <a:pt x="71" y="74"/>
                    </a:lnTo>
                    <a:lnTo>
                      <a:pt x="90" y="64"/>
                    </a:lnTo>
                    <a:lnTo>
                      <a:pt x="85" y="43"/>
                    </a:lnTo>
                    <a:lnTo>
                      <a:pt x="71" y="27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8" name="Freeform 550"/>
              <p:cNvSpPr>
                <a:spLocks noChangeAspect="1"/>
              </p:cNvSpPr>
              <p:nvPr/>
            </p:nvSpPr>
            <p:spPr bwMode="auto">
              <a:xfrm>
                <a:off x="213412" y="4669930"/>
                <a:ext cx="21" cy="26"/>
              </a:xfrm>
              <a:custGeom>
                <a:avLst/>
                <a:gdLst>
                  <a:gd name="T0" fmla="*/ 19 w 29"/>
                  <a:gd name="T1" fmla="*/ 0 h 41"/>
                  <a:gd name="T2" fmla="*/ 0 w 29"/>
                  <a:gd name="T3" fmla="*/ 10 h 41"/>
                  <a:gd name="T4" fmla="*/ 16 w 29"/>
                  <a:gd name="T5" fmla="*/ 25 h 41"/>
                  <a:gd name="T6" fmla="*/ 29 w 29"/>
                  <a:gd name="T7" fmla="*/ 41 h 41"/>
                  <a:gd name="T8" fmla="*/ 19 w 29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1">
                    <a:moveTo>
                      <a:pt x="19" y="0"/>
                    </a:moveTo>
                    <a:lnTo>
                      <a:pt x="0" y="10"/>
                    </a:lnTo>
                    <a:lnTo>
                      <a:pt x="16" y="25"/>
                    </a:lnTo>
                    <a:lnTo>
                      <a:pt x="29" y="41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9" name="Freeform 551"/>
              <p:cNvSpPr>
                <a:spLocks noChangeAspect="1"/>
              </p:cNvSpPr>
              <p:nvPr/>
            </p:nvSpPr>
            <p:spPr bwMode="auto">
              <a:xfrm>
                <a:off x="212709" y="4669452"/>
                <a:ext cx="696" cy="631"/>
              </a:xfrm>
              <a:custGeom>
                <a:avLst/>
                <a:gdLst>
                  <a:gd name="T0" fmla="*/ 46 w 1024"/>
                  <a:gd name="T1" fmla="*/ 185 h 1020"/>
                  <a:gd name="T2" fmla="*/ 79 w 1024"/>
                  <a:gd name="T3" fmla="*/ 111 h 1020"/>
                  <a:gd name="T4" fmla="*/ 71 w 1024"/>
                  <a:gd name="T5" fmla="*/ 84 h 1020"/>
                  <a:gd name="T6" fmla="*/ 55 w 1024"/>
                  <a:gd name="T7" fmla="*/ 59 h 1020"/>
                  <a:gd name="T8" fmla="*/ 112 w 1024"/>
                  <a:gd name="T9" fmla="*/ 27 h 1020"/>
                  <a:gd name="T10" fmla="*/ 154 w 1024"/>
                  <a:gd name="T11" fmla="*/ 16 h 1020"/>
                  <a:gd name="T12" fmla="*/ 197 w 1024"/>
                  <a:gd name="T13" fmla="*/ 6 h 1020"/>
                  <a:gd name="T14" fmla="*/ 281 w 1024"/>
                  <a:gd name="T15" fmla="*/ 80 h 1020"/>
                  <a:gd name="T16" fmla="*/ 340 w 1024"/>
                  <a:gd name="T17" fmla="*/ 84 h 1020"/>
                  <a:gd name="T18" fmla="*/ 504 w 1024"/>
                  <a:gd name="T19" fmla="*/ 170 h 1020"/>
                  <a:gd name="T20" fmla="*/ 573 w 1024"/>
                  <a:gd name="T21" fmla="*/ 190 h 1020"/>
                  <a:gd name="T22" fmla="*/ 621 w 1024"/>
                  <a:gd name="T23" fmla="*/ 232 h 1020"/>
                  <a:gd name="T24" fmla="*/ 668 w 1024"/>
                  <a:gd name="T25" fmla="*/ 238 h 1020"/>
                  <a:gd name="T26" fmla="*/ 668 w 1024"/>
                  <a:gd name="T27" fmla="*/ 264 h 1020"/>
                  <a:gd name="T28" fmla="*/ 743 w 1024"/>
                  <a:gd name="T29" fmla="*/ 343 h 1020"/>
                  <a:gd name="T30" fmla="*/ 804 w 1024"/>
                  <a:gd name="T31" fmla="*/ 374 h 1020"/>
                  <a:gd name="T32" fmla="*/ 898 w 1024"/>
                  <a:gd name="T33" fmla="*/ 406 h 1020"/>
                  <a:gd name="T34" fmla="*/ 917 w 1024"/>
                  <a:gd name="T35" fmla="*/ 443 h 1020"/>
                  <a:gd name="T36" fmla="*/ 953 w 1024"/>
                  <a:gd name="T37" fmla="*/ 458 h 1020"/>
                  <a:gd name="T38" fmla="*/ 991 w 1024"/>
                  <a:gd name="T39" fmla="*/ 458 h 1020"/>
                  <a:gd name="T40" fmla="*/ 1015 w 1024"/>
                  <a:gd name="T41" fmla="*/ 458 h 1020"/>
                  <a:gd name="T42" fmla="*/ 1024 w 1024"/>
                  <a:gd name="T43" fmla="*/ 507 h 1020"/>
                  <a:gd name="T44" fmla="*/ 936 w 1024"/>
                  <a:gd name="T45" fmla="*/ 584 h 1020"/>
                  <a:gd name="T46" fmla="*/ 809 w 1024"/>
                  <a:gd name="T47" fmla="*/ 609 h 1020"/>
                  <a:gd name="T48" fmla="*/ 776 w 1024"/>
                  <a:gd name="T49" fmla="*/ 646 h 1020"/>
                  <a:gd name="T50" fmla="*/ 738 w 1024"/>
                  <a:gd name="T51" fmla="*/ 662 h 1020"/>
                  <a:gd name="T52" fmla="*/ 700 w 1024"/>
                  <a:gd name="T53" fmla="*/ 709 h 1020"/>
                  <a:gd name="T54" fmla="*/ 658 w 1024"/>
                  <a:gd name="T55" fmla="*/ 741 h 1020"/>
                  <a:gd name="T56" fmla="*/ 672 w 1024"/>
                  <a:gd name="T57" fmla="*/ 798 h 1020"/>
                  <a:gd name="T58" fmla="*/ 677 w 1024"/>
                  <a:gd name="T59" fmla="*/ 841 h 1020"/>
                  <a:gd name="T60" fmla="*/ 653 w 1024"/>
                  <a:gd name="T61" fmla="*/ 857 h 1020"/>
                  <a:gd name="T62" fmla="*/ 589 w 1024"/>
                  <a:gd name="T63" fmla="*/ 921 h 1020"/>
                  <a:gd name="T64" fmla="*/ 564 w 1024"/>
                  <a:gd name="T65" fmla="*/ 946 h 1020"/>
                  <a:gd name="T66" fmla="*/ 523 w 1024"/>
                  <a:gd name="T67" fmla="*/ 962 h 1020"/>
                  <a:gd name="T68" fmla="*/ 480 w 1024"/>
                  <a:gd name="T69" fmla="*/ 973 h 1020"/>
                  <a:gd name="T70" fmla="*/ 457 w 1024"/>
                  <a:gd name="T71" fmla="*/ 1005 h 1020"/>
                  <a:gd name="T72" fmla="*/ 419 w 1024"/>
                  <a:gd name="T73" fmla="*/ 1015 h 1020"/>
                  <a:gd name="T74" fmla="*/ 344 w 1024"/>
                  <a:gd name="T75" fmla="*/ 1005 h 1020"/>
                  <a:gd name="T76" fmla="*/ 229 w 1024"/>
                  <a:gd name="T77" fmla="*/ 962 h 1020"/>
                  <a:gd name="T78" fmla="*/ 173 w 1024"/>
                  <a:gd name="T79" fmla="*/ 989 h 1020"/>
                  <a:gd name="T80" fmla="*/ 121 w 1024"/>
                  <a:gd name="T81" fmla="*/ 1010 h 1020"/>
                  <a:gd name="T82" fmla="*/ 55 w 1024"/>
                  <a:gd name="T83" fmla="*/ 958 h 1020"/>
                  <a:gd name="T84" fmla="*/ 33 w 1024"/>
                  <a:gd name="T85" fmla="*/ 835 h 1020"/>
                  <a:gd name="T86" fmla="*/ 0 w 1024"/>
                  <a:gd name="T87" fmla="*/ 794 h 1020"/>
                  <a:gd name="T88" fmla="*/ 14 w 1024"/>
                  <a:gd name="T89" fmla="*/ 746 h 1020"/>
                  <a:gd name="T90" fmla="*/ 60 w 1024"/>
                  <a:gd name="T91" fmla="*/ 720 h 1020"/>
                  <a:gd name="T92" fmla="*/ 41 w 1024"/>
                  <a:gd name="T93" fmla="*/ 662 h 1020"/>
                  <a:gd name="T94" fmla="*/ 84 w 1024"/>
                  <a:gd name="T95" fmla="*/ 599 h 1020"/>
                  <a:gd name="T96" fmla="*/ 74 w 1024"/>
                  <a:gd name="T97" fmla="*/ 554 h 1020"/>
                  <a:gd name="T98" fmla="*/ 88 w 1024"/>
                  <a:gd name="T99" fmla="*/ 512 h 1020"/>
                  <a:gd name="T100" fmla="*/ 112 w 1024"/>
                  <a:gd name="T101" fmla="*/ 528 h 1020"/>
                  <a:gd name="T102" fmla="*/ 131 w 1024"/>
                  <a:gd name="T103" fmla="*/ 448 h 1020"/>
                  <a:gd name="T104" fmla="*/ 168 w 1024"/>
                  <a:gd name="T105" fmla="*/ 390 h 1020"/>
                  <a:gd name="T106" fmla="*/ 206 w 1024"/>
                  <a:gd name="T107" fmla="*/ 349 h 1020"/>
                  <a:gd name="T108" fmla="*/ 244 w 1024"/>
                  <a:gd name="T109" fmla="*/ 332 h 1020"/>
                  <a:gd name="T110" fmla="*/ 201 w 1024"/>
                  <a:gd name="T111" fmla="*/ 264 h 1020"/>
                  <a:gd name="T112" fmla="*/ 164 w 1024"/>
                  <a:gd name="T113" fmla="*/ 269 h 1020"/>
                  <a:gd name="T114" fmla="*/ 117 w 1024"/>
                  <a:gd name="T115" fmla="*/ 248 h 1020"/>
                  <a:gd name="T116" fmla="*/ 98 w 1024"/>
                  <a:gd name="T117" fmla="*/ 242 h 1020"/>
                  <a:gd name="T118" fmla="*/ 84 w 1024"/>
                  <a:gd name="T119" fmla="*/ 201 h 1020"/>
                  <a:gd name="T120" fmla="*/ 52 w 1024"/>
                  <a:gd name="T121" fmla="*/ 201 h 10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24" h="1020">
                    <a:moveTo>
                      <a:pt x="52" y="201"/>
                    </a:moveTo>
                    <a:lnTo>
                      <a:pt x="46" y="185"/>
                    </a:lnTo>
                    <a:lnTo>
                      <a:pt x="52" y="164"/>
                    </a:lnTo>
                    <a:lnTo>
                      <a:pt x="79" y="111"/>
                    </a:lnTo>
                    <a:lnTo>
                      <a:pt x="65" y="100"/>
                    </a:lnTo>
                    <a:lnTo>
                      <a:pt x="71" y="84"/>
                    </a:lnTo>
                    <a:lnTo>
                      <a:pt x="55" y="80"/>
                    </a:lnTo>
                    <a:lnTo>
                      <a:pt x="55" y="59"/>
                    </a:lnTo>
                    <a:lnTo>
                      <a:pt x="65" y="43"/>
                    </a:lnTo>
                    <a:lnTo>
                      <a:pt x="112" y="27"/>
                    </a:lnTo>
                    <a:lnTo>
                      <a:pt x="150" y="32"/>
                    </a:lnTo>
                    <a:lnTo>
                      <a:pt x="154" y="16"/>
                    </a:lnTo>
                    <a:lnTo>
                      <a:pt x="182" y="0"/>
                    </a:lnTo>
                    <a:lnTo>
                      <a:pt x="197" y="6"/>
                    </a:lnTo>
                    <a:lnTo>
                      <a:pt x="229" y="53"/>
                    </a:lnTo>
                    <a:lnTo>
                      <a:pt x="281" y="80"/>
                    </a:lnTo>
                    <a:lnTo>
                      <a:pt x="328" y="80"/>
                    </a:lnTo>
                    <a:lnTo>
                      <a:pt x="340" y="84"/>
                    </a:lnTo>
                    <a:lnTo>
                      <a:pt x="466" y="164"/>
                    </a:lnTo>
                    <a:lnTo>
                      <a:pt x="504" y="170"/>
                    </a:lnTo>
                    <a:lnTo>
                      <a:pt x="532" y="201"/>
                    </a:lnTo>
                    <a:lnTo>
                      <a:pt x="573" y="190"/>
                    </a:lnTo>
                    <a:lnTo>
                      <a:pt x="597" y="207"/>
                    </a:lnTo>
                    <a:lnTo>
                      <a:pt x="621" y="232"/>
                    </a:lnTo>
                    <a:lnTo>
                      <a:pt x="649" y="232"/>
                    </a:lnTo>
                    <a:lnTo>
                      <a:pt x="668" y="238"/>
                    </a:lnTo>
                    <a:lnTo>
                      <a:pt x="677" y="248"/>
                    </a:lnTo>
                    <a:lnTo>
                      <a:pt x="668" y="264"/>
                    </a:lnTo>
                    <a:lnTo>
                      <a:pt x="668" y="285"/>
                    </a:lnTo>
                    <a:lnTo>
                      <a:pt x="743" y="343"/>
                    </a:lnTo>
                    <a:lnTo>
                      <a:pt x="785" y="380"/>
                    </a:lnTo>
                    <a:lnTo>
                      <a:pt x="804" y="374"/>
                    </a:lnTo>
                    <a:lnTo>
                      <a:pt x="827" y="369"/>
                    </a:lnTo>
                    <a:lnTo>
                      <a:pt x="898" y="406"/>
                    </a:lnTo>
                    <a:lnTo>
                      <a:pt x="906" y="433"/>
                    </a:lnTo>
                    <a:lnTo>
                      <a:pt x="917" y="443"/>
                    </a:lnTo>
                    <a:lnTo>
                      <a:pt x="939" y="448"/>
                    </a:lnTo>
                    <a:lnTo>
                      <a:pt x="953" y="458"/>
                    </a:lnTo>
                    <a:lnTo>
                      <a:pt x="972" y="458"/>
                    </a:lnTo>
                    <a:lnTo>
                      <a:pt x="991" y="458"/>
                    </a:lnTo>
                    <a:lnTo>
                      <a:pt x="1010" y="464"/>
                    </a:lnTo>
                    <a:lnTo>
                      <a:pt x="1015" y="458"/>
                    </a:lnTo>
                    <a:lnTo>
                      <a:pt x="1024" y="480"/>
                    </a:lnTo>
                    <a:lnTo>
                      <a:pt x="1024" y="507"/>
                    </a:lnTo>
                    <a:lnTo>
                      <a:pt x="1010" y="522"/>
                    </a:lnTo>
                    <a:lnTo>
                      <a:pt x="936" y="584"/>
                    </a:lnTo>
                    <a:lnTo>
                      <a:pt x="903" y="584"/>
                    </a:lnTo>
                    <a:lnTo>
                      <a:pt x="809" y="609"/>
                    </a:lnTo>
                    <a:lnTo>
                      <a:pt x="776" y="615"/>
                    </a:lnTo>
                    <a:lnTo>
                      <a:pt x="776" y="646"/>
                    </a:lnTo>
                    <a:lnTo>
                      <a:pt x="757" y="646"/>
                    </a:lnTo>
                    <a:lnTo>
                      <a:pt x="738" y="662"/>
                    </a:lnTo>
                    <a:lnTo>
                      <a:pt x="719" y="689"/>
                    </a:lnTo>
                    <a:lnTo>
                      <a:pt x="700" y="709"/>
                    </a:lnTo>
                    <a:lnTo>
                      <a:pt x="677" y="714"/>
                    </a:lnTo>
                    <a:lnTo>
                      <a:pt x="658" y="741"/>
                    </a:lnTo>
                    <a:lnTo>
                      <a:pt x="658" y="778"/>
                    </a:lnTo>
                    <a:lnTo>
                      <a:pt x="672" y="798"/>
                    </a:lnTo>
                    <a:lnTo>
                      <a:pt x="677" y="814"/>
                    </a:lnTo>
                    <a:lnTo>
                      <a:pt x="677" y="841"/>
                    </a:lnTo>
                    <a:lnTo>
                      <a:pt x="672" y="851"/>
                    </a:lnTo>
                    <a:lnTo>
                      <a:pt x="653" y="857"/>
                    </a:lnTo>
                    <a:lnTo>
                      <a:pt x="625" y="884"/>
                    </a:lnTo>
                    <a:lnTo>
                      <a:pt x="589" y="921"/>
                    </a:lnTo>
                    <a:lnTo>
                      <a:pt x="573" y="936"/>
                    </a:lnTo>
                    <a:lnTo>
                      <a:pt x="564" y="946"/>
                    </a:lnTo>
                    <a:lnTo>
                      <a:pt x="564" y="962"/>
                    </a:lnTo>
                    <a:lnTo>
                      <a:pt x="523" y="962"/>
                    </a:lnTo>
                    <a:lnTo>
                      <a:pt x="499" y="968"/>
                    </a:lnTo>
                    <a:lnTo>
                      <a:pt x="480" y="973"/>
                    </a:lnTo>
                    <a:lnTo>
                      <a:pt x="471" y="983"/>
                    </a:lnTo>
                    <a:lnTo>
                      <a:pt x="457" y="1005"/>
                    </a:lnTo>
                    <a:lnTo>
                      <a:pt x="433" y="1015"/>
                    </a:lnTo>
                    <a:lnTo>
                      <a:pt x="419" y="1015"/>
                    </a:lnTo>
                    <a:lnTo>
                      <a:pt x="391" y="1010"/>
                    </a:lnTo>
                    <a:lnTo>
                      <a:pt x="344" y="1005"/>
                    </a:lnTo>
                    <a:lnTo>
                      <a:pt x="262" y="968"/>
                    </a:lnTo>
                    <a:lnTo>
                      <a:pt x="229" y="962"/>
                    </a:lnTo>
                    <a:lnTo>
                      <a:pt x="197" y="973"/>
                    </a:lnTo>
                    <a:lnTo>
                      <a:pt x="173" y="989"/>
                    </a:lnTo>
                    <a:lnTo>
                      <a:pt x="145" y="993"/>
                    </a:lnTo>
                    <a:lnTo>
                      <a:pt x="121" y="1010"/>
                    </a:lnTo>
                    <a:lnTo>
                      <a:pt x="107" y="1020"/>
                    </a:lnTo>
                    <a:lnTo>
                      <a:pt x="55" y="958"/>
                    </a:lnTo>
                    <a:lnTo>
                      <a:pt x="55" y="868"/>
                    </a:lnTo>
                    <a:lnTo>
                      <a:pt x="33" y="835"/>
                    </a:lnTo>
                    <a:lnTo>
                      <a:pt x="5" y="810"/>
                    </a:lnTo>
                    <a:lnTo>
                      <a:pt x="0" y="794"/>
                    </a:lnTo>
                    <a:lnTo>
                      <a:pt x="0" y="761"/>
                    </a:lnTo>
                    <a:lnTo>
                      <a:pt x="14" y="746"/>
                    </a:lnTo>
                    <a:lnTo>
                      <a:pt x="52" y="730"/>
                    </a:lnTo>
                    <a:lnTo>
                      <a:pt x="60" y="720"/>
                    </a:lnTo>
                    <a:lnTo>
                      <a:pt x="46" y="699"/>
                    </a:lnTo>
                    <a:lnTo>
                      <a:pt x="41" y="662"/>
                    </a:lnTo>
                    <a:lnTo>
                      <a:pt x="55" y="630"/>
                    </a:lnTo>
                    <a:lnTo>
                      <a:pt x="84" y="599"/>
                    </a:lnTo>
                    <a:lnTo>
                      <a:pt x="84" y="575"/>
                    </a:lnTo>
                    <a:lnTo>
                      <a:pt x="74" y="554"/>
                    </a:lnTo>
                    <a:lnTo>
                      <a:pt x="84" y="517"/>
                    </a:lnTo>
                    <a:lnTo>
                      <a:pt x="88" y="512"/>
                    </a:lnTo>
                    <a:lnTo>
                      <a:pt x="102" y="512"/>
                    </a:lnTo>
                    <a:lnTo>
                      <a:pt x="112" y="528"/>
                    </a:lnTo>
                    <a:lnTo>
                      <a:pt x="126" y="507"/>
                    </a:lnTo>
                    <a:lnTo>
                      <a:pt x="131" y="448"/>
                    </a:lnTo>
                    <a:lnTo>
                      <a:pt x="168" y="411"/>
                    </a:lnTo>
                    <a:lnTo>
                      <a:pt x="168" y="390"/>
                    </a:lnTo>
                    <a:lnTo>
                      <a:pt x="168" y="374"/>
                    </a:lnTo>
                    <a:lnTo>
                      <a:pt x="206" y="349"/>
                    </a:lnTo>
                    <a:lnTo>
                      <a:pt x="234" y="343"/>
                    </a:lnTo>
                    <a:lnTo>
                      <a:pt x="244" y="332"/>
                    </a:lnTo>
                    <a:lnTo>
                      <a:pt x="220" y="306"/>
                    </a:lnTo>
                    <a:lnTo>
                      <a:pt x="201" y="264"/>
                    </a:lnTo>
                    <a:lnTo>
                      <a:pt x="192" y="254"/>
                    </a:lnTo>
                    <a:lnTo>
                      <a:pt x="164" y="269"/>
                    </a:lnTo>
                    <a:lnTo>
                      <a:pt x="145" y="259"/>
                    </a:lnTo>
                    <a:lnTo>
                      <a:pt x="117" y="248"/>
                    </a:lnTo>
                    <a:lnTo>
                      <a:pt x="107" y="254"/>
                    </a:lnTo>
                    <a:lnTo>
                      <a:pt x="98" y="242"/>
                    </a:lnTo>
                    <a:lnTo>
                      <a:pt x="98" y="222"/>
                    </a:lnTo>
                    <a:lnTo>
                      <a:pt x="84" y="201"/>
                    </a:lnTo>
                    <a:lnTo>
                      <a:pt x="74" y="195"/>
                    </a:lnTo>
                    <a:lnTo>
                      <a:pt x="52" y="201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grpSp>
          <p:nvGrpSpPr>
            <p:cNvPr id="32" name="IT"/>
            <p:cNvGrpSpPr>
              <a:grpSpLocks/>
            </p:cNvGrpSpPr>
            <p:nvPr/>
          </p:nvGrpSpPr>
          <p:grpSpPr bwMode="auto">
            <a:xfrm>
              <a:off x="5286549" y="4381647"/>
              <a:ext cx="1374773" cy="1579562"/>
              <a:chOff x="2243131" y="4710790"/>
              <a:chExt cx="631" cy="817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73" name="Freeform 545"/>
              <p:cNvSpPr>
                <a:spLocks noChangeAspect="1"/>
              </p:cNvSpPr>
              <p:nvPr/>
            </p:nvSpPr>
            <p:spPr bwMode="auto">
              <a:xfrm>
                <a:off x="2243153" y="4711222"/>
                <a:ext cx="100" cy="168"/>
              </a:xfrm>
              <a:custGeom>
                <a:avLst/>
                <a:gdLst>
                  <a:gd name="T0" fmla="*/ 89 w 150"/>
                  <a:gd name="T1" fmla="*/ 0 h 275"/>
                  <a:gd name="T2" fmla="*/ 66 w 150"/>
                  <a:gd name="T3" fmla="*/ 16 h 275"/>
                  <a:gd name="T4" fmla="*/ 47 w 150"/>
                  <a:gd name="T5" fmla="*/ 31 h 275"/>
                  <a:gd name="T6" fmla="*/ 28 w 150"/>
                  <a:gd name="T7" fmla="*/ 37 h 275"/>
                  <a:gd name="T8" fmla="*/ 0 w 150"/>
                  <a:gd name="T9" fmla="*/ 31 h 275"/>
                  <a:gd name="T10" fmla="*/ 5 w 150"/>
                  <a:gd name="T11" fmla="*/ 64 h 275"/>
                  <a:gd name="T12" fmla="*/ 19 w 150"/>
                  <a:gd name="T13" fmla="*/ 84 h 275"/>
                  <a:gd name="T14" fmla="*/ 14 w 150"/>
                  <a:gd name="T15" fmla="*/ 138 h 275"/>
                  <a:gd name="T16" fmla="*/ 14 w 150"/>
                  <a:gd name="T17" fmla="*/ 164 h 275"/>
                  <a:gd name="T18" fmla="*/ 19 w 150"/>
                  <a:gd name="T19" fmla="*/ 185 h 275"/>
                  <a:gd name="T20" fmla="*/ 5 w 150"/>
                  <a:gd name="T21" fmla="*/ 228 h 275"/>
                  <a:gd name="T22" fmla="*/ 9 w 150"/>
                  <a:gd name="T23" fmla="*/ 259 h 275"/>
                  <a:gd name="T24" fmla="*/ 28 w 150"/>
                  <a:gd name="T25" fmla="*/ 275 h 275"/>
                  <a:gd name="T26" fmla="*/ 56 w 150"/>
                  <a:gd name="T27" fmla="*/ 253 h 275"/>
                  <a:gd name="T28" fmla="*/ 66 w 150"/>
                  <a:gd name="T29" fmla="*/ 248 h 275"/>
                  <a:gd name="T30" fmla="*/ 94 w 150"/>
                  <a:gd name="T31" fmla="*/ 253 h 275"/>
                  <a:gd name="T32" fmla="*/ 113 w 150"/>
                  <a:gd name="T33" fmla="*/ 232 h 275"/>
                  <a:gd name="T34" fmla="*/ 113 w 150"/>
                  <a:gd name="T35" fmla="*/ 211 h 275"/>
                  <a:gd name="T36" fmla="*/ 136 w 150"/>
                  <a:gd name="T37" fmla="*/ 169 h 275"/>
                  <a:gd name="T38" fmla="*/ 145 w 150"/>
                  <a:gd name="T39" fmla="*/ 142 h 275"/>
                  <a:gd name="T40" fmla="*/ 136 w 150"/>
                  <a:gd name="T41" fmla="*/ 117 h 275"/>
                  <a:gd name="T42" fmla="*/ 150 w 150"/>
                  <a:gd name="T43" fmla="*/ 84 h 275"/>
                  <a:gd name="T44" fmla="*/ 141 w 150"/>
                  <a:gd name="T45" fmla="*/ 37 h 275"/>
                  <a:gd name="T46" fmla="*/ 136 w 150"/>
                  <a:gd name="T47" fmla="*/ 10 h 275"/>
                  <a:gd name="T48" fmla="*/ 89 w 150"/>
                  <a:gd name="T49" fmla="*/ 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0" h="275">
                    <a:moveTo>
                      <a:pt x="89" y="0"/>
                    </a:moveTo>
                    <a:lnTo>
                      <a:pt x="66" y="16"/>
                    </a:lnTo>
                    <a:lnTo>
                      <a:pt x="47" y="31"/>
                    </a:lnTo>
                    <a:lnTo>
                      <a:pt x="28" y="37"/>
                    </a:lnTo>
                    <a:lnTo>
                      <a:pt x="0" y="31"/>
                    </a:lnTo>
                    <a:lnTo>
                      <a:pt x="5" y="64"/>
                    </a:lnTo>
                    <a:lnTo>
                      <a:pt x="19" y="84"/>
                    </a:lnTo>
                    <a:lnTo>
                      <a:pt x="14" y="138"/>
                    </a:lnTo>
                    <a:lnTo>
                      <a:pt x="14" y="164"/>
                    </a:lnTo>
                    <a:lnTo>
                      <a:pt x="19" y="185"/>
                    </a:lnTo>
                    <a:lnTo>
                      <a:pt x="5" y="228"/>
                    </a:lnTo>
                    <a:lnTo>
                      <a:pt x="9" y="259"/>
                    </a:lnTo>
                    <a:lnTo>
                      <a:pt x="28" y="275"/>
                    </a:lnTo>
                    <a:lnTo>
                      <a:pt x="56" y="253"/>
                    </a:lnTo>
                    <a:lnTo>
                      <a:pt x="66" y="248"/>
                    </a:lnTo>
                    <a:lnTo>
                      <a:pt x="94" y="253"/>
                    </a:lnTo>
                    <a:lnTo>
                      <a:pt x="113" y="232"/>
                    </a:lnTo>
                    <a:lnTo>
                      <a:pt x="113" y="211"/>
                    </a:lnTo>
                    <a:lnTo>
                      <a:pt x="136" y="169"/>
                    </a:lnTo>
                    <a:lnTo>
                      <a:pt x="145" y="142"/>
                    </a:lnTo>
                    <a:lnTo>
                      <a:pt x="136" y="117"/>
                    </a:lnTo>
                    <a:lnTo>
                      <a:pt x="150" y="84"/>
                    </a:lnTo>
                    <a:lnTo>
                      <a:pt x="141" y="37"/>
                    </a:lnTo>
                    <a:lnTo>
                      <a:pt x="136" y="10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4" name="Freeform 546"/>
              <p:cNvSpPr>
                <a:spLocks noChangeAspect="1"/>
              </p:cNvSpPr>
              <p:nvPr/>
            </p:nvSpPr>
            <p:spPr bwMode="auto">
              <a:xfrm>
                <a:off x="2243388" y="4711487"/>
                <a:ext cx="184" cy="120"/>
              </a:xfrm>
              <a:custGeom>
                <a:avLst/>
                <a:gdLst>
                  <a:gd name="T0" fmla="*/ 260 w 274"/>
                  <a:gd name="T1" fmla="*/ 0 h 194"/>
                  <a:gd name="T2" fmla="*/ 274 w 274"/>
                  <a:gd name="T3" fmla="*/ 16 h 194"/>
                  <a:gd name="T4" fmla="*/ 265 w 274"/>
                  <a:gd name="T5" fmla="*/ 32 h 194"/>
                  <a:gd name="T6" fmla="*/ 255 w 274"/>
                  <a:gd name="T7" fmla="*/ 57 h 194"/>
                  <a:gd name="T8" fmla="*/ 241 w 274"/>
                  <a:gd name="T9" fmla="*/ 73 h 194"/>
                  <a:gd name="T10" fmla="*/ 246 w 274"/>
                  <a:gd name="T11" fmla="*/ 121 h 194"/>
                  <a:gd name="T12" fmla="*/ 255 w 274"/>
                  <a:gd name="T13" fmla="*/ 157 h 194"/>
                  <a:gd name="T14" fmla="*/ 231 w 274"/>
                  <a:gd name="T15" fmla="*/ 172 h 194"/>
                  <a:gd name="T16" fmla="*/ 227 w 274"/>
                  <a:gd name="T17" fmla="*/ 188 h 194"/>
                  <a:gd name="T18" fmla="*/ 208 w 274"/>
                  <a:gd name="T19" fmla="*/ 194 h 194"/>
                  <a:gd name="T20" fmla="*/ 180 w 274"/>
                  <a:gd name="T21" fmla="*/ 162 h 194"/>
                  <a:gd name="T22" fmla="*/ 161 w 274"/>
                  <a:gd name="T23" fmla="*/ 162 h 194"/>
                  <a:gd name="T24" fmla="*/ 146 w 274"/>
                  <a:gd name="T25" fmla="*/ 137 h 194"/>
                  <a:gd name="T26" fmla="*/ 118 w 274"/>
                  <a:gd name="T27" fmla="*/ 121 h 194"/>
                  <a:gd name="T28" fmla="*/ 99 w 274"/>
                  <a:gd name="T29" fmla="*/ 115 h 194"/>
                  <a:gd name="T30" fmla="*/ 80 w 274"/>
                  <a:gd name="T31" fmla="*/ 105 h 194"/>
                  <a:gd name="T32" fmla="*/ 61 w 274"/>
                  <a:gd name="T33" fmla="*/ 88 h 194"/>
                  <a:gd name="T34" fmla="*/ 28 w 274"/>
                  <a:gd name="T35" fmla="*/ 63 h 194"/>
                  <a:gd name="T36" fmla="*/ 14 w 274"/>
                  <a:gd name="T37" fmla="*/ 57 h 194"/>
                  <a:gd name="T38" fmla="*/ 0 w 274"/>
                  <a:gd name="T39" fmla="*/ 41 h 194"/>
                  <a:gd name="T40" fmla="*/ 0 w 274"/>
                  <a:gd name="T41" fmla="*/ 22 h 194"/>
                  <a:gd name="T42" fmla="*/ 5 w 274"/>
                  <a:gd name="T43" fmla="*/ 6 h 194"/>
                  <a:gd name="T44" fmla="*/ 33 w 274"/>
                  <a:gd name="T45" fmla="*/ 10 h 194"/>
                  <a:gd name="T46" fmla="*/ 76 w 274"/>
                  <a:gd name="T47" fmla="*/ 10 h 194"/>
                  <a:gd name="T48" fmla="*/ 85 w 274"/>
                  <a:gd name="T49" fmla="*/ 26 h 194"/>
                  <a:gd name="T50" fmla="*/ 132 w 274"/>
                  <a:gd name="T51" fmla="*/ 26 h 194"/>
                  <a:gd name="T52" fmla="*/ 165 w 274"/>
                  <a:gd name="T53" fmla="*/ 26 h 194"/>
                  <a:gd name="T54" fmla="*/ 208 w 274"/>
                  <a:gd name="T55" fmla="*/ 16 h 194"/>
                  <a:gd name="T56" fmla="*/ 260 w 274"/>
                  <a:gd name="T57" fmla="*/ 0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4" h="194">
                    <a:moveTo>
                      <a:pt x="260" y="0"/>
                    </a:moveTo>
                    <a:lnTo>
                      <a:pt x="274" y="16"/>
                    </a:lnTo>
                    <a:lnTo>
                      <a:pt x="265" y="32"/>
                    </a:lnTo>
                    <a:lnTo>
                      <a:pt x="255" y="57"/>
                    </a:lnTo>
                    <a:lnTo>
                      <a:pt x="241" y="73"/>
                    </a:lnTo>
                    <a:lnTo>
                      <a:pt x="246" y="121"/>
                    </a:lnTo>
                    <a:lnTo>
                      <a:pt x="255" y="157"/>
                    </a:lnTo>
                    <a:lnTo>
                      <a:pt x="231" y="172"/>
                    </a:lnTo>
                    <a:lnTo>
                      <a:pt x="227" y="188"/>
                    </a:lnTo>
                    <a:lnTo>
                      <a:pt x="208" y="194"/>
                    </a:lnTo>
                    <a:lnTo>
                      <a:pt x="180" y="162"/>
                    </a:lnTo>
                    <a:lnTo>
                      <a:pt x="161" y="162"/>
                    </a:lnTo>
                    <a:lnTo>
                      <a:pt x="146" y="137"/>
                    </a:lnTo>
                    <a:lnTo>
                      <a:pt x="118" y="121"/>
                    </a:lnTo>
                    <a:lnTo>
                      <a:pt x="99" y="115"/>
                    </a:lnTo>
                    <a:lnTo>
                      <a:pt x="80" y="105"/>
                    </a:lnTo>
                    <a:lnTo>
                      <a:pt x="61" y="88"/>
                    </a:lnTo>
                    <a:lnTo>
                      <a:pt x="28" y="63"/>
                    </a:lnTo>
                    <a:lnTo>
                      <a:pt x="14" y="57"/>
                    </a:lnTo>
                    <a:lnTo>
                      <a:pt x="0" y="41"/>
                    </a:lnTo>
                    <a:lnTo>
                      <a:pt x="0" y="22"/>
                    </a:lnTo>
                    <a:lnTo>
                      <a:pt x="5" y="6"/>
                    </a:lnTo>
                    <a:lnTo>
                      <a:pt x="33" y="10"/>
                    </a:lnTo>
                    <a:lnTo>
                      <a:pt x="76" y="10"/>
                    </a:lnTo>
                    <a:lnTo>
                      <a:pt x="85" y="26"/>
                    </a:lnTo>
                    <a:lnTo>
                      <a:pt x="132" y="26"/>
                    </a:lnTo>
                    <a:lnTo>
                      <a:pt x="165" y="26"/>
                    </a:lnTo>
                    <a:lnTo>
                      <a:pt x="208" y="16"/>
                    </a:lnTo>
                    <a:lnTo>
                      <a:pt x="26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5" name="Freeform 547"/>
              <p:cNvSpPr>
                <a:spLocks noChangeAspect="1"/>
              </p:cNvSpPr>
              <p:nvPr/>
            </p:nvSpPr>
            <p:spPr bwMode="auto">
              <a:xfrm>
                <a:off x="2243131" y="4710790"/>
                <a:ext cx="631" cy="730"/>
              </a:xfrm>
              <a:custGeom>
                <a:avLst/>
                <a:gdLst>
                  <a:gd name="T0" fmla="*/ 713 w 931"/>
                  <a:gd name="T1" fmla="*/ 1163 h 1179"/>
                  <a:gd name="T2" fmla="*/ 769 w 931"/>
                  <a:gd name="T3" fmla="*/ 1052 h 1179"/>
                  <a:gd name="T4" fmla="*/ 793 w 931"/>
                  <a:gd name="T5" fmla="*/ 1015 h 1179"/>
                  <a:gd name="T6" fmla="*/ 774 w 931"/>
                  <a:gd name="T7" fmla="*/ 963 h 1179"/>
                  <a:gd name="T8" fmla="*/ 751 w 931"/>
                  <a:gd name="T9" fmla="*/ 957 h 1179"/>
                  <a:gd name="T10" fmla="*/ 769 w 931"/>
                  <a:gd name="T11" fmla="*/ 916 h 1179"/>
                  <a:gd name="T12" fmla="*/ 798 w 931"/>
                  <a:gd name="T13" fmla="*/ 857 h 1179"/>
                  <a:gd name="T14" fmla="*/ 887 w 931"/>
                  <a:gd name="T15" fmla="*/ 926 h 1179"/>
                  <a:gd name="T16" fmla="*/ 924 w 931"/>
                  <a:gd name="T17" fmla="*/ 926 h 1179"/>
                  <a:gd name="T18" fmla="*/ 896 w 931"/>
                  <a:gd name="T19" fmla="*/ 846 h 1179"/>
                  <a:gd name="T20" fmla="*/ 868 w 931"/>
                  <a:gd name="T21" fmla="*/ 842 h 1179"/>
                  <a:gd name="T22" fmla="*/ 769 w 931"/>
                  <a:gd name="T23" fmla="*/ 752 h 1179"/>
                  <a:gd name="T24" fmla="*/ 708 w 931"/>
                  <a:gd name="T25" fmla="*/ 704 h 1179"/>
                  <a:gd name="T26" fmla="*/ 713 w 931"/>
                  <a:gd name="T27" fmla="*/ 672 h 1179"/>
                  <a:gd name="T28" fmla="*/ 620 w 931"/>
                  <a:gd name="T29" fmla="*/ 624 h 1179"/>
                  <a:gd name="T30" fmla="*/ 578 w 931"/>
                  <a:gd name="T31" fmla="*/ 583 h 1179"/>
                  <a:gd name="T32" fmla="*/ 479 w 931"/>
                  <a:gd name="T33" fmla="*/ 416 h 1179"/>
                  <a:gd name="T34" fmla="*/ 460 w 931"/>
                  <a:gd name="T35" fmla="*/ 284 h 1179"/>
                  <a:gd name="T36" fmla="*/ 432 w 931"/>
                  <a:gd name="T37" fmla="*/ 232 h 1179"/>
                  <a:gd name="T38" fmla="*/ 512 w 931"/>
                  <a:gd name="T39" fmla="*/ 190 h 1179"/>
                  <a:gd name="T40" fmla="*/ 549 w 931"/>
                  <a:gd name="T41" fmla="*/ 99 h 1179"/>
                  <a:gd name="T42" fmla="*/ 465 w 931"/>
                  <a:gd name="T43" fmla="*/ 58 h 1179"/>
                  <a:gd name="T44" fmla="*/ 451 w 931"/>
                  <a:gd name="T45" fmla="*/ 21 h 1179"/>
                  <a:gd name="T46" fmla="*/ 334 w 931"/>
                  <a:gd name="T47" fmla="*/ 5 h 1179"/>
                  <a:gd name="T48" fmla="*/ 278 w 931"/>
                  <a:gd name="T49" fmla="*/ 74 h 1179"/>
                  <a:gd name="T50" fmla="*/ 230 w 931"/>
                  <a:gd name="T51" fmla="*/ 68 h 1179"/>
                  <a:gd name="T52" fmla="*/ 169 w 931"/>
                  <a:gd name="T53" fmla="*/ 89 h 1179"/>
                  <a:gd name="T54" fmla="*/ 146 w 931"/>
                  <a:gd name="T55" fmla="*/ 42 h 1179"/>
                  <a:gd name="T56" fmla="*/ 113 w 931"/>
                  <a:gd name="T57" fmla="*/ 84 h 1179"/>
                  <a:gd name="T58" fmla="*/ 28 w 931"/>
                  <a:gd name="T59" fmla="*/ 121 h 1179"/>
                  <a:gd name="T60" fmla="*/ 9 w 931"/>
                  <a:gd name="T61" fmla="*/ 195 h 1179"/>
                  <a:gd name="T62" fmla="*/ 0 w 931"/>
                  <a:gd name="T63" fmla="*/ 268 h 1179"/>
                  <a:gd name="T64" fmla="*/ 38 w 931"/>
                  <a:gd name="T65" fmla="*/ 296 h 1179"/>
                  <a:gd name="T66" fmla="*/ 66 w 931"/>
                  <a:gd name="T67" fmla="*/ 354 h 1179"/>
                  <a:gd name="T68" fmla="*/ 155 w 931"/>
                  <a:gd name="T69" fmla="*/ 300 h 1179"/>
                  <a:gd name="T70" fmla="*/ 240 w 931"/>
                  <a:gd name="T71" fmla="*/ 385 h 1179"/>
                  <a:gd name="T72" fmla="*/ 278 w 931"/>
                  <a:gd name="T73" fmla="*/ 500 h 1179"/>
                  <a:gd name="T74" fmla="*/ 342 w 931"/>
                  <a:gd name="T75" fmla="*/ 563 h 1179"/>
                  <a:gd name="T76" fmla="*/ 427 w 931"/>
                  <a:gd name="T77" fmla="*/ 678 h 1179"/>
                  <a:gd name="T78" fmla="*/ 559 w 931"/>
                  <a:gd name="T79" fmla="*/ 788 h 1179"/>
                  <a:gd name="T80" fmla="*/ 601 w 931"/>
                  <a:gd name="T81" fmla="*/ 820 h 1179"/>
                  <a:gd name="T82" fmla="*/ 634 w 931"/>
                  <a:gd name="T83" fmla="*/ 894 h 1179"/>
                  <a:gd name="T84" fmla="*/ 686 w 931"/>
                  <a:gd name="T85" fmla="*/ 916 h 1179"/>
                  <a:gd name="T86" fmla="*/ 705 w 931"/>
                  <a:gd name="T87" fmla="*/ 1010 h 1179"/>
                  <a:gd name="T88" fmla="*/ 689 w 931"/>
                  <a:gd name="T89" fmla="*/ 1079 h 1179"/>
                  <a:gd name="T90" fmla="*/ 675 w 931"/>
                  <a:gd name="T91" fmla="*/ 1163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31" h="1179">
                    <a:moveTo>
                      <a:pt x="675" y="1163"/>
                    </a:moveTo>
                    <a:lnTo>
                      <a:pt x="689" y="1179"/>
                    </a:lnTo>
                    <a:lnTo>
                      <a:pt x="713" y="1163"/>
                    </a:lnTo>
                    <a:lnTo>
                      <a:pt x="741" y="1121"/>
                    </a:lnTo>
                    <a:lnTo>
                      <a:pt x="755" y="1058"/>
                    </a:lnTo>
                    <a:lnTo>
                      <a:pt x="769" y="1052"/>
                    </a:lnTo>
                    <a:lnTo>
                      <a:pt x="779" y="1062"/>
                    </a:lnTo>
                    <a:lnTo>
                      <a:pt x="798" y="1042"/>
                    </a:lnTo>
                    <a:lnTo>
                      <a:pt x="793" y="1015"/>
                    </a:lnTo>
                    <a:lnTo>
                      <a:pt x="802" y="994"/>
                    </a:lnTo>
                    <a:lnTo>
                      <a:pt x="798" y="984"/>
                    </a:lnTo>
                    <a:lnTo>
                      <a:pt x="774" y="963"/>
                    </a:lnTo>
                    <a:lnTo>
                      <a:pt x="765" y="963"/>
                    </a:lnTo>
                    <a:lnTo>
                      <a:pt x="769" y="951"/>
                    </a:lnTo>
                    <a:lnTo>
                      <a:pt x="751" y="957"/>
                    </a:lnTo>
                    <a:lnTo>
                      <a:pt x="741" y="947"/>
                    </a:lnTo>
                    <a:lnTo>
                      <a:pt x="741" y="936"/>
                    </a:lnTo>
                    <a:lnTo>
                      <a:pt x="769" y="916"/>
                    </a:lnTo>
                    <a:lnTo>
                      <a:pt x="783" y="894"/>
                    </a:lnTo>
                    <a:lnTo>
                      <a:pt x="783" y="862"/>
                    </a:lnTo>
                    <a:lnTo>
                      <a:pt x="798" y="857"/>
                    </a:lnTo>
                    <a:lnTo>
                      <a:pt x="845" y="883"/>
                    </a:lnTo>
                    <a:lnTo>
                      <a:pt x="863" y="889"/>
                    </a:lnTo>
                    <a:lnTo>
                      <a:pt x="887" y="926"/>
                    </a:lnTo>
                    <a:lnTo>
                      <a:pt x="896" y="947"/>
                    </a:lnTo>
                    <a:lnTo>
                      <a:pt x="910" y="947"/>
                    </a:lnTo>
                    <a:lnTo>
                      <a:pt x="924" y="926"/>
                    </a:lnTo>
                    <a:lnTo>
                      <a:pt x="931" y="904"/>
                    </a:lnTo>
                    <a:lnTo>
                      <a:pt x="915" y="867"/>
                    </a:lnTo>
                    <a:lnTo>
                      <a:pt x="896" y="846"/>
                    </a:lnTo>
                    <a:lnTo>
                      <a:pt x="878" y="846"/>
                    </a:lnTo>
                    <a:lnTo>
                      <a:pt x="878" y="842"/>
                    </a:lnTo>
                    <a:lnTo>
                      <a:pt x="868" y="842"/>
                    </a:lnTo>
                    <a:lnTo>
                      <a:pt x="821" y="788"/>
                    </a:lnTo>
                    <a:lnTo>
                      <a:pt x="798" y="793"/>
                    </a:lnTo>
                    <a:lnTo>
                      <a:pt x="769" y="752"/>
                    </a:lnTo>
                    <a:lnTo>
                      <a:pt x="751" y="746"/>
                    </a:lnTo>
                    <a:lnTo>
                      <a:pt x="722" y="715"/>
                    </a:lnTo>
                    <a:lnTo>
                      <a:pt x="708" y="704"/>
                    </a:lnTo>
                    <a:lnTo>
                      <a:pt x="719" y="694"/>
                    </a:lnTo>
                    <a:lnTo>
                      <a:pt x="732" y="688"/>
                    </a:lnTo>
                    <a:lnTo>
                      <a:pt x="713" y="672"/>
                    </a:lnTo>
                    <a:lnTo>
                      <a:pt x="689" y="682"/>
                    </a:lnTo>
                    <a:lnTo>
                      <a:pt x="672" y="672"/>
                    </a:lnTo>
                    <a:lnTo>
                      <a:pt x="620" y="624"/>
                    </a:lnTo>
                    <a:lnTo>
                      <a:pt x="615" y="604"/>
                    </a:lnTo>
                    <a:lnTo>
                      <a:pt x="596" y="598"/>
                    </a:lnTo>
                    <a:lnTo>
                      <a:pt x="578" y="583"/>
                    </a:lnTo>
                    <a:lnTo>
                      <a:pt x="530" y="469"/>
                    </a:lnTo>
                    <a:lnTo>
                      <a:pt x="516" y="453"/>
                    </a:lnTo>
                    <a:lnTo>
                      <a:pt x="479" y="416"/>
                    </a:lnTo>
                    <a:lnTo>
                      <a:pt x="436" y="342"/>
                    </a:lnTo>
                    <a:lnTo>
                      <a:pt x="436" y="300"/>
                    </a:lnTo>
                    <a:lnTo>
                      <a:pt x="460" y="284"/>
                    </a:lnTo>
                    <a:lnTo>
                      <a:pt x="460" y="263"/>
                    </a:lnTo>
                    <a:lnTo>
                      <a:pt x="441" y="243"/>
                    </a:lnTo>
                    <a:lnTo>
                      <a:pt x="432" y="232"/>
                    </a:lnTo>
                    <a:lnTo>
                      <a:pt x="436" y="216"/>
                    </a:lnTo>
                    <a:lnTo>
                      <a:pt x="455" y="206"/>
                    </a:lnTo>
                    <a:lnTo>
                      <a:pt x="512" y="190"/>
                    </a:lnTo>
                    <a:lnTo>
                      <a:pt x="535" y="173"/>
                    </a:lnTo>
                    <a:lnTo>
                      <a:pt x="554" y="153"/>
                    </a:lnTo>
                    <a:lnTo>
                      <a:pt x="549" y="99"/>
                    </a:lnTo>
                    <a:lnTo>
                      <a:pt x="554" y="79"/>
                    </a:lnTo>
                    <a:lnTo>
                      <a:pt x="526" y="74"/>
                    </a:lnTo>
                    <a:lnTo>
                      <a:pt x="465" y="58"/>
                    </a:lnTo>
                    <a:lnTo>
                      <a:pt x="455" y="42"/>
                    </a:lnTo>
                    <a:lnTo>
                      <a:pt x="451" y="37"/>
                    </a:lnTo>
                    <a:lnTo>
                      <a:pt x="451" y="21"/>
                    </a:lnTo>
                    <a:lnTo>
                      <a:pt x="446" y="5"/>
                    </a:lnTo>
                    <a:lnTo>
                      <a:pt x="413" y="0"/>
                    </a:lnTo>
                    <a:lnTo>
                      <a:pt x="334" y="5"/>
                    </a:lnTo>
                    <a:lnTo>
                      <a:pt x="325" y="27"/>
                    </a:lnTo>
                    <a:lnTo>
                      <a:pt x="296" y="31"/>
                    </a:lnTo>
                    <a:lnTo>
                      <a:pt x="278" y="74"/>
                    </a:lnTo>
                    <a:lnTo>
                      <a:pt x="278" y="89"/>
                    </a:lnTo>
                    <a:lnTo>
                      <a:pt x="259" y="74"/>
                    </a:lnTo>
                    <a:lnTo>
                      <a:pt x="230" y="68"/>
                    </a:lnTo>
                    <a:lnTo>
                      <a:pt x="212" y="79"/>
                    </a:lnTo>
                    <a:lnTo>
                      <a:pt x="198" y="111"/>
                    </a:lnTo>
                    <a:lnTo>
                      <a:pt x="169" y="89"/>
                    </a:lnTo>
                    <a:lnTo>
                      <a:pt x="174" y="58"/>
                    </a:lnTo>
                    <a:lnTo>
                      <a:pt x="165" y="37"/>
                    </a:lnTo>
                    <a:lnTo>
                      <a:pt x="146" y="42"/>
                    </a:lnTo>
                    <a:lnTo>
                      <a:pt x="141" y="68"/>
                    </a:lnTo>
                    <a:lnTo>
                      <a:pt x="127" y="84"/>
                    </a:lnTo>
                    <a:lnTo>
                      <a:pt x="113" y="84"/>
                    </a:lnTo>
                    <a:lnTo>
                      <a:pt x="47" y="74"/>
                    </a:lnTo>
                    <a:lnTo>
                      <a:pt x="25" y="95"/>
                    </a:lnTo>
                    <a:lnTo>
                      <a:pt x="28" y="121"/>
                    </a:lnTo>
                    <a:lnTo>
                      <a:pt x="33" y="142"/>
                    </a:lnTo>
                    <a:lnTo>
                      <a:pt x="0" y="173"/>
                    </a:lnTo>
                    <a:lnTo>
                      <a:pt x="9" y="195"/>
                    </a:lnTo>
                    <a:lnTo>
                      <a:pt x="19" y="206"/>
                    </a:lnTo>
                    <a:lnTo>
                      <a:pt x="0" y="232"/>
                    </a:lnTo>
                    <a:lnTo>
                      <a:pt x="0" y="268"/>
                    </a:lnTo>
                    <a:lnTo>
                      <a:pt x="9" y="284"/>
                    </a:lnTo>
                    <a:lnTo>
                      <a:pt x="28" y="284"/>
                    </a:lnTo>
                    <a:lnTo>
                      <a:pt x="38" y="296"/>
                    </a:lnTo>
                    <a:lnTo>
                      <a:pt x="47" y="321"/>
                    </a:lnTo>
                    <a:lnTo>
                      <a:pt x="47" y="348"/>
                    </a:lnTo>
                    <a:lnTo>
                      <a:pt x="66" y="354"/>
                    </a:lnTo>
                    <a:lnTo>
                      <a:pt x="80" y="348"/>
                    </a:lnTo>
                    <a:lnTo>
                      <a:pt x="132" y="290"/>
                    </a:lnTo>
                    <a:lnTo>
                      <a:pt x="155" y="300"/>
                    </a:lnTo>
                    <a:lnTo>
                      <a:pt x="202" y="327"/>
                    </a:lnTo>
                    <a:lnTo>
                      <a:pt x="235" y="354"/>
                    </a:lnTo>
                    <a:lnTo>
                      <a:pt x="240" y="385"/>
                    </a:lnTo>
                    <a:lnTo>
                      <a:pt x="259" y="406"/>
                    </a:lnTo>
                    <a:lnTo>
                      <a:pt x="268" y="443"/>
                    </a:lnTo>
                    <a:lnTo>
                      <a:pt x="278" y="500"/>
                    </a:lnTo>
                    <a:lnTo>
                      <a:pt x="292" y="527"/>
                    </a:lnTo>
                    <a:lnTo>
                      <a:pt x="309" y="549"/>
                    </a:lnTo>
                    <a:lnTo>
                      <a:pt x="342" y="563"/>
                    </a:lnTo>
                    <a:lnTo>
                      <a:pt x="372" y="614"/>
                    </a:lnTo>
                    <a:lnTo>
                      <a:pt x="399" y="657"/>
                    </a:lnTo>
                    <a:lnTo>
                      <a:pt x="427" y="678"/>
                    </a:lnTo>
                    <a:lnTo>
                      <a:pt x="479" y="746"/>
                    </a:lnTo>
                    <a:lnTo>
                      <a:pt x="516" y="746"/>
                    </a:lnTo>
                    <a:lnTo>
                      <a:pt x="559" y="788"/>
                    </a:lnTo>
                    <a:lnTo>
                      <a:pt x="559" y="830"/>
                    </a:lnTo>
                    <a:lnTo>
                      <a:pt x="573" y="842"/>
                    </a:lnTo>
                    <a:lnTo>
                      <a:pt x="601" y="820"/>
                    </a:lnTo>
                    <a:lnTo>
                      <a:pt x="606" y="842"/>
                    </a:lnTo>
                    <a:lnTo>
                      <a:pt x="606" y="867"/>
                    </a:lnTo>
                    <a:lnTo>
                      <a:pt x="634" y="894"/>
                    </a:lnTo>
                    <a:lnTo>
                      <a:pt x="643" y="910"/>
                    </a:lnTo>
                    <a:lnTo>
                      <a:pt x="681" y="899"/>
                    </a:lnTo>
                    <a:lnTo>
                      <a:pt x="686" y="916"/>
                    </a:lnTo>
                    <a:lnTo>
                      <a:pt x="681" y="951"/>
                    </a:lnTo>
                    <a:lnTo>
                      <a:pt x="700" y="984"/>
                    </a:lnTo>
                    <a:lnTo>
                      <a:pt x="705" y="1010"/>
                    </a:lnTo>
                    <a:lnTo>
                      <a:pt x="713" y="1037"/>
                    </a:lnTo>
                    <a:lnTo>
                      <a:pt x="708" y="1058"/>
                    </a:lnTo>
                    <a:lnTo>
                      <a:pt x="689" y="1079"/>
                    </a:lnTo>
                    <a:lnTo>
                      <a:pt x="686" y="1105"/>
                    </a:lnTo>
                    <a:lnTo>
                      <a:pt x="672" y="1136"/>
                    </a:lnTo>
                    <a:lnTo>
                      <a:pt x="675" y="1163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grpSp>
          <p:nvGrpSpPr>
            <p:cNvPr id="33" name="GR"/>
            <p:cNvGrpSpPr>
              <a:grpSpLocks/>
            </p:cNvGrpSpPr>
            <p:nvPr/>
          </p:nvGrpSpPr>
          <p:grpSpPr bwMode="auto">
            <a:xfrm>
              <a:off x="6856601" y="5199139"/>
              <a:ext cx="1093780" cy="1031887"/>
              <a:chOff x="3816299" y="5517315"/>
              <a:chExt cx="501" cy="535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64" name="Freeform 536"/>
              <p:cNvSpPr>
                <a:spLocks noChangeAspect="1"/>
              </p:cNvSpPr>
              <p:nvPr/>
            </p:nvSpPr>
            <p:spPr bwMode="auto">
              <a:xfrm>
                <a:off x="3816585" y="5517458"/>
                <a:ext cx="26" cy="24"/>
              </a:xfrm>
              <a:custGeom>
                <a:avLst/>
                <a:gdLst>
                  <a:gd name="T0" fmla="*/ 38 w 38"/>
                  <a:gd name="T1" fmla="*/ 0 h 40"/>
                  <a:gd name="T2" fmla="*/ 14 w 38"/>
                  <a:gd name="T3" fmla="*/ 0 h 40"/>
                  <a:gd name="T4" fmla="*/ 2 w 38"/>
                  <a:gd name="T5" fmla="*/ 9 h 40"/>
                  <a:gd name="T6" fmla="*/ 0 w 38"/>
                  <a:gd name="T7" fmla="*/ 22 h 40"/>
                  <a:gd name="T8" fmla="*/ 0 w 38"/>
                  <a:gd name="T9" fmla="*/ 37 h 40"/>
                  <a:gd name="T10" fmla="*/ 11 w 38"/>
                  <a:gd name="T11" fmla="*/ 40 h 40"/>
                  <a:gd name="T12" fmla="*/ 33 w 38"/>
                  <a:gd name="T13" fmla="*/ 25 h 40"/>
                  <a:gd name="T14" fmla="*/ 38 w 38"/>
                  <a:gd name="T1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40">
                    <a:moveTo>
                      <a:pt x="38" y="0"/>
                    </a:moveTo>
                    <a:lnTo>
                      <a:pt x="14" y="0"/>
                    </a:lnTo>
                    <a:lnTo>
                      <a:pt x="2" y="9"/>
                    </a:lnTo>
                    <a:lnTo>
                      <a:pt x="0" y="22"/>
                    </a:lnTo>
                    <a:lnTo>
                      <a:pt x="0" y="37"/>
                    </a:lnTo>
                    <a:lnTo>
                      <a:pt x="11" y="40"/>
                    </a:lnTo>
                    <a:lnTo>
                      <a:pt x="33" y="25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5" name="Freeform 537"/>
              <p:cNvSpPr>
                <a:spLocks noChangeAspect="1"/>
              </p:cNvSpPr>
              <p:nvPr/>
            </p:nvSpPr>
            <p:spPr bwMode="auto">
              <a:xfrm>
                <a:off x="3816633" y="5517499"/>
                <a:ext cx="45" cy="33"/>
              </a:xfrm>
              <a:custGeom>
                <a:avLst/>
                <a:gdLst>
                  <a:gd name="T0" fmla="*/ 35 w 66"/>
                  <a:gd name="T1" fmla="*/ 0 h 52"/>
                  <a:gd name="T2" fmla="*/ 66 w 66"/>
                  <a:gd name="T3" fmla="*/ 37 h 52"/>
                  <a:gd name="T4" fmla="*/ 60 w 66"/>
                  <a:gd name="T5" fmla="*/ 47 h 52"/>
                  <a:gd name="T6" fmla="*/ 44 w 66"/>
                  <a:gd name="T7" fmla="*/ 52 h 52"/>
                  <a:gd name="T8" fmla="*/ 41 w 66"/>
                  <a:gd name="T9" fmla="*/ 40 h 52"/>
                  <a:gd name="T10" fmla="*/ 35 w 66"/>
                  <a:gd name="T11" fmla="*/ 34 h 52"/>
                  <a:gd name="T12" fmla="*/ 25 w 66"/>
                  <a:gd name="T13" fmla="*/ 40 h 52"/>
                  <a:gd name="T14" fmla="*/ 14 w 66"/>
                  <a:gd name="T15" fmla="*/ 31 h 52"/>
                  <a:gd name="T16" fmla="*/ 9 w 66"/>
                  <a:gd name="T17" fmla="*/ 24 h 52"/>
                  <a:gd name="T18" fmla="*/ 16 w 66"/>
                  <a:gd name="T19" fmla="*/ 18 h 52"/>
                  <a:gd name="T20" fmla="*/ 2 w 66"/>
                  <a:gd name="T21" fmla="*/ 27 h 52"/>
                  <a:gd name="T22" fmla="*/ 0 w 66"/>
                  <a:gd name="T23" fmla="*/ 18 h 52"/>
                  <a:gd name="T24" fmla="*/ 19 w 66"/>
                  <a:gd name="T25" fmla="*/ 10 h 52"/>
                  <a:gd name="T26" fmla="*/ 35 w 66"/>
                  <a:gd name="T2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52">
                    <a:moveTo>
                      <a:pt x="35" y="0"/>
                    </a:moveTo>
                    <a:lnTo>
                      <a:pt x="66" y="37"/>
                    </a:lnTo>
                    <a:lnTo>
                      <a:pt x="60" y="47"/>
                    </a:lnTo>
                    <a:lnTo>
                      <a:pt x="44" y="52"/>
                    </a:lnTo>
                    <a:lnTo>
                      <a:pt x="41" y="40"/>
                    </a:lnTo>
                    <a:lnTo>
                      <a:pt x="35" y="34"/>
                    </a:lnTo>
                    <a:lnTo>
                      <a:pt x="25" y="40"/>
                    </a:lnTo>
                    <a:lnTo>
                      <a:pt x="14" y="31"/>
                    </a:lnTo>
                    <a:lnTo>
                      <a:pt x="9" y="24"/>
                    </a:lnTo>
                    <a:lnTo>
                      <a:pt x="16" y="18"/>
                    </a:lnTo>
                    <a:lnTo>
                      <a:pt x="2" y="27"/>
                    </a:lnTo>
                    <a:lnTo>
                      <a:pt x="0" y="18"/>
                    </a:lnTo>
                    <a:lnTo>
                      <a:pt x="19" y="1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6" name="Freeform 538"/>
              <p:cNvSpPr>
                <a:spLocks noChangeAspect="1"/>
              </p:cNvSpPr>
              <p:nvPr/>
            </p:nvSpPr>
            <p:spPr bwMode="auto">
              <a:xfrm>
                <a:off x="3816309" y="5517596"/>
                <a:ext cx="21" cy="22"/>
              </a:xfrm>
              <a:custGeom>
                <a:avLst/>
                <a:gdLst>
                  <a:gd name="T0" fmla="*/ 22 w 30"/>
                  <a:gd name="T1" fmla="*/ 0 h 36"/>
                  <a:gd name="T2" fmla="*/ 30 w 30"/>
                  <a:gd name="T3" fmla="*/ 10 h 36"/>
                  <a:gd name="T4" fmla="*/ 27 w 30"/>
                  <a:gd name="T5" fmla="*/ 23 h 36"/>
                  <a:gd name="T6" fmla="*/ 30 w 30"/>
                  <a:gd name="T7" fmla="*/ 33 h 36"/>
                  <a:gd name="T8" fmla="*/ 22 w 30"/>
                  <a:gd name="T9" fmla="*/ 36 h 36"/>
                  <a:gd name="T10" fmla="*/ 8 w 30"/>
                  <a:gd name="T11" fmla="*/ 33 h 36"/>
                  <a:gd name="T12" fmla="*/ 0 w 30"/>
                  <a:gd name="T13" fmla="*/ 20 h 36"/>
                  <a:gd name="T14" fmla="*/ 22 w 30"/>
                  <a:gd name="T15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6">
                    <a:moveTo>
                      <a:pt x="22" y="0"/>
                    </a:moveTo>
                    <a:lnTo>
                      <a:pt x="30" y="10"/>
                    </a:lnTo>
                    <a:lnTo>
                      <a:pt x="27" y="23"/>
                    </a:lnTo>
                    <a:lnTo>
                      <a:pt x="30" y="33"/>
                    </a:lnTo>
                    <a:lnTo>
                      <a:pt x="22" y="36"/>
                    </a:lnTo>
                    <a:lnTo>
                      <a:pt x="8" y="33"/>
                    </a:lnTo>
                    <a:lnTo>
                      <a:pt x="0" y="2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7" name="Freeform 539"/>
              <p:cNvSpPr>
                <a:spLocks noChangeAspect="1"/>
              </p:cNvSpPr>
              <p:nvPr/>
            </p:nvSpPr>
            <p:spPr bwMode="auto">
              <a:xfrm>
                <a:off x="3816484" y="5517548"/>
                <a:ext cx="91" cy="76"/>
              </a:xfrm>
              <a:custGeom>
                <a:avLst/>
                <a:gdLst>
                  <a:gd name="T0" fmla="*/ 11 w 134"/>
                  <a:gd name="T1" fmla="*/ 0 h 124"/>
                  <a:gd name="T2" fmla="*/ 0 w 134"/>
                  <a:gd name="T3" fmla="*/ 10 h 124"/>
                  <a:gd name="T4" fmla="*/ 14 w 134"/>
                  <a:gd name="T5" fmla="*/ 37 h 124"/>
                  <a:gd name="T6" fmla="*/ 30 w 134"/>
                  <a:gd name="T7" fmla="*/ 43 h 124"/>
                  <a:gd name="T8" fmla="*/ 49 w 134"/>
                  <a:gd name="T9" fmla="*/ 65 h 124"/>
                  <a:gd name="T10" fmla="*/ 66 w 134"/>
                  <a:gd name="T11" fmla="*/ 77 h 124"/>
                  <a:gd name="T12" fmla="*/ 93 w 134"/>
                  <a:gd name="T13" fmla="*/ 100 h 124"/>
                  <a:gd name="T14" fmla="*/ 109 w 134"/>
                  <a:gd name="T15" fmla="*/ 108 h 124"/>
                  <a:gd name="T16" fmla="*/ 129 w 134"/>
                  <a:gd name="T17" fmla="*/ 124 h 124"/>
                  <a:gd name="T18" fmla="*/ 134 w 134"/>
                  <a:gd name="T19" fmla="*/ 115 h 124"/>
                  <a:gd name="T20" fmla="*/ 93 w 134"/>
                  <a:gd name="T21" fmla="*/ 80 h 124"/>
                  <a:gd name="T22" fmla="*/ 90 w 134"/>
                  <a:gd name="T23" fmla="*/ 63 h 124"/>
                  <a:gd name="T24" fmla="*/ 85 w 134"/>
                  <a:gd name="T25" fmla="*/ 47 h 124"/>
                  <a:gd name="T26" fmla="*/ 68 w 134"/>
                  <a:gd name="T27" fmla="*/ 28 h 124"/>
                  <a:gd name="T28" fmla="*/ 63 w 134"/>
                  <a:gd name="T29" fmla="*/ 31 h 124"/>
                  <a:gd name="T30" fmla="*/ 41 w 134"/>
                  <a:gd name="T31" fmla="*/ 13 h 124"/>
                  <a:gd name="T32" fmla="*/ 28 w 134"/>
                  <a:gd name="T33" fmla="*/ 6 h 124"/>
                  <a:gd name="T34" fmla="*/ 11 w 134"/>
                  <a:gd name="T35" fmla="*/ 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4" h="124">
                    <a:moveTo>
                      <a:pt x="11" y="0"/>
                    </a:moveTo>
                    <a:lnTo>
                      <a:pt x="0" y="10"/>
                    </a:lnTo>
                    <a:lnTo>
                      <a:pt x="14" y="37"/>
                    </a:lnTo>
                    <a:lnTo>
                      <a:pt x="30" y="43"/>
                    </a:lnTo>
                    <a:lnTo>
                      <a:pt x="49" y="65"/>
                    </a:lnTo>
                    <a:lnTo>
                      <a:pt x="66" y="77"/>
                    </a:lnTo>
                    <a:lnTo>
                      <a:pt x="93" y="100"/>
                    </a:lnTo>
                    <a:lnTo>
                      <a:pt x="109" y="108"/>
                    </a:lnTo>
                    <a:lnTo>
                      <a:pt x="129" y="124"/>
                    </a:lnTo>
                    <a:lnTo>
                      <a:pt x="134" y="115"/>
                    </a:lnTo>
                    <a:lnTo>
                      <a:pt x="93" y="80"/>
                    </a:lnTo>
                    <a:lnTo>
                      <a:pt x="90" y="63"/>
                    </a:lnTo>
                    <a:lnTo>
                      <a:pt x="85" y="47"/>
                    </a:lnTo>
                    <a:lnTo>
                      <a:pt x="68" y="28"/>
                    </a:lnTo>
                    <a:lnTo>
                      <a:pt x="63" y="31"/>
                    </a:lnTo>
                    <a:lnTo>
                      <a:pt x="41" y="13"/>
                    </a:lnTo>
                    <a:lnTo>
                      <a:pt x="28" y="6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8" name="Freeform 540"/>
              <p:cNvSpPr>
                <a:spLocks noChangeAspect="1"/>
              </p:cNvSpPr>
              <p:nvPr/>
            </p:nvSpPr>
            <p:spPr bwMode="auto">
              <a:xfrm>
                <a:off x="3816760" y="5517688"/>
                <a:ext cx="36" cy="20"/>
              </a:xfrm>
              <a:custGeom>
                <a:avLst/>
                <a:gdLst>
                  <a:gd name="T0" fmla="*/ 52 w 52"/>
                  <a:gd name="T1" fmla="*/ 8 h 31"/>
                  <a:gd name="T2" fmla="*/ 28 w 52"/>
                  <a:gd name="T3" fmla="*/ 31 h 31"/>
                  <a:gd name="T4" fmla="*/ 12 w 52"/>
                  <a:gd name="T5" fmla="*/ 31 h 31"/>
                  <a:gd name="T6" fmla="*/ 0 w 52"/>
                  <a:gd name="T7" fmla="*/ 21 h 31"/>
                  <a:gd name="T8" fmla="*/ 8 w 52"/>
                  <a:gd name="T9" fmla="*/ 2 h 31"/>
                  <a:gd name="T10" fmla="*/ 33 w 52"/>
                  <a:gd name="T11" fmla="*/ 0 h 31"/>
                  <a:gd name="T12" fmla="*/ 52 w 52"/>
                  <a:gd name="T13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31">
                    <a:moveTo>
                      <a:pt x="52" y="8"/>
                    </a:moveTo>
                    <a:lnTo>
                      <a:pt x="28" y="31"/>
                    </a:lnTo>
                    <a:lnTo>
                      <a:pt x="12" y="31"/>
                    </a:lnTo>
                    <a:lnTo>
                      <a:pt x="0" y="21"/>
                    </a:lnTo>
                    <a:lnTo>
                      <a:pt x="8" y="2"/>
                    </a:lnTo>
                    <a:lnTo>
                      <a:pt x="33" y="0"/>
                    </a:lnTo>
                    <a:lnTo>
                      <a:pt x="52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9" name="Freeform 541"/>
              <p:cNvSpPr>
                <a:spLocks noChangeAspect="1"/>
              </p:cNvSpPr>
              <p:nvPr/>
            </p:nvSpPr>
            <p:spPr bwMode="auto">
              <a:xfrm>
                <a:off x="3816767" y="5517732"/>
                <a:ext cx="33" cy="30"/>
              </a:xfrm>
              <a:custGeom>
                <a:avLst/>
                <a:gdLst>
                  <a:gd name="T0" fmla="*/ 53 w 53"/>
                  <a:gd name="T1" fmla="*/ 0 h 47"/>
                  <a:gd name="T2" fmla="*/ 53 w 53"/>
                  <a:gd name="T3" fmla="*/ 15 h 47"/>
                  <a:gd name="T4" fmla="*/ 20 w 53"/>
                  <a:gd name="T5" fmla="*/ 40 h 47"/>
                  <a:gd name="T6" fmla="*/ 6 w 53"/>
                  <a:gd name="T7" fmla="*/ 47 h 47"/>
                  <a:gd name="T8" fmla="*/ 0 w 53"/>
                  <a:gd name="T9" fmla="*/ 44 h 47"/>
                  <a:gd name="T10" fmla="*/ 5 w 53"/>
                  <a:gd name="T11" fmla="*/ 27 h 47"/>
                  <a:gd name="T12" fmla="*/ 28 w 53"/>
                  <a:gd name="T13" fmla="*/ 8 h 47"/>
                  <a:gd name="T14" fmla="*/ 53 w 53"/>
                  <a:gd name="T1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47">
                    <a:moveTo>
                      <a:pt x="53" y="0"/>
                    </a:moveTo>
                    <a:lnTo>
                      <a:pt x="53" y="15"/>
                    </a:lnTo>
                    <a:lnTo>
                      <a:pt x="20" y="40"/>
                    </a:lnTo>
                    <a:lnTo>
                      <a:pt x="6" y="47"/>
                    </a:lnTo>
                    <a:lnTo>
                      <a:pt x="0" y="44"/>
                    </a:lnTo>
                    <a:lnTo>
                      <a:pt x="5" y="27"/>
                    </a:lnTo>
                    <a:lnTo>
                      <a:pt x="28" y="8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0" name="Freeform 542"/>
              <p:cNvSpPr>
                <a:spLocks noChangeAspect="1"/>
              </p:cNvSpPr>
              <p:nvPr/>
            </p:nvSpPr>
            <p:spPr bwMode="auto">
              <a:xfrm>
                <a:off x="3816352" y="5517605"/>
                <a:ext cx="158" cy="142"/>
              </a:xfrm>
              <a:custGeom>
                <a:avLst/>
                <a:gdLst>
                  <a:gd name="T0" fmla="*/ 33 w 233"/>
                  <a:gd name="T1" fmla="*/ 10 h 231"/>
                  <a:gd name="T2" fmla="*/ 21 w 233"/>
                  <a:gd name="T3" fmla="*/ 16 h 231"/>
                  <a:gd name="T4" fmla="*/ 25 w 233"/>
                  <a:gd name="T5" fmla="*/ 29 h 231"/>
                  <a:gd name="T6" fmla="*/ 14 w 233"/>
                  <a:gd name="T7" fmla="*/ 45 h 231"/>
                  <a:gd name="T8" fmla="*/ 5 w 233"/>
                  <a:gd name="T9" fmla="*/ 43 h 231"/>
                  <a:gd name="T10" fmla="*/ 0 w 233"/>
                  <a:gd name="T11" fmla="*/ 50 h 231"/>
                  <a:gd name="T12" fmla="*/ 2 w 233"/>
                  <a:gd name="T13" fmla="*/ 66 h 231"/>
                  <a:gd name="T14" fmla="*/ 40 w 233"/>
                  <a:gd name="T15" fmla="*/ 82 h 231"/>
                  <a:gd name="T16" fmla="*/ 49 w 233"/>
                  <a:gd name="T17" fmla="*/ 117 h 231"/>
                  <a:gd name="T18" fmla="*/ 60 w 233"/>
                  <a:gd name="T19" fmla="*/ 161 h 231"/>
                  <a:gd name="T20" fmla="*/ 74 w 233"/>
                  <a:gd name="T21" fmla="*/ 185 h 231"/>
                  <a:gd name="T22" fmla="*/ 91 w 233"/>
                  <a:gd name="T23" fmla="*/ 170 h 231"/>
                  <a:gd name="T24" fmla="*/ 112 w 233"/>
                  <a:gd name="T25" fmla="*/ 201 h 231"/>
                  <a:gd name="T26" fmla="*/ 134 w 233"/>
                  <a:gd name="T27" fmla="*/ 231 h 231"/>
                  <a:gd name="T28" fmla="*/ 143 w 233"/>
                  <a:gd name="T29" fmla="*/ 208 h 231"/>
                  <a:gd name="T30" fmla="*/ 136 w 233"/>
                  <a:gd name="T31" fmla="*/ 192 h 231"/>
                  <a:gd name="T32" fmla="*/ 145 w 233"/>
                  <a:gd name="T33" fmla="*/ 185 h 231"/>
                  <a:gd name="T34" fmla="*/ 178 w 233"/>
                  <a:gd name="T35" fmla="*/ 214 h 231"/>
                  <a:gd name="T36" fmla="*/ 188 w 233"/>
                  <a:gd name="T37" fmla="*/ 205 h 231"/>
                  <a:gd name="T38" fmla="*/ 191 w 233"/>
                  <a:gd name="T39" fmla="*/ 195 h 231"/>
                  <a:gd name="T40" fmla="*/ 174 w 233"/>
                  <a:gd name="T41" fmla="*/ 158 h 231"/>
                  <a:gd name="T42" fmla="*/ 174 w 233"/>
                  <a:gd name="T43" fmla="*/ 151 h 231"/>
                  <a:gd name="T44" fmla="*/ 159 w 233"/>
                  <a:gd name="T45" fmla="*/ 121 h 231"/>
                  <a:gd name="T46" fmla="*/ 153 w 233"/>
                  <a:gd name="T47" fmla="*/ 100 h 231"/>
                  <a:gd name="T48" fmla="*/ 159 w 233"/>
                  <a:gd name="T49" fmla="*/ 99 h 231"/>
                  <a:gd name="T50" fmla="*/ 178 w 233"/>
                  <a:gd name="T51" fmla="*/ 103 h 231"/>
                  <a:gd name="T52" fmla="*/ 200 w 233"/>
                  <a:gd name="T53" fmla="*/ 124 h 231"/>
                  <a:gd name="T54" fmla="*/ 211 w 233"/>
                  <a:gd name="T55" fmla="*/ 109 h 231"/>
                  <a:gd name="T56" fmla="*/ 230 w 233"/>
                  <a:gd name="T57" fmla="*/ 111 h 231"/>
                  <a:gd name="T58" fmla="*/ 233 w 233"/>
                  <a:gd name="T59" fmla="*/ 106 h 231"/>
                  <a:gd name="T60" fmla="*/ 209 w 233"/>
                  <a:gd name="T61" fmla="*/ 72 h 231"/>
                  <a:gd name="T62" fmla="*/ 191 w 233"/>
                  <a:gd name="T63" fmla="*/ 74 h 231"/>
                  <a:gd name="T64" fmla="*/ 186 w 233"/>
                  <a:gd name="T65" fmla="*/ 63 h 231"/>
                  <a:gd name="T66" fmla="*/ 174 w 233"/>
                  <a:gd name="T67" fmla="*/ 37 h 231"/>
                  <a:gd name="T68" fmla="*/ 164 w 233"/>
                  <a:gd name="T69" fmla="*/ 47 h 231"/>
                  <a:gd name="T70" fmla="*/ 141 w 233"/>
                  <a:gd name="T71" fmla="*/ 37 h 231"/>
                  <a:gd name="T72" fmla="*/ 126 w 233"/>
                  <a:gd name="T73" fmla="*/ 10 h 231"/>
                  <a:gd name="T74" fmla="*/ 98 w 233"/>
                  <a:gd name="T75" fmla="*/ 13 h 231"/>
                  <a:gd name="T76" fmla="*/ 77 w 233"/>
                  <a:gd name="T77" fmla="*/ 16 h 231"/>
                  <a:gd name="T78" fmla="*/ 63 w 233"/>
                  <a:gd name="T79" fmla="*/ 0 h 231"/>
                  <a:gd name="T80" fmla="*/ 52 w 233"/>
                  <a:gd name="T81" fmla="*/ 9 h 231"/>
                  <a:gd name="T82" fmla="*/ 33 w 233"/>
                  <a:gd name="T83" fmla="*/ 1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33" h="231">
                    <a:moveTo>
                      <a:pt x="33" y="10"/>
                    </a:moveTo>
                    <a:lnTo>
                      <a:pt x="21" y="16"/>
                    </a:lnTo>
                    <a:lnTo>
                      <a:pt x="25" y="29"/>
                    </a:lnTo>
                    <a:lnTo>
                      <a:pt x="14" y="45"/>
                    </a:lnTo>
                    <a:lnTo>
                      <a:pt x="5" y="43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40" y="82"/>
                    </a:lnTo>
                    <a:lnTo>
                      <a:pt x="49" y="117"/>
                    </a:lnTo>
                    <a:lnTo>
                      <a:pt x="60" y="161"/>
                    </a:lnTo>
                    <a:lnTo>
                      <a:pt x="74" y="185"/>
                    </a:lnTo>
                    <a:lnTo>
                      <a:pt x="91" y="170"/>
                    </a:lnTo>
                    <a:lnTo>
                      <a:pt x="112" y="201"/>
                    </a:lnTo>
                    <a:lnTo>
                      <a:pt x="134" y="231"/>
                    </a:lnTo>
                    <a:lnTo>
                      <a:pt x="143" y="208"/>
                    </a:lnTo>
                    <a:lnTo>
                      <a:pt x="136" y="192"/>
                    </a:lnTo>
                    <a:lnTo>
                      <a:pt x="145" y="185"/>
                    </a:lnTo>
                    <a:lnTo>
                      <a:pt x="178" y="214"/>
                    </a:lnTo>
                    <a:lnTo>
                      <a:pt x="188" y="205"/>
                    </a:lnTo>
                    <a:lnTo>
                      <a:pt x="191" y="195"/>
                    </a:lnTo>
                    <a:lnTo>
                      <a:pt x="174" y="158"/>
                    </a:lnTo>
                    <a:lnTo>
                      <a:pt x="174" y="151"/>
                    </a:lnTo>
                    <a:lnTo>
                      <a:pt x="159" y="121"/>
                    </a:lnTo>
                    <a:lnTo>
                      <a:pt x="153" y="100"/>
                    </a:lnTo>
                    <a:lnTo>
                      <a:pt x="159" y="99"/>
                    </a:lnTo>
                    <a:lnTo>
                      <a:pt x="178" y="103"/>
                    </a:lnTo>
                    <a:lnTo>
                      <a:pt x="200" y="124"/>
                    </a:lnTo>
                    <a:lnTo>
                      <a:pt x="211" y="109"/>
                    </a:lnTo>
                    <a:lnTo>
                      <a:pt x="230" y="111"/>
                    </a:lnTo>
                    <a:lnTo>
                      <a:pt x="233" y="106"/>
                    </a:lnTo>
                    <a:lnTo>
                      <a:pt x="209" y="72"/>
                    </a:lnTo>
                    <a:lnTo>
                      <a:pt x="191" y="74"/>
                    </a:lnTo>
                    <a:lnTo>
                      <a:pt x="186" y="63"/>
                    </a:lnTo>
                    <a:lnTo>
                      <a:pt x="174" y="37"/>
                    </a:lnTo>
                    <a:lnTo>
                      <a:pt x="164" y="47"/>
                    </a:lnTo>
                    <a:lnTo>
                      <a:pt x="141" y="37"/>
                    </a:lnTo>
                    <a:lnTo>
                      <a:pt x="126" y="10"/>
                    </a:lnTo>
                    <a:lnTo>
                      <a:pt x="98" y="13"/>
                    </a:lnTo>
                    <a:lnTo>
                      <a:pt x="77" y="16"/>
                    </a:lnTo>
                    <a:lnTo>
                      <a:pt x="63" y="0"/>
                    </a:lnTo>
                    <a:lnTo>
                      <a:pt x="52" y="9"/>
                    </a:lnTo>
                    <a:lnTo>
                      <a:pt x="33" y="10"/>
                    </a:lnTo>
                    <a:close/>
                  </a:path>
                </a:pathLst>
              </a:custGeom>
              <a:solidFill>
                <a:srgbClr val="DCE6F2"/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1" name="Freeform 543"/>
              <p:cNvSpPr>
                <a:spLocks noChangeAspect="1"/>
              </p:cNvSpPr>
              <p:nvPr/>
            </p:nvSpPr>
            <p:spPr bwMode="auto">
              <a:xfrm>
                <a:off x="3816299" y="5517315"/>
                <a:ext cx="370" cy="338"/>
              </a:xfrm>
              <a:custGeom>
                <a:avLst/>
                <a:gdLst>
                  <a:gd name="T0" fmla="*/ 99 w 543"/>
                  <a:gd name="T1" fmla="*/ 145 h 549"/>
                  <a:gd name="T2" fmla="*/ 70 w 543"/>
                  <a:gd name="T3" fmla="*/ 238 h 549"/>
                  <a:gd name="T4" fmla="*/ 56 w 543"/>
                  <a:gd name="T5" fmla="*/ 259 h 549"/>
                  <a:gd name="T6" fmla="*/ 30 w 543"/>
                  <a:gd name="T7" fmla="*/ 285 h 549"/>
                  <a:gd name="T8" fmla="*/ 0 w 543"/>
                  <a:gd name="T9" fmla="*/ 290 h 549"/>
                  <a:gd name="T10" fmla="*/ 39 w 543"/>
                  <a:gd name="T11" fmla="*/ 370 h 549"/>
                  <a:gd name="T12" fmla="*/ 72 w 543"/>
                  <a:gd name="T13" fmla="*/ 370 h 549"/>
                  <a:gd name="T14" fmla="*/ 61 w 543"/>
                  <a:gd name="T15" fmla="*/ 395 h 549"/>
                  <a:gd name="T16" fmla="*/ 72 w 543"/>
                  <a:gd name="T17" fmla="*/ 438 h 549"/>
                  <a:gd name="T18" fmla="*/ 96 w 543"/>
                  <a:gd name="T19" fmla="*/ 469 h 549"/>
                  <a:gd name="T20" fmla="*/ 115 w 543"/>
                  <a:gd name="T21" fmla="*/ 451 h 549"/>
                  <a:gd name="T22" fmla="*/ 136 w 543"/>
                  <a:gd name="T23" fmla="*/ 454 h 549"/>
                  <a:gd name="T24" fmla="*/ 201 w 543"/>
                  <a:gd name="T25" fmla="*/ 462 h 549"/>
                  <a:gd name="T26" fmla="*/ 241 w 543"/>
                  <a:gd name="T27" fmla="*/ 485 h 549"/>
                  <a:gd name="T28" fmla="*/ 262 w 543"/>
                  <a:gd name="T29" fmla="*/ 515 h 549"/>
                  <a:gd name="T30" fmla="*/ 290 w 543"/>
                  <a:gd name="T31" fmla="*/ 502 h 549"/>
                  <a:gd name="T32" fmla="*/ 342 w 543"/>
                  <a:gd name="T33" fmla="*/ 549 h 549"/>
                  <a:gd name="T34" fmla="*/ 351 w 543"/>
                  <a:gd name="T35" fmla="*/ 522 h 549"/>
                  <a:gd name="T36" fmla="*/ 350 w 543"/>
                  <a:gd name="T37" fmla="*/ 478 h 549"/>
                  <a:gd name="T38" fmla="*/ 328 w 543"/>
                  <a:gd name="T39" fmla="*/ 459 h 549"/>
                  <a:gd name="T40" fmla="*/ 272 w 543"/>
                  <a:gd name="T41" fmla="*/ 420 h 549"/>
                  <a:gd name="T42" fmla="*/ 239 w 543"/>
                  <a:gd name="T43" fmla="*/ 407 h 549"/>
                  <a:gd name="T44" fmla="*/ 227 w 543"/>
                  <a:gd name="T45" fmla="*/ 388 h 549"/>
                  <a:gd name="T46" fmla="*/ 246 w 543"/>
                  <a:gd name="T47" fmla="*/ 367 h 549"/>
                  <a:gd name="T48" fmla="*/ 232 w 543"/>
                  <a:gd name="T49" fmla="*/ 336 h 549"/>
                  <a:gd name="T50" fmla="*/ 256 w 543"/>
                  <a:gd name="T51" fmla="*/ 349 h 549"/>
                  <a:gd name="T52" fmla="*/ 272 w 543"/>
                  <a:gd name="T53" fmla="*/ 339 h 549"/>
                  <a:gd name="T54" fmla="*/ 241 w 543"/>
                  <a:gd name="T55" fmla="*/ 287 h 549"/>
                  <a:gd name="T56" fmla="*/ 215 w 543"/>
                  <a:gd name="T57" fmla="*/ 228 h 549"/>
                  <a:gd name="T58" fmla="*/ 209 w 543"/>
                  <a:gd name="T59" fmla="*/ 191 h 549"/>
                  <a:gd name="T60" fmla="*/ 223 w 543"/>
                  <a:gd name="T61" fmla="*/ 166 h 549"/>
                  <a:gd name="T62" fmla="*/ 234 w 543"/>
                  <a:gd name="T63" fmla="*/ 198 h 549"/>
                  <a:gd name="T64" fmla="*/ 241 w 543"/>
                  <a:gd name="T65" fmla="*/ 209 h 549"/>
                  <a:gd name="T66" fmla="*/ 288 w 543"/>
                  <a:gd name="T67" fmla="*/ 250 h 549"/>
                  <a:gd name="T68" fmla="*/ 293 w 543"/>
                  <a:gd name="T69" fmla="*/ 222 h 549"/>
                  <a:gd name="T70" fmla="*/ 326 w 543"/>
                  <a:gd name="T71" fmla="*/ 250 h 549"/>
                  <a:gd name="T72" fmla="*/ 312 w 543"/>
                  <a:gd name="T73" fmla="*/ 216 h 549"/>
                  <a:gd name="T74" fmla="*/ 326 w 543"/>
                  <a:gd name="T75" fmla="*/ 201 h 549"/>
                  <a:gd name="T76" fmla="*/ 364 w 543"/>
                  <a:gd name="T77" fmla="*/ 211 h 549"/>
                  <a:gd name="T78" fmla="*/ 347 w 543"/>
                  <a:gd name="T79" fmla="*/ 185 h 549"/>
                  <a:gd name="T80" fmla="*/ 312 w 543"/>
                  <a:gd name="T81" fmla="*/ 161 h 549"/>
                  <a:gd name="T82" fmla="*/ 314 w 543"/>
                  <a:gd name="T83" fmla="*/ 139 h 549"/>
                  <a:gd name="T84" fmla="*/ 377 w 543"/>
                  <a:gd name="T85" fmla="*/ 124 h 549"/>
                  <a:gd name="T86" fmla="*/ 442 w 543"/>
                  <a:gd name="T87" fmla="*/ 117 h 549"/>
                  <a:gd name="T88" fmla="*/ 478 w 543"/>
                  <a:gd name="T89" fmla="*/ 124 h 549"/>
                  <a:gd name="T90" fmla="*/ 513 w 543"/>
                  <a:gd name="T91" fmla="*/ 108 h 549"/>
                  <a:gd name="T92" fmla="*/ 541 w 543"/>
                  <a:gd name="T93" fmla="*/ 68 h 549"/>
                  <a:gd name="T94" fmla="*/ 541 w 543"/>
                  <a:gd name="T95" fmla="*/ 9 h 549"/>
                  <a:gd name="T96" fmla="*/ 516 w 543"/>
                  <a:gd name="T97" fmla="*/ 0 h 549"/>
                  <a:gd name="T98" fmla="*/ 508 w 543"/>
                  <a:gd name="T99" fmla="*/ 28 h 549"/>
                  <a:gd name="T100" fmla="*/ 491 w 543"/>
                  <a:gd name="T101" fmla="*/ 50 h 549"/>
                  <a:gd name="T102" fmla="*/ 469 w 543"/>
                  <a:gd name="T103" fmla="*/ 64 h 549"/>
                  <a:gd name="T104" fmla="*/ 427 w 543"/>
                  <a:gd name="T105" fmla="*/ 47 h 549"/>
                  <a:gd name="T106" fmla="*/ 386 w 543"/>
                  <a:gd name="T107" fmla="*/ 28 h 549"/>
                  <a:gd name="T108" fmla="*/ 342 w 543"/>
                  <a:gd name="T109" fmla="*/ 64 h 549"/>
                  <a:gd name="T110" fmla="*/ 293 w 543"/>
                  <a:gd name="T111" fmla="*/ 80 h 549"/>
                  <a:gd name="T112" fmla="*/ 256 w 543"/>
                  <a:gd name="T113" fmla="*/ 87 h 549"/>
                  <a:gd name="T114" fmla="*/ 232 w 543"/>
                  <a:gd name="T115" fmla="*/ 111 h 549"/>
                  <a:gd name="T116" fmla="*/ 194 w 543"/>
                  <a:gd name="T117" fmla="*/ 117 h 549"/>
                  <a:gd name="T118" fmla="*/ 160 w 543"/>
                  <a:gd name="T119" fmla="*/ 138 h 549"/>
                  <a:gd name="T120" fmla="*/ 124 w 543"/>
                  <a:gd name="T121" fmla="*/ 138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3" h="549">
                    <a:moveTo>
                      <a:pt x="110" y="135"/>
                    </a:moveTo>
                    <a:lnTo>
                      <a:pt x="99" y="145"/>
                    </a:lnTo>
                    <a:lnTo>
                      <a:pt x="86" y="192"/>
                    </a:lnTo>
                    <a:lnTo>
                      <a:pt x="70" y="238"/>
                    </a:lnTo>
                    <a:lnTo>
                      <a:pt x="63" y="243"/>
                    </a:lnTo>
                    <a:lnTo>
                      <a:pt x="56" y="259"/>
                    </a:lnTo>
                    <a:lnTo>
                      <a:pt x="47" y="275"/>
                    </a:lnTo>
                    <a:lnTo>
                      <a:pt x="30" y="285"/>
                    </a:lnTo>
                    <a:lnTo>
                      <a:pt x="17" y="290"/>
                    </a:lnTo>
                    <a:lnTo>
                      <a:pt x="0" y="290"/>
                    </a:lnTo>
                    <a:lnTo>
                      <a:pt x="22" y="343"/>
                    </a:lnTo>
                    <a:lnTo>
                      <a:pt x="39" y="370"/>
                    </a:lnTo>
                    <a:lnTo>
                      <a:pt x="56" y="370"/>
                    </a:lnTo>
                    <a:lnTo>
                      <a:pt x="72" y="370"/>
                    </a:lnTo>
                    <a:lnTo>
                      <a:pt x="77" y="383"/>
                    </a:lnTo>
                    <a:lnTo>
                      <a:pt x="61" y="395"/>
                    </a:lnTo>
                    <a:lnTo>
                      <a:pt x="61" y="413"/>
                    </a:lnTo>
                    <a:lnTo>
                      <a:pt x="72" y="438"/>
                    </a:lnTo>
                    <a:lnTo>
                      <a:pt x="86" y="459"/>
                    </a:lnTo>
                    <a:lnTo>
                      <a:pt x="96" y="469"/>
                    </a:lnTo>
                    <a:lnTo>
                      <a:pt x="101" y="454"/>
                    </a:lnTo>
                    <a:lnTo>
                      <a:pt x="115" y="451"/>
                    </a:lnTo>
                    <a:lnTo>
                      <a:pt x="132" y="467"/>
                    </a:lnTo>
                    <a:lnTo>
                      <a:pt x="136" y="454"/>
                    </a:lnTo>
                    <a:lnTo>
                      <a:pt x="162" y="457"/>
                    </a:lnTo>
                    <a:lnTo>
                      <a:pt x="201" y="462"/>
                    </a:lnTo>
                    <a:lnTo>
                      <a:pt x="229" y="472"/>
                    </a:lnTo>
                    <a:lnTo>
                      <a:pt x="241" y="485"/>
                    </a:lnTo>
                    <a:lnTo>
                      <a:pt x="253" y="504"/>
                    </a:lnTo>
                    <a:lnTo>
                      <a:pt x="262" y="515"/>
                    </a:lnTo>
                    <a:lnTo>
                      <a:pt x="274" y="504"/>
                    </a:lnTo>
                    <a:lnTo>
                      <a:pt x="290" y="502"/>
                    </a:lnTo>
                    <a:lnTo>
                      <a:pt x="314" y="521"/>
                    </a:lnTo>
                    <a:lnTo>
                      <a:pt x="342" y="549"/>
                    </a:lnTo>
                    <a:lnTo>
                      <a:pt x="350" y="543"/>
                    </a:lnTo>
                    <a:lnTo>
                      <a:pt x="351" y="522"/>
                    </a:lnTo>
                    <a:lnTo>
                      <a:pt x="351" y="499"/>
                    </a:lnTo>
                    <a:lnTo>
                      <a:pt x="350" y="478"/>
                    </a:lnTo>
                    <a:lnTo>
                      <a:pt x="337" y="454"/>
                    </a:lnTo>
                    <a:lnTo>
                      <a:pt x="328" y="459"/>
                    </a:lnTo>
                    <a:lnTo>
                      <a:pt x="307" y="448"/>
                    </a:lnTo>
                    <a:lnTo>
                      <a:pt x="272" y="420"/>
                    </a:lnTo>
                    <a:lnTo>
                      <a:pt x="262" y="410"/>
                    </a:lnTo>
                    <a:lnTo>
                      <a:pt x="239" y="407"/>
                    </a:lnTo>
                    <a:lnTo>
                      <a:pt x="227" y="398"/>
                    </a:lnTo>
                    <a:lnTo>
                      <a:pt x="227" y="388"/>
                    </a:lnTo>
                    <a:lnTo>
                      <a:pt x="241" y="373"/>
                    </a:lnTo>
                    <a:lnTo>
                      <a:pt x="246" y="367"/>
                    </a:lnTo>
                    <a:lnTo>
                      <a:pt x="237" y="354"/>
                    </a:lnTo>
                    <a:lnTo>
                      <a:pt x="232" y="336"/>
                    </a:lnTo>
                    <a:lnTo>
                      <a:pt x="237" y="327"/>
                    </a:lnTo>
                    <a:lnTo>
                      <a:pt x="256" y="349"/>
                    </a:lnTo>
                    <a:lnTo>
                      <a:pt x="272" y="357"/>
                    </a:lnTo>
                    <a:lnTo>
                      <a:pt x="272" y="339"/>
                    </a:lnTo>
                    <a:lnTo>
                      <a:pt x="262" y="317"/>
                    </a:lnTo>
                    <a:lnTo>
                      <a:pt x="241" y="287"/>
                    </a:lnTo>
                    <a:lnTo>
                      <a:pt x="218" y="248"/>
                    </a:lnTo>
                    <a:lnTo>
                      <a:pt x="215" y="228"/>
                    </a:lnTo>
                    <a:lnTo>
                      <a:pt x="213" y="209"/>
                    </a:lnTo>
                    <a:lnTo>
                      <a:pt x="209" y="191"/>
                    </a:lnTo>
                    <a:lnTo>
                      <a:pt x="206" y="172"/>
                    </a:lnTo>
                    <a:lnTo>
                      <a:pt x="223" y="166"/>
                    </a:lnTo>
                    <a:lnTo>
                      <a:pt x="220" y="179"/>
                    </a:lnTo>
                    <a:lnTo>
                      <a:pt x="234" y="198"/>
                    </a:lnTo>
                    <a:lnTo>
                      <a:pt x="243" y="198"/>
                    </a:lnTo>
                    <a:lnTo>
                      <a:pt x="241" y="209"/>
                    </a:lnTo>
                    <a:lnTo>
                      <a:pt x="286" y="259"/>
                    </a:lnTo>
                    <a:lnTo>
                      <a:pt x="288" y="250"/>
                    </a:lnTo>
                    <a:lnTo>
                      <a:pt x="279" y="228"/>
                    </a:lnTo>
                    <a:lnTo>
                      <a:pt x="293" y="222"/>
                    </a:lnTo>
                    <a:lnTo>
                      <a:pt x="314" y="232"/>
                    </a:lnTo>
                    <a:lnTo>
                      <a:pt x="326" y="250"/>
                    </a:lnTo>
                    <a:lnTo>
                      <a:pt x="328" y="238"/>
                    </a:lnTo>
                    <a:lnTo>
                      <a:pt x="312" y="216"/>
                    </a:lnTo>
                    <a:lnTo>
                      <a:pt x="314" y="206"/>
                    </a:lnTo>
                    <a:lnTo>
                      <a:pt x="326" y="201"/>
                    </a:lnTo>
                    <a:lnTo>
                      <a:pt x="356" y="216"/>
                    </a:lnTo>
                    <a:lnTo>
                      <a:pt x="364" y="211"/>
                    </a:lnTo>
                    <a:lnTo>
                      <a:pt x="361" y="195"/>
                    </a:lnTo>
                    <a:lnTo>
                      <a:pt x="347" y="185"/>
                    </a:lnTo>
                    <a:lnTo>
                      <a:pt x="326" y="174"/>
                    </a:lnTo>
                    <a:lnTo>
                      <a:pt x="312" y="161"/>
                    </a:lnTo>
                    <a:lnTo>
                      <a:pt x="309" y="151"/>
                    </a:lnTo>
                    <a:lnTo>
                      <a:pt x="314" y="139"/>
                    </a:lnTo>
                    <a:lnTo>
                      <a:pt x="345" y="135"/>
                    </a:lnTo>
                    <a:lnTo>
                      <a:pt x="377" y="124"/>
                    </a:lnTo>
                    <a:lnTo>
                      <a:pt x="400" y="127"/>
                    </a:lnTo>
                    <a:lnTo>
                      <a:pt x="442" y="117"/>
                    </a:lnTo>
                    <a:lnTo>
                      <a:pt x="450" y="111"/>
                    </a:lnTo>
                    <a:lnTo>
                      <a:pt x="478" y="124"/>
                    </a:lnTo>
                    <a:lnTo>
                      <a:pt x="502" y="138"/>
                    </a:lnTo>
                    <a:lnTo>
                      <a:pt x="513" y="108"/>
                    </a:lnTo>
                    <a:lnTo>
                      <a:pt x="534" y="77"/>
                    </a:lnTo>
                    <a:lnTo>
                      <a:pt x="541" y="68"/>
                    </a:lnTo>
                    <a:lnTo>
                      <a:pt x="543" y="13"/>
                    </a:lnTo>
                    <a:lnTo>
                      <a:pt x="541" y="9"/>
                    </a:lnTo>
                    <a:lnTo>
                      <a:pt x="529" y="0"/>
                    </a:lnTo>
                    <a:lnTo>
                      <a:pt x="516" y="0"/>
                    </a:lnTo>
                    <a:lnTo>
                      <a:pt x="508" y="9"/>
                    </a:lnTo>
                    <a:lnTo>
                      <a:pt x="508" y="28"/>
                    </a:lnTo>
                    <a:lnTo>
                      <a:pt x="510" y="46"/>
                    </a:lnTo>
                    <a:lnTo>
                      <a:pt x="491" y="50"/>
                    </a:lnTo>
                    <a:lnTo>
                      <a:pt x="478" y="61"/>
                    </a:lnTo>
                    <a:lnTo>
                      <a:pt x="469" y="64"/>
                    </a:lnTo>
                    <a:lnTo>
                      <a:pt x="438" y="56"/>
                    </a:lnTo>
                    <a:lnTo>
                      <a:pt x="427" y="47"/>
                    </a:lnTo>
                    <a:lnTo>
                      <a:pt x="410" y="58"/>
                    </a:lnTo>
                    <a:lnTo>
                      <a:pt x="386" y="28"/>
                    </a:lnTo>
                    <a:lnTo>
                      <a:pt x="361" y="50"/>
                    </a:lnTo>
                    <a:lnTo>
                      <a:pt x="342" y="64"/>
                    </a:lnTo>
                    <a:lnTo>
                      <a:pt x="323" y="74"/>
                    </a:lnTo>
                    <a:lnTo>
                      <a:pt x="293" y="80"/>
                    </a:lnTo>
                    <a:lnTo>
                      <a:pt x="272" y="87"/>
                    </a:lnTo>
                    <a:lnTo>
                      <a:pt x="256" y="87"/>
                    </a:lnTo>
                    <a:lnTo>
                      <a:pt x="248" y="90"/>
                    </a:lnTo>
                    <a:lnTo>
                      <a:pt x="232" y="111"/>
                    </a:lnTo>
                    <a:lnTo>
                      <a:pt x="218" y="111"/>
                    </a:lnTo>
                    <a:lnTo>
                      <a:pt x="194" y="117"/>
                    </a:lnTo>
                    <a:lnTo>
                      <a:pt x="171" y="114"/>
                    </a:lnTo>
                    <a:lnTo>
                      <a:pt x="160" y="138"/>
                    </a:lnTo>
                    <a:lnTo>
                      <a:pt x="141" y="139"/>
                    </a:lnTo>
                    <a:lnTo>
                      <a:pt x="124" y="138"/>
                    </a:lnTo>
                    <a:lnTo>
                      <a:pt x="110" y="135"/>
                    </a:lnTo>
                    <a:close/>
                  </a:path>
                </a:pathLst>
              </a:custGeom>
              <a:solidFill>
                <a:srgbClr val="DCE6F2"/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72" name="Freeform 544"/>
              <p:cNvSpPr>
                <a:spLocks noChangeAspect="1"/>
              </p:cNvSpPr>
              <p:nvPr/>
            </p:nvSpPr>
            <p:spPr bwMode="auto">
              <a:xfrm>
                <a:off x="3816513" y="5517804"/>
                <a:ext cx="170" cy="46"/>
              </a:xfrm>
              <a:custGeom>
                <a:avLst/>
                <a:gdLst>
                  <a:gd name="T0" fmla="*/ 52 w 253"/>
                  <a:gd name="T1" fmla="*/ 16 h 77"/>
                  <a:gd name="T2" fmla="*/ 71 w 253"/>
                  <a:gd name="T3" fmla="*/ 6 h 77"/>
                  <a:gd name="T4" fmla="*/ 80 w 253"/>
                  <a:gd name="T5" fmla="*/ 16 h 77"/>
                  <a:gd name="T6" fmla="*/ 88 w 253"/>
                  <a:gd name="T7" fmla="*/ 18 h 77"/>
                  <a:gd name="T8" fmla="*/ 101 w 253"/>
                  <a:gd name="T9" fmla="*/ 10 h 77"/>
                  <a:gd name="T10" fmla="*/ 110 w 253"/>
                  <a:gd name="T11" fmla="*/ 6 h 77"/>
                  <a:gd name="T12" fmla="*/ 151 w 253"/>
                  <a:gd name="T13" fmla="*/ 10 h 77"/>
                  <a:gd name="T14" fmla="*/ 190 w 253"/>
                  <a:gd name="T15" fmla="*/ 8 h 77"/>
                  <a:gd name="T16" fmla="*/ 202 w 253"/>
                  <a:gd name="T17" fmla="*/ 21 h 77"/>
                  <a:gd name="T18" fmla="*/ 202 w 253"/>
                  <a:gd name="T19" fmla="*/ 28 h 77"/>
                  <a:gd name="T20" fmla="*/ 229 w 253"/>
                  <a:gd name="T21" fmla="*/ 24 h 77"/>
                  <a:gd name="T22" fmla="*/ 245 w 253"/>
                  <a:gd name="T23" fmla="*/ 27 h 77"/>
                  <a:gd name="T24" fmla="*/ 253 w 253"/>
                  <a:gd name="T25" fmla="*/ 37 h 77"/>
                  <a:gd name="T26" fmla="*/ 245 w 253"/>
                  <a:gd name="T27" fmla="*/ 50 h 77"/>
                  <a:gd name="T28" fmla="*/ 220 w 253"/>
                  <a:gd name="T29" fmla="*/ 48 h 77"/>
                  <a:gd name="T30" fmla="*/ 204 w 253"/>
                  <a:gd name="T31" fmla="*/ 58 h 77"/>
                  <a:gd name="T32" fmla="*/ 176 w 253"/>
                  <a:gd name="T33" fmla="*/ 58 h 77"/>
                  <a:gd name="T34" fmla="*/ 148 w 253"/>
                  <a:gd name="T35" fmla="*/ 71 h 77"/>
                  <a:gd name="T36" fmla="*/ 124 w 253"/>
                  <a:gd name="T37" fmla="*/ 77 h 77"/>
                  <a:gd name="T38" fmla="*/ 105 w 253"/>
                  <a:gd name="T39" fmla="*/ 64 h 77"/>
                  <a:gd name="T40" fmla="*/ 80 w 253"/>
                  <a:gd name="T41" fmla="*/ 48 h 77"/>
                  <a:gd name="T42" fmla="*/ 55 w 253"/>
                  <a:gd name="T43" fmla="*/ 48 h 77"/>
                  <a:gd name="T44" fmla="*/ 22 w 253"/>
                  <a:gd name="T45" fmla="*/ 40 h 77"/>
                  <a:gd name="T46" fmla="*/ 9 w 253"/>
                  <a:gd name="T47" fmla="*/ 28 h 77"/>
                  <a:gd name="T48" fmla="*/ 0 w 253"/>
                  <a:gd name="T49" fmla="*/ 8 h 77"/>
                  <a:gd name="T50" fmla="*/ 5 w 253"/>
                  <a:gd name="T51" fmla="*/ 0 h 77"/>
                  <a:gd name="T52" fmla="*/ 33 w 253"/>
                  <a:gd name="T53" fmla="*/ 6 h 77"/>
                  <a:gd name="T54" fmla="*/ 52 w 253"/>
                  <a:gd name="T55" fmla="*/ 1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3" h="77">
                    <a:moveTo>
                      <a:pt x="52" y="16"/>
                    </a:moveTo>
                    <a:lnTo>
                      <a:pt x="71" y="6"/>
                    </a:lnTo>
                    <a:lnTo>
                      <a:pt x="80" y="16"/>
                    </a:lnTo>
                    <a:lnTo>
                      <a:pt x="88" y="18"/>
                    </a:lnTo>
                    <a:lnTo>
                      <a:pt x="101" y="10"/>
                    </a:lnTo>
                    <a:lnTo>
                      <a:pt x="110" y="6"/>
                    </a:lnTo>
                    <a:lnTo>
                      <a:pt x="151" y="10"/>
                    </a:lnTo>
                    <a:lnTo>
                      <a:pt x="190" y="8"/>
                    </a:lnTo>
                    <a:lnTo>
                      <a:pt x="202" y="21"/>
                    </a:lnTo>
                    <a:lnTo>
                      <a:pt x="202" y="28"/>
                    </a:lnTo>
                    <a:lnTo>
                      <a:pt x="229" y="24"/>
                    </a:lnTo>
                    <a:lnTo>
                      <a:pt x="245" y="27"/>
                    </a:lnTo>
                    <a:lnTo>
                      <a:pt x="253" y="37"/>
                    </a:lnTo>
                    <a:lnTo>
                      <a:pt x="245" y="50"/>
                    </a:lnTo>
                    <a:lnTo>
                      <a:pt x="220" y="48"/>
                    </a:lnTo>
                    <a:lnTo>
                      <a:pt x="204" y="58"/>
                    </a:lnTo>
                    <a:lnTo>
                      <a:pt x="176" y="58"/>
                    </a:lnTo>
                    <a:lnTo>
                      <a:pt x="148" y="71"/>
                    </a:lnTo>
                    <a:lnTo>
                      <a:pt x="124" y="77"/>
                    </a:lnTo>
                    <a:lnTo>
                      <a:pt x="105" y="64"/>
                    </a:lnTo>
                    <a:lnTo>
                      <a:pt x="80" y="48"/>
                    </a:lnTo>
                    <a:lnTo>
                      <a:pt x="55" y="48"/>
                    </a:lnTo>
                    <a:lnTo>
                      <a:pt x="22" y="40"/>
                    </a:lnTo>
                    <a:lnTo>
                      <a:pt x="9" y="28"/>
                    </a:lnTo>
                    <a:lnTo>
                      <a:pt x="0" y="8"/>
                    </a:lnTo>
                    <a:lnTo>
                      <a:pt x="5" y="0"/>
                    </a:lnTo>
                    <a:lnTo>
                      <a:pt x="33" y="6"/>
                    </a:lnTo>
                    <a:lnTo>
                      <a:pt x="52" y="16"/>
                    </a:lnTo>
                    <a:close/>
                  </a:path>
                </a:pathLst>
              </a:custGeom>
              <a:solidFill>
                <a:srgbClr val="DCE6F2"/>
              </a:solidFill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sp>
          <p:nvSpPr>
            <p:cNvPr id="34" name="HU"/>
            <p:cNvSpPr>
              <a:spLocks noChangeAspect="1"/>
            </p:cNvSpPr>
            <p:nvPr/>
          </p:nvSpPr>
          <p:spPr bwMode="auto">
            <a:xfrm>
              <a:off x="6411913" y="4203700"/>
              <a:ext cx="782637" cy="431800"/>
            </a:xfrm>
            <a:custGeom>
              <a:avLst/>
              <a:gdLst>
                <a:gd name="T0" fmla="*/ 3 w 532"/>
                <a:gd name="T1" fmla="*/ 229 h 361"/>
                <a:gd name="T2" fmla="*/ 19 w 532"/>
                <a:gd name="T3" fmla="*/ 245 h 361"/>
                <a:gd name="T4" fmla="*/ 17 w 532"/>
                <a:gd name="T5" fmla="*/ 253 h 361"/>
                <a:gd name="T6" fmla="*/ 22 w 532"/>
                <a:gd name="T7" fmla="*/ 269 h 361"/>
                <a:gd name="T8" fmla="*/ 36 w 532"/>
                <a:gd name="T9" fmla="*/ 269 h 361"/>
                <a:gd name="T10" fmla="*/ 89 w 532"/>
                <a:gd name="T11" fmla="*/ 327 h 361"/>
                <a:gd name="T12" fmla="*/ 105 w 532"/>
                <a:gd name="T13" fmla="*/ 330 h 361"/>
                <a:gd name="T14" fmla="*/ 148 w 532"/>
                <a:gd name="T15" fmla="*/ 361 h 361"/>
                <a:gd name="T16" fmla="*/ 169 w 532"/>
                <a:gd name="T17" fmla="*/ 343 h 361"/>
                <a:gd name="T18" fmla="*/ 199 w 532"/>
                <a:gd name="T19" fmla="*/ 346 h 361"/>
                <a:gd name="T20" fmla="*/ 209 w 532"/>
                <a:gd name="T21" fmla="*/ 353 h 361"/>
                <a:gd name="T22" fmla="*/ 232 w 532"/>
                <a:gd name="T23" fmla="*/ 343 h 361"/>
                <a:gd name="T24" fmla="*/ 279 w 532"/>
                <a:gd name="T25" fmla="*/ 321 h 361"/>
                <a:gd name="T26" fmla="*/ 333 w 532"/>
                <a:gd name="T27" fmla="*/ 311 h 361"/>
                <a:gd name="T28" fmla="*/ 356 w 532"/>
                <a:gd name="T29" fmla="*/ 316 h 361"/>
                <a:gd name="T30" fmla="*/ 364 w 532"/>
                <a:gd name="T31" fmla="*/ 330 h 361"/>
                <a:gd name="T32" fmla="*/ 383 w 532"/>
                <a:gd name="T33" fmla="*/ 306 h 361"/>
                <a:gd name="T34" fmla="*/ 408 w 532"/>
                <a:gd name="T35" fmla="*/ 296 h 361"/>
                <a:gd name="T36" fmla="*/ 432 w 532"/>
                <a:gd name="T37" fmla="*/ 292 h 361"/>
                <a:gd name="T38" fmla="*/ 474 w 532"/>
                <a:gd name="T39" fmla="*/ 245 h 361"/>
                <a:gd name="T40" fmla="*/ 485 w 532"/>
                <a:gd name="T41" fmla="*/ 216 h 361"/>
                <a:gd name="T42" fmla="*/ 490 w 532"/>
                <a:gd name="T43" fmla="*/ 161 h 361"/>
                <a:gd name="T44" fmla="*/ 495 w 532"/>
                <a:gd name="T45" fmla="*/ 115 h 361"/>
                <a:gd name="T46" fmla="*/ 512 w 532"/>
                <a:gd name="T47" fmla="*/ 114 h 361"/>
                <a:gd name="T48" fmla="*/ 525 w 532"/>
                <a:gd name="T49" fmla="*/ 97 h 361"/>
                <a:gd name="T50" fmla="*/ 532 w 532"/>
                <a:gd name="T51" fmla="*/ 84 h 361"/>
                <a:gd name="T52" fmla="*/ 516 w 532"/>
                <a:gd name="T53" fmla="*/ 71 h 361"/>
                <a:gd name="T54" fmla="*/ 507 w 532"/>
                <a:gd name="T55" fmla="*/ 77 h 361"/>
                <a:gd name="T56" fmla="*/ 483 w 532"/>
                <a:gd name="T57" fmla="*/ 71 h 361"/>
                <a:gd name="T58" fmla="*/ 469 w 532"/>
                <a:gd name="T59" fmla="*/ 50 h 361"/>
                <a:gd name="T60" fmla="*/ 455 w 532"/>
                <a:gd name="T61" fmla="*/ 21 h 361"/>
                <a:gd name="T62" fmla="*/ 439 w 532"/>
                <a:gd name="T63" fmla="*/ 21 h 361"/>
                <a:gd name="T64" fmla="*/ 413 w 532"/>
                <a:gd name="T65" fmla="*/ 0 h 361"/>
                <a:gd name="T66" fmla="*/ 399 w 532"/>
                <a:gd name="T67" fmla="*/ 3 h 361"/>
                <a:gd name="T68" fmla="*/ 347 w 532"/>
                <a:gd name="T69" fmla="*/ 10 h 361"/>
                <a:gd name="T70" fmla="*/ 337 w 532"/>
                <a:gd name="T71" fmla="*/ 27 h 361"/>
                <a:gd name="T72" fmla="*/ 323 w 532"/>
                <a:gd name="T73" fmla="*/ 47 h 361"/>
                <a:gd name="T74" fmla="*/ 304 w 532"/>
                <a:gd name="T75" fmla="*/ 58 h 361"/>
                <a:gd name="T76" fmla="*/ 287 w 532"/>
                <a:gd name="T77" fmla="*/ 63 h 361"/>
                <a:gd name="T78" fmla="*/ 274 w 532"/>
                <a:gd name="T79" fmla="*/ 58 h 361"/>
                <a:gd name="T80" fmla="*/ 262 w 532"/>
                <a:gd name="T81" fmla="*/ 50 h 361"/>
                <a:gd name="T82" fmla="*/ 254 w 532"/>
                <a:gd name="T83" fmla="*/ 47 h 361"/>
                <a:gd name="T84" fmla="*/ 237 w 532"/>
                <a:gd name="T85" fmla="*/ 55 h 361"/>
                <a:gd name="T86" fmla="*/ 216 w 532"/>
                <a:gd name="T87" fmla="*/ 68 h 361"/>
                <a:gd name="T88" fmla="*/ 171 w 532"/>
                <a:gd name="T89" fmla="*/ 90 h 361"/>
                <a:gd name="T90" fmla="*/ 152 w 532"/>
                <a:gd name="T91" fmla="*/ 92 h 361"/>
                <a:gd name="T92" fmla="*/ 105 w 532"/>
                <a:gd name="T93" fmla="*/ 90 h 361"/>
                <a:gd name="T94" fmla="*/ 99 w 532"/>
                <a:gd name="T95" fmla="*/ 87 h 361"/>
                <a:gd name="T96" fmla="*/ 86 w 532"/>
                <a:gd name="T97" fmla="*/ 65 h 361"/>
                <a:gd name="T98" fmla="*/ 71 w 532"/>
                <a:gd name="T99" fmla="*/ 55 h 361"/>
                <a:gd name="T100" fmla="*/ 66 w 532"/>
                <a:gd name="T101" fmla="*/ 63 h 361"/>
                <a:gd name="T102" fmla="*/ 64 w 532"/>
                <a:gd name="T103" fmla="*/ 84 h 361"/>
                <a:gd name="T104" fmla="*/ 55 w 532"/>
                <a:gd name="T105" fmla="*/ 105 h 361"/>
                <a:gd name="T106" fmla="*/ 38 w 532"/>
                <a:gd name="T107" fmla="*/ 105 h 361"/>
                <a:gd name="T108" fmla="*/ 33 w 532"/>
                <a:gd name="T109" fmla="*/ 111 h 361"/>
                <a:gd name="T110" fmla="*/ 42 w 532"/>
                <a:gd name="T111" fmla="*/ 132 h 361"/>
                <a:gd name="T112" fmla="*/ 40 w 532"/>
                <a:gd name="T113" fmla="*/ 154 h 361"/>
                <a:gd name="T114" fmla="*/ 28 w 532"/>
                <a:gd name="T115" fmla="*/ 173 h 361"/>
                <a:gd name="T116" fmla="*/ 19 w 532"/>
                <a:gd name="T117" fmla="*/ 182 h 361"/>
                <a:gd name="T118" fmla="*/ 5 w 532"/>
                <a:gd name="T119" fmla="*/ 189 h 361"/>
                <a:gd name="T120" fmla="*/ 0 w 532"/>
                <a:gd name="T121" fmla="*/ 206 h 361"/>
                <a:gd name="T122" fmla="*/ 3 w 532"/>
                <a:gd name="T123" fmla="*/ 229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2" h="361">
                  <a:moveTo>
                    <a:pt x="3" y="229"/>
                  </a:moveTo>
                  <a:lnTo>
                    <a:pt x="19" y="245"/>
                  </a:lnTo>
                  <a:lnTo>
                    <a:pt x="17" y="253"/>
                  </a:lnTo>
                  <a:lnTo>
                    <a:pt x="22" y="269"/>
                  </a:lnTo>
                  <a:lnTo>
                    <a:pt x="36" y="269"/>
                  </a:lnTo>
                  <a:lnTo>
                    <a:pt x="89" y="327"/>
                  </a:lnTo>
                  <a:lnTo>
                    <a:pt x="105" y="330"/>
                  </a:lnTo>
                  <a:lnTo>
                    <a:pt x="148" y="361"/>
                  </a:lnTo>
                  <a:lnTo>
                    <a:pt x="169" y="343"/>
                  </a:lnTo>
                  <a:lnTo>
                    <a:pt x="199" y="346"/>
                  </a:lnTo>
                  <a:lnTo>
                    <a:pt x="209" y="353"/>
                  </a:lnTo>
                  <a:lnTo>
                    <a:pt x="232" y="343"/>
                  </a:lnTo>
                  <a:lnTo>
                    <a:pt x="279" y="321"/>
                  </a:lnTo>
                  <a:lnTo>
                    <a:pt x="333" y="311"/>
                  </a:lnTo>
                  <a:lnTo>
                    <a:pt x="356" y="316"/>
                  </a:lnTo>
                  <a:lnTo>
                    <a:pt x="364" y="330"/>
                  </a:lnTo>
                  <a:lnTo>
                    <a:pt x="383" y="306"/>
                  </a:lnTo>
                  <a:lnTo>
                    <a:pt x="408" y="296"/>
                  </a:lnTo>
                  <a:lnTo>
                    <a:pt x="432" y="292"/>
                  </a:lnTo>
                  <a:lnTo>
                    <a:pt x="474" y="245"/>
                  </a:lnTo>
                  <a:lnTo>
                    <a:pt x="485" y="216"/>
                  </a:lnTo>
                  <a:lnTo>
                    <a:pt x="490" y="161"/>
                  </a:lnTo>
                  <a:lnTo>
                    <a:pt x="495" y="115"/>
                  </a:lnTo>
                  <a:lnTo>
                    <a:pt x="512" y="114"/>
                  </a:lnTo>
                  <a:lnTo>
                    <a:pt x="525" y="97"/>
                  </a:lnTo>
                  <a:lnTo>
                    <a:pt x="532" y="84"/>
                  </a:lnTo>
                  <a:lnTo>
                    <a:pt x="516" y="71"/>
                  </a:lnTo>
                  <a:lnTo>
                    <a:pt x="507" y="77"/>
                  </a:lnTo>
                  <a:lnTo>
                    <a:pt x="483" y="71"/>
                  </a:lnTo>
                  <a:lnTo>
                    <a:pt x="469" y="50"/>
                  </a:lnTo>
                  <a:lnTo>
                    <a:pt x="455" y="21"/>
                  </a:lnTo>
                  <a:lnTo>
                    <a:pt x="439" y="21"/>
                  </a:lnTo>
                  <a:lnTo>
                    <a:pt x="413" y="0"/>
                  </a:lnTo>
                  <a:lnTo>
                    <a:pt x="399" y="3"/>
                  </a:lnTo>
                  <a:lnTo>
                    <a:pt x="347" y="10"/>
                  </a:lnTo>
                  <a:lnTo>
                    <a:pt x="337" y="27"/>
                  </a:lnTo>
                  <a:lnTo>
                    <a:pt x="323" y="47"/>
                  </a:lnTo>
                  <a:lnTo>
                    <a:pt x="304" y="58"/>
                  </a:lnTo>
                  <a:lnTo>
                    <a:pt x="287" y="63"/>
                  </a:lnTo>
                  <a:lnTo>
                    <a:pt x="274" y="58"/>
                  </a:lnTo>
                  <a:lnTo>
                    <a:pt x="262" y="50"/>
                  </a:lnTo>
                  <a:lnTo>
                    <a:pt x="254" y="47"/>
                  </a:lnTo>
                  <a:lnTo>
                    <a:pt x="237" y="55"/>
                  </a:lnTo>
                  <a:lnTo>
                    <a:pt x="216" y="68"/>
                  </a:lnTo>
                  <a:lnTo>
                    <a:pt x="171" y="90"/>
                  </a:lnTo>
                  <a:lnTo>
                    <a:pt x="152" y="92"/>
                  </a:lnTo>
                  <a:lnTo>
                    <a:pt x="105" y="90"/>
                  </a:lnTo>
                  <a:lnTo>
                    <a:pt x="99" y="87"/>
                  </a:lnTo>
                  <a:lnTo>
                    <a:pt x="86" y="65"/>
                  </a:lnTo>
                  <a:lnTo>
                    <a:pt x="71" y="55"/>
                  </a:lnTo>
                  <a:lnTo>
                    <a:pt x="66" y="63"/>
                  </a:lnTo>
                  <a:lnTo>
                    <a:pt x="64" y="84"/>
                  </a:lnTo>
                  <a:lnTo>
                    <a:pt x="55" y="105"/>
                  </a:lnTo>
                  <a:lnTo>
                    <a:pt x="38" y="105"/>
                  </a:lnTo>
                  <a:lnTo>
                    <a:pt x="33" y="111"/>
                  </a:lnTo>
                  <a:lnTo>
                    <a:pt x="42" y="132"/>
                  </a:lnTo>
                  <a:lnTo>
                    <a:pt x="40" y="154"/>
                  </a:lnTo>
                  <a:lnTo>
                    <a:pt x="28" y="173"/>
                  </a:lnTo>
                  <a:lnTo>
                    <a:pt x="19" y="182"/>
                  </a:lnTo>
                  <a:lnTo>
                    <a:pt x="5" y="189"/>
                  </a:lnTo>
                  <a:lnTo>
                    <a:pt x="0" y="206"/>
                  </a:lnTo>
                  <a:lnTo>
                    <a:pt x="3" y="229"/>
                  </a:lnTo>
                  <a:close/>
                </a:path>
              </a:pathLst>
            </a:custGeom>
            <a:solidFill>
              <a:srgbClr val="DCE6F2"/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35" name="RO"/>
            <p:cNvSpPr>
              <a:spLocks noChangeAspect="1"/>
            </p:cNvSpPr>
            <p:nvPr/>
          </p:nvSpPr>
          <p:spPr bwMode="auto">
            <a:xfrm>
              <a:off x="6938963" y="4241800"/>
              <a:ext cx="1028700" cy="677863"/>
            </a:xfrm>
            <a:custGeom>
              <a:avLst/>
              <a:gdLst>
                <a:gd name="T0" fmla="*/ 155 w 696"/>
                <a:gd name="T1" fmla="*/ 65 h 572"/>
                <a:gd name="T2" fmla="*/ 129 w 696"/>
                <a:gd name="T3" fmla="*/ 81 h 572"/>
                <a:gd name="T4" fmla="*/ 121 w 696"/>
                <a:gd name="T5" fmla="*/ 185 h 572"/>
                <a:gd name="T6" fmla="*/ 79 w 696"/>
                <a:gd name="T7" fmla="*/ 240 h 572"/>
                <a:gd name="T8" fmla="*/ 24 w 696"/>
                <a:gd name="T9" fmla="*/ 269 h 572"/>
                <a:gd name="T10" fmla="*/ 0 w 696"/>
                <a:gd name="T11" fmla="*/ 306 h 572"/>
                <a:gd name="T12" fmla="*/ 22 w 696"/>
                <a:gd name="T13" fmla="*/ 337 h 572"/>
                <a:gd name="T14" fmla="*/ 22 w 696"/>
                <a:gd name="T15" fmla="*/ 367 h 572"/>
                <a:gd name="T16" fmla="*/ 52 w 696"/>
                <a:gd name="T17" fmla="*/ 374 h 572"/>
                <a:gd name="T18" fmla="*/ 66 w 696"/>
                <a:gd name="T19" fmla="*/ 420 h 572"/>
                <a:gd name="T20" fmla="*/ 75 w 696"/>
                <a:gd name="T21" fmla="*/ 461 h 572"/>
                <a:gd name="T22" fmla="*/ 97 w 696"/>
                <a:gd name="T23" fmla="*/ 461 h 572"/>
                <a:gd name="T24" fmla="*/ 132 w 696"/>
                <a:gd name="T25" fmla="*/ 464 h 572"/>
                <a:gd name="T26" fmla="*/ 132 w 696"/>
                <a:gd name="T27" fmla="*/ 488 h 572"/>
                <a:gd name="T28" fmla="*/ 155 w 696"/>
                <a:gd name="T29" fmla="*/ 509 h 572"/>
                <a:gd name="T30" fmla="*/ 155 w 696"/>
                <a:gd name="T31" fmla="*/ 538 h 572"/>
                <a:gd name="T32" fmla="*/ 203 w 696"/>
                <a:gd name="T33" fmla="*/ 551 h 572"/>
                <a:gd name="T34" fmla="*/ 270 w 696"/>
                <a:gd name="T35" fmla="*/ 572 h 572"/>
                <a:gd name="T36" fmla="*/ 319 w 696"/>
                <a:gd name="T37" fmla="*/ 556 h 572"/>
                <a:gd name="T38" fmla="*/ 376 w 696"/>
                <a:gd name="T39" fmla="*/ 562 h 572"/>
                <a:gd name="T40" fmla="*/ 409 w 696"/>
                <a:gd name="T41" fmla="*/ 541 h 572"/>
                <a:gd name="T42" fmla="*/ 503 w 696"/>
                <a:gd name="T43" fmla="*/ 492 h 572"/>
                <a:gd name="T44" fmla="*/ 558 w 696"/>
                <a:gd name="T45" fmla="*/ 498 h 572"/>
                <a:gd name="T46" fmla="*/ 599 w 696"/>
                <a:gd name="T47" fmla="*/ 506 h 572"/>
                <a:gd name="T48" fmla="*/ 625 w 696"/>
                <a:gd name="T49" fmla="*/ 482 h 572"/>
                <a:gd name="T50" fmla="*/ 627 w 696"/>
                <a:gd name="T51" fmla="*/ 401 h 572"/>
                <a:gd name="T52" fmla="*/ 651 w 696"/>
                <a:gd name="T53" fmla="*/ 374 h 572"/>
                <a:gd name="T54" fmla="*/ 674 w 696"/>
                <a:gd name="T55" fmla="*/ 374 h 572"/>
                <a:gd name="T56" fmla="*/ 679 w 696"/>
                <a:gd name="T57" fmla="*/ 353 h 572"/>
                <a:gd name="T58" fmla="*/ 696 w 696"/>
                <a:gd name="T59" fmla="*/ 334 h 572"/>
                <a:gd name="T60" fmla="*/ 660 w 696"/>
                <a:gd name="T61" fmla="*/ 322 h 572"/>
                <a:gd name="T62" fmla="*/ 618 w 696"/>
                <a:gd name="T63" fmla="*/ 331 h 572"/>
                <a:gd name="T64" fmla="*/ 578 w 696"/>
                <a:gd name="T65" fmla="*/ 322 h 572"/>
                <a:gd name="T66" fmla="*/ 571 w 696"/>
                <a:gd name="T67" fmla="*/ 285 h 572"/>
                <a:gd name="T68" fmla="*/ 558 w 696"/>
                <a:gd name="T69" fmla="*/ 248 h 572"/>
                <a:gd name="T70" fmla="*/ 550 w 696"/>
                <a:gd name="T71" fmla="*/ 211 h 572"/>
                <a:gd name="T72" fmla="*/ 552 w 696"/>
                <a:gd name="T73" fmla="*/ 176 h 572"/>
                <a:gd name="T74" fmla="*/ 522 w 696"/>
                <a:gd name="T75" fmla="*/ 124 h 572"/>
                <a:gd name="T76" fmla="*/ 512 w 696"/>
                <a:gd name="T77" fmla="*/ 87 h 572"/>
                <a:gd name="T78" fmla="*/ 482 w 696"/>
                <a:gd name="T79" fmla="*/ 58 h 572"/>
                <a:gd name="T80" fmla="*/ 461 w 696"/>
                <a:gd name="T81" fmla="*/ 13 h 572"/>
                <a:gd name="T82" fmla="*/ 440 w 696"/>
                <a:gd name="T83" fmla="*/ 0 h 572"/>
                <a:gd name="T84" fmla="*/ 416 w 696"/>
                <a:gd name="T85" fmla="*/ 19 h 572"/>
                <a:gd name="T86" fmla="*/ 388 w 696"/>
                <a:gd name="T87" fmla="*/ 21 h 572"/>
                <a:gd name="T88" fmla="*/ 364 w 696"/>
                <a:gd name="T89" fmla="*/ 37 h 572"/>
                <a:gd name="T90" fmla="*/ 327 w 696"/>
                <a:gd name="T91" fmla="*/ 43 h 572"/>
                <a:gd name="T92" fmla="*/ 297 w 696"/>
                <a:gd name="T93" fmla="*/ 19 h 572"/>
                <a:gd name="T94" fmla="*/ 259 w 696"/>
                <a:gd name="T95" fmla="*/ 34 h 572"/>
                <a:gd name="T96" fmla="*/ 228 w 696"/>
                <a:gd name="T97" fmla="*/ 31 h 572"/>
                <a:gd name="T98" fmla="*/ 190 w 696"/>
                <a:gd name="T99" fmla="*/ 29 h 572"/>
                <a:gd name="T100" fmla="*/ 171 w 696"/>
                <a:gd name="T101" fmla="*/ 40 h 572"/>
                <a:gd name="T102" fmla="*/ 162 w 696"/>
                <a:gd name="T103" fmla="*/ 44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6" h="572">
                  <a:moveTo>
                    <a:pt x="167" y="50"/>
                  </a:moveTo>
                  <a:lnTo>
                    <a:pt x="155" y="65"/>
                  </a:lnTo>
                  <a:lnTo>
                    <a:pt x="146" y="77"/>
                  </a:lnTo>
                  <a:lnTo>
                    <a:pt x="129" y="81"/>
                  </a:lnTo>
                  <a:lnTo>
                    <a:pt x="122" y="169"/>
                  </a:lnTo>
                  <a:lnTo>
                    <a:pt x="121" y="185"/>
                  </a:lnTo>
                  <a:lnTo>
                    <a:pt x="102" y="219"/>
                  </a:lnTo>
                  <a:lnTo>
                    <a:pt x="79" y="240"/>
                  </a:lnTo>
                  <a:lnTo>
                    <a:pt x="64" y="259"/>
                  </a:lnTo>
                  <a:lnTo>
                    <a:pt x="24" y="269"/>
                  </a:lnTo>
                  <a:lnTo>
                    <a:pt x="4" y="289"/>
                  </a:lnTo>
                  <a:lnTo>
                    <a:pt x="0" y="306"/>
                  </a:lnTo>
                  <a:lnTo>
                    <a:pt x="14" y="319"/>
                  </a:lnTo>
                  <a:lnTo>
                    <a:pt x="22" y="337"/>
                  </a:lnTo>
                  <a:lnTo>
                    <a:pt x="19" y="350"/>
                  </a:lnTo>
                  <a:lnTo>
                    <a:pt x="22" y="367"/>
                  </a:lnTo>
                  <a:lnTo>
                    <a:pt x="33" y="374"/>
                  </a:lnTo>
                  <a:lnTo>
                    <a:pt x="52" y="374"/>
                  </a:lnTo>
                  <a:lnTo>
                    <a:pt x="59" y="390"/>
                  </a:lnTo>
                  <a:lnTo>
                    <a:pt x="66" y="420"/>
                  </a:lnTo>
                  <a:lnTo>
                    <a:pt x="69" y="442"/>
                  </a:lnTo>
                  <a:lnTo>
                    <a:pt x="75" y="461"/>
                  </a:lnTo>
                  <a:lnTo>
                    <a:pt x="88" y="467"/>
                  </a:lnTo>
                  <a:lnTo>
                    <a:pt x="97" y="461"/>
                  </a:lnTo>
                  <a:lnTo>
                    <a:pt x="113" y="448"/>
                  </a:lnTo>
                  <a:lnTo>
                    <a:pt x="132" y="464"/>
                  </a:lnTo>
                  <a:lnTo>
                    <a:pt x="129" y="479"/>
                  </a:lnTo>
                  <a:lnTo>
                    <a:pt x="132" y="488"/>
                  </a:lnTo>
                  <a:lnTo>
                    <a:pt x="141" y="492"/>
                  </a:lnTo>
                  <a:lnTo>
                    <a:pt x="155" y="509"/>
                  </a:lnTo>
                  <a:lnTo>
                    <a:pt x="151" y="528"/>
                  </a:lnTo>
                  <a:lnTo>
                    <a:pt x="155" y="538"/>
                  </a:lnTo>
                  <a:lnTo>
                    <a:pt x="176" y="538"/>
                  </a:lnTo>
                  <a:lnTo>
                    <a:pt x="203" y="551"/>
                  </a:lnTo>
                  <a:lnTo>
                    <a:pt x="251" y="572"/>
                  </a:lnTo>
                  <a:lnTo>
                    <a:pt x="270" y="572"/>
                  </a:lnTo>
                  <a:lnTo>
                    <a:pt x="297" y="566"/>
                  </a:lnTo>
                  <a:lnTo>
                    <a:pt x="319" y="556"/>
                  </a:lnTo>
                  <a:lnTo>
                    <a:pt x="357" y="563"/>
                  </a:lnTo>
                  <a:lnTo>
                    <a:pt x="376" y="562"/>
                  </a:lnTo>
                  <a:lnTo>
                    <a:pt x="385" y="559"/>
                  </a:lnTo>
                  <a:lnTo>
                    <a:pt x="409" y="541"/>
                  </a:lnTo>
                  <a:lnTo>
                    <a:pt x="463" y="506"/>
                  </a:lnTo>
                  <a:lnTo>
                    <a:pt x="503" y="492"/>
                  </a:lnTo>
                  <a:lnTo>
                    <a:pt x="525" y="491"/>
                  </a:lnTo>
                  <a:lnTo>
                    <a:pt x="558" y="498"/>
                  </a:lnTo>
                  <a:lnTo>
                    <a:pt x="585" y="501"/>
                  </a:lnTo>
                  <a:lnTo>
                    <a:pt x="599" y="506"/>
                  </a:lnTo>
                  <a:lnTo>
                    <a:pt x="621" y="504"/>
                  </a:lnTo>
                  <a:lnTo>
                    <a:pt x="625" y="482"/>
                  </a:lnTo>
                  <a:lnTo>
                    <a:pt x="625" y="442"/>
                  </a:lnTo>
                  <a:lnTo>
                    <a:pt x="627" y="401"/>
                  </a:lnTo>
                  <a:lnTo>
                    <a:pt x="639" y="380"/>
                  </a:lnTo>
                  <a:lnTo>
                    <a:pt x="651" y="374"/>
                  </a:lnTo>
                  <a:lnTo>
                    <a:pt x="663" y="383"/>
                  </a:lnTo>
                  <a:lnTo>
                    <a:pt x="674" y="374"/>
                  </a:lnTo>
                  <a:lnTo>
                    <a:pt x="682" y="364"/>
                  </a:lnTo>
                  <a:lnTo>
                    <a:pt x="679" y="353"/>
                  </a:lnTo>
                  <a:lnTo>
                    <a:pt x="693" y="349"/>
                  </a:lnTo>
                  <a:lnTo>
                    <a:pt x="696" y="334"/>
                  </a:lnTo>
                  <a:lnTo>
                    <a:pt x="682" y="327"/>
                  </a:lnTo>
                  <a:lnTo>
                    <a:pt x="660" y="322"/>
                  </a:lnTo>
                  <a:lnTo>
                    <a:pt x="644" y="327"/>
                  </a:lnTo>
                  <a:lnTo>
                    <a:pt x="618" y="331"/>
                  </a:lnTo>
                  <a:lnTo>
                    <a:pt x="594" y="331"/>
                  </a:lnTo>
                  <a:lnTo>
                    <a:pt x="578" y="322"/>
                  </a:lnTo>
                  <a:lnTo>
                    <a:pt x="571" y="306"/>
                  </a:lnTo>
                  <a:lnTo>
                    <a:pt x="571" y="285"/>
                  </a:lnTo>
                  <a:lnTo>
                    <a:pt x="569" y="263"/>
                  </a:lnTo>
                  <a:lnTo>
                    <a:pt x="558" y="248"/>
                  </a:lnTo>
                  <a:lnTo>
                    <a:pt x="550" y="232"/>
                  </a:lnTo>
                  <a:lnTo>
                    <a:pt x="550" y="211"/>
                  </a:lnTo>
                  <a:lnTo>
                    <a:pt x="552" y="189"/>
                  </a:lnTo>
                  <a:lnTo>
                    <a:pt x="552" y="176"/>
                  </a:lnTo>
                  <a:lnTo>
                    <a:pt x="541" y="145"/>
                  </a:lnTo>
                  <a:lnTo>
                    <a:pt x="522" y="124"/>
                  </a:lnTo>
                  <a:lnTo>
                    <a:pt x="514" y="102"/>
                  </a:lnTo>
                  <a:lnTo>
                    <a:pt x="512" y="87"/>
                  </a:lnTo>
                  <a:lnTo>
                    <a:pt x="508" y="80"/>
                  </a:lnTo>
                  <a:lnTo>
                    <a:pt x="482" y="58"/>
                  </a:lnTo>
                  <a:lnTo>
                    <a:pt x="473" y="40"/>
                  </a:lnTo>
                  <a:lnTo>
                    <a:pt x="461" y="13"/>
                  </a:lnTo>
                  <a:lnTo>
                    <a:pt x="451" y="3"/>
                  </a:lnTo>
                  <a:lnTo>
                    <a:pt x="440" y="0"/>
                  </a:lnTo>
                  <a:lnTo>
                    <a:pt x="428" y="6"/>
                  </a:lnTo>
                  <a:lnTo>
                    <a:pt x="416" y="19"/>
                  </a:lnTo>
                  <a:lnTo>
                    <a:pt x="409" y="21"/>
                  </a:lnTo>
                  <a:lnTo>
                    <a:pt x="388" y="21"/>
                  </a:lnTo>
                  <a:lnTo>
                    <a:pt x="374" y="24"/>
                  </a:lnTo>
                  <a:lnTo>
                    <a:pt x="364" y="37"/>
                  </a:lnTo>
                  <a:lnTo>
                    <a:pt x="346" y="44"/>
                  </a:lnTo>
                  <a:lnTo>
                    <a:pt x="327" y="43"/>
                  </a:lnTo>
                  <a:lnTo>
                    <a:pt x="317" y="31"/>
                  </a:lnTo>
                  <a:lnTo>
                    <a:pt x="297" y="19"/>
                  </a:lnTo>
                  <a:lnTo>
                    <a:pt x="280" y="24"/>
                  </a:lnTo>
                  <a:lnTo>
                    <a:pt x="259" y="34"/>
                  </a:lnTo>
                  <a:lnTo>
                    <a:pt x="242" y="37"/>
                  </a:lnTo>
                  <a:lnTo>
                    <a:pt x="228" y="31"/>
                  </a:lnTo>
                  <a:lnTo>
                    <a:pt x="212" y="21"/>
                  </a:lnTo>
                  <a:lnTo>
                    <a:pt x="190" y="29"/>
                  </a:lnTo>
                  <a:lnTo>
                    <a:pt x="176" y="37"/>
                  </a:lnTo>
                  <a:lnTo>
                    <a:pt x="171" y="40"/>
                  </a:lnTo>
                  <a:lnTo>
                    <a:pt x="167" y="43"/>
                  </a:lnTo>
                  <a:lnTo>
                    <a:pt x="162" y="44"/>
                  </a:lnTo>
                  <a:lnTo>
                    <a:pt x="167" y="50"/>
                  </a:lnTo>
                  <a:close/>
                </a:path>
              </a:pathLst>
            </a:custGeom>
            <a:solidFill>
              <a:srgbClr val="DCE6F2"/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36" name="LT"/>
            <p:cNvSpPr>
              <a:spLocks noChangeAspect="1"/>
            </p:cNvSpPr>
            <p:nvPr/>
          </p:nvSpPr>
          <p:spPr bwMode="auto">
            <a:xfrm>
              <a:off x="6938963" y="3040063"/>
              <a:ext cx="538162" cy="381000"/>
            </a:xfrm>
            <a:custGeom>
              <a:avLst/>
              <a:gdLst>
                <a:gd name="T0" fmla="*/ 3 w 364"/>
                <a:gd name="T1" fmla="*/ 34 h 318"/>
                <a:gd name="T2" fmla="*/ 0 w 364"/>
                <a:gd name="T3" fmla="*/ 44 h 318"/>
                <a:gd name="T4" fmla="*/ 6 w 364"/>
                <a:gd name="T5" fmla="*/ 81 h 318"/>
                <a:gd name="T6" fmla="*/ 22 w 364"/>
                <a:gd name="T7" fmla="*/ 136 h 318"/>
                <a:gd name="T8" fmla="*/ 36 w 364"/>
                <a:gd name="T9" fmla="*/ 152 h 318"/>
                <a:gd name="T10" fmla="*/ 69 w 364"/>
                <a:gd name="T11" fmla="*/ 166 h 318"/>
                <a:gd name="T12" fmla="*/ 83 w 364"/>
                <a:gd name="T13" fmla="*/ 170 h 318"/>
                <a:gd name="T14" fmla="*/ 85 w 364"/>
                <a:gd name="T15" fmla="*/ 189 h 318"/>
                <a:gd name="T16" fmla="*/ 85 w 364"/>
                <a:gd name="T17" fmla="*/ 220 h 318"/>
                <a:gd name="T18" fmla="*/ 118 w 364"/>
                <a:gd name="T19" fmla="*/ 257 h 318"/>
                <a:gd name="T20" fmla="*/ 138 w 364"/>
                <a:gd name="T21" fmla="*/ 268 h 318"/>
                <a:gd name="T22" fmla="*/ 149 w 364"/>
                <a:gd name="T23" fmla="*/ 274 h 318"/>
                <a:gd name="T24" fmla="*/ 176 w 364"/>
                <a:gd name="T25" fmla="*/ 312 h 318"/>
                <a:gd name="T26" fmla="*/ 185 w 364"/>
                <a:gd name="T27" fmla="*/ 305 h 318"/>
                <a:gd name="T28" fmla="*/ 204 w 364"/>
                <a:gd name="T29" fmla="*/ 303 h 318"/>
                <a:gd name="T30" fmla="*/ 226 w 364"/>
                <a:gd name="T31" fmla="*/ 318 h 318"/>
                <a:gd name="T32" fmla="*/ 242 w 364"/>
                <a:gd name="T33" fmla="*/ 308 h 318"/>
                <a:gd name="T34" fmla="*/ 265 w 364"/>
                <a:gd name="T35" fmla="*/ 278 h 318"/>
                <a:gd name="T36" fmla="*/ 282 w 364"/>
                <a:gd name="T37" fmla="*/ 268 h 318"/>
                <a:gd name="T38" fmla="*/ 298 w 364"/>
                <a:gd name="T39" fmla="*/ 276 h 318"/>
                <a:gd name="T40" fmla="*/ 308 w 364"/>
                <a:gd name="T41" fmla="*/ 271 h 318"/>
                <a:gd name="T42" fmla="*/ 309 w 364"/>
                <a:gd name="T43" fmla="*/ 260 h 318"/>
                <a:gd name="T44" fmla="*/ 312 w 364"/>
                <a:gd name="T45" fmla="*/ 200 h 318"/>
                <a:gd name="T46" fmla="*/ 322 w 364"/>
                <a:gd name="T47" fmla="*/ 182 h 318"/>
                <a:gd name="T48" fmla="*/ 322 w 364"/>
                <a:gd name="T49" fmla="*/ 155 h 318"/>
                <a:gd name="T50" fmla="*/ 326 w 364"/>
                <a:gd name="T51" fmla="*/ 145 h 318"/>
                <a:gd name="T52" fmla="*/ 345 w 364"/>
                <a:gd name="T53" fmla="*/ 129 h 318"/>
                <a:gd name="T54" fmla="*/ 364 w 364"/>
                <a:gd name="T55" fmla="*/ 126 h 318"/>
                <a:gd name="T56" fmla="*/ 364 w 364"/>
                <a:gd name="T57" fmla="*/ 96 h 318"/>
                <a:gd name="T58" fmla="*/ 359 w 364"/>
                <a:gd name="T59" fmla="*/ 74 h 318"/>
                <a:gd name="T60" fmla="*/ 345 w 364"/>
                <a:gd name="T61" fmla="*/ 65 h 318"/>
                <a:gd name="T62" fmla="*/ 339 w 364"/>
                <a:gd name="T63" fmla="*/ 68 h 318"/>
                <a:gd name="T64" fmla="*/ 315 w 364"/>
                <a:gd name="T65" fmla="*/ 44 h 318"/>
                <a:gd name="T66" fmla="*/ 301 w 364"/>
                <a:gd name="T67" fmla="*/ 27 h 318"/>
                <a:gd name="T68" fmla="*/ 284 w 364"/>
                <a:gd name="T69" fmla="*/ 27 h 318"/>
                <a:gd name="T70" fmla="*/ 251 w 364"/>
                <a:gd name="T71" fmla="*/ 27 h 318"/>
                <a:gd name="T72" fmla="*/ 245 w 364"/>
                <a:gd name="T73" fmla="*/ 21 h 318"/>
                <a:gd name="T74" fmla="*/ 237 w 364"/>
                <a:gd name="T75" fmla="*/ 2 h 318"/>
                <a:gd name="T76" fmla="*/ 228 w 364"/>
                <a:gd name="T77" fmla="*/ 0 h 318"/>
                <a:gd name="T78" fmla="*/ 199 w 364"/>
                <a:gd name="T79" fmla="*/ 0 h 318"/>
                <a:gd name="T80" fmla="*/ 188 w 364"/>
                <a:gd name="T81" fmla="*/ 15 h 318"/>
                <a:gd name="T82" fmla="*/ 176 w 364"/>
                <a:gd name="T83" fmla="*/ 12 h 318"/>
                <a:gd name="T84" fmla="*/ 157 w 364"/>
                <a:gd name="T85" fmla="*/ 8 h 318"/>
                <a:gd name="T86" fmla="*/ 149 w 364"/>
                <a:gd name="T87" fmla="*/ 5 h 318"/>
                <a:gd name="T88" fmla="*/ 135 w 364"/>
                <a:gd name="T89" fmla="*/ 10 h 318"/>
                <a:gd name="T90" fmla="*/ 125 w 364"/>
                <a:gd name="T91" fmla="*/ 18 h 318"/>
                <a:gd name="T92" fmla="*/ 106 w 364"/>
                <a:gd name="T93" fmla="*/ 10 h 318"/>
                <a:gd name="T94" fmla="*/ 66 w 364"/>
                <a:gd name="T95" fmla="*/ 2 h 318"/>
                <a:gd name="T96" fmla="*/ 56 w 364"/>
                <a:gd name="T97" fmla="*/ 0 h 318"/>
                <a:gd name="T98" fmla="*/ 45 w 364"/>
                <a:gd name="T99" fmla="*/ 10 h 318"/>
                <a:gd name="T100" fmla="*/ 26 w 364"/>
                <a:gd name="T101" fmla="*/ 24 h 318"/>
                <a:gd name="T102" fmla="*/ 3 w 364"/>
                <a:gd name="T103" fmla="*/ 34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4" h="318">
                  <a:moveTo>
                    <a:pt x="3" y="34"/>
                  </a:moveTo>
                  <a:lnTo>
                    <a:pt x="0" y="44"/>
                  </a:lnTo>
                  <a:lnTo>
                    <a:pt x="6" y="81"/>
                  </a:lnTo>
                  <a:lnTo>
                    <a:pt x="22" y="136"/>
                  </a:lnTo>
                  <a:lnTo>
                    <a:pt x="36" y="152"/>
                  </a:lnTo>
                  <a:lnTo>
                    <a:pt x="69" y="166"/>
                  </a:lnTo>
                  <a:lnTo>
                    <a:pt x="83" y="170"/>
                  </a:lnTo>
                  <a:lnTo>
                    <a:pt x="85" y="189"/>
                  </a:lnTo>
                  <a:lnTo>
                    <a:pt x="85" y="220"/>
                  </a:lnTo>
                  <a:lnTo>
                    <a:pt x="118" y="257"/>
                  </a:lnTo>
                  <a:lnTo>
                    <a:pt x="138" y="268"/>
                  </a:lnTo>
                  <a:lnTo>
                    <a:pt x="149" y="274"/>
                  </a:lnTo>
                  <a:lnTo>
                    <a:pt x="176" y="312"/>
                  </a:lnTo>
                  <a:lnTo>
                    <a:pt x="185" y="305"/>
                  </a:lnTo>
                  <a:lnTo>
                    <a:pt x="204" y="303"/>
                  </a:lnTo>
                  <a:lnTo>
                    <a:pt x="226" y="318"/>
                  </a:lnTo>
                  <a:lnTo>
                    <a:pt x="242" y="308"/>
                  </a:lnTo>
                  <a:lnTo>
                    <a:pt x="265" y="278"/>
                  </a:lnTo>
                  <a:lnTo>
                    <a:pt x="282" y="268"/>
                  </a:lnTo>
                  <a:lnTo>
                    <a:pt x="298" y="276"/>
                  </a:lnTo>
                  <a:lnTo>
                    <a:pt x="308" y="271"/>
                  </a:lnTo>
                  <a:lnTo>
                    <a:pt x="309" y="260"/>
                  </a:lnTo>
                  <a:lnTo>
                    <a:pt x="312" y="200"/>
                  </a:lnTo>
                  <a:lnTo>
                    <a:pt x="322" y="182"/>
                  </a:lnTo>
                  <a:lnTo>
                    <a:pt x="322" y="155"/>
                  </a:lnTo>
                  <a:lnTo>
                    <a:pt x="326" y="145"/>
                  </a:lnTo>
                  <a:lnTo>
                    <a:pt x="345" y="129"/>
                  </a:lnTo>
                  <a:lnTo>
                    <a:pt x="364" y="126"/>
                  </a:lnTo>
                  <a:lnTo>
                    <a:pt x="364" y="96"/>
                  </a:lnTo>
                  <a:lnTo>
                    <a:pt x="359" y="74"/>
                  </a:lnTo>
                  <a:lnTo>
                    <a:pt x="345" y="65"/>
                  </a:lnTo>
                  <a:lnTo>
                    <a:pt x="339" y="68"/>
                  </a:lnTo>
                  <a:lnTo>
                    <a:pt x="315" y="44"/>
                  </a:lnTo>
                  <a:lnTo>
                    <a:pt x="301" y="27"/>
                  </a:lnTo>
                  <a:lnTo>
                    <a:pt x="284" y="27"/>
                  </a:lnTo>
                  <a:lnTo>
                    <a:pt x="251" y="27"/>
                  </a:lnTo>
                  <a:lnTo>
                    <a:pt x="245" y="21"/>
                  </a:lnTo>
                  <a:lnTo>
                    <a:pt x="237" y="2"/>
                  </a:lnTo>
                  <a:lnTo>
                    <a:pt x="228" y="0"/>
                  </a:lnTo>
                  <a:lnTo>
                    <a:pt x="199" y="0"/>
                  </a:lnTo>
                  <a:lnTo>
                    <a:pt x="188" y="15"/>
                  </a:lnTo>
                  <a:lnTo>
                    <a:pt x="176" y="12"/>
                  </a:lnTo>
                  <a:lnTo>
                    <a:pt x="157" y="8"/>
                  </a:lnTo>
                  <a:lnTo>
                    <a:pt x="149" y="5"/>
                  </a:lnTo>
                  <a:lnTo>
                    <a:pt x="135" y="10"/>
                  </a:lnTo>
                  <a:lnTo>
                    <a:pt x="125" y="18"/>
                  </a:lnTo>
                  <a:lnTo>
                    <a:pt x="106" y="10"/>
                  </a:lnTo>
                  <a:lnTo>
                    <a:pt x="66" y="2"/>
                  </a:lnTo>
                  <a:lnTo>
                    <a:pt x="56" y="0"/>
                  </a:lnTo>
                  <a:lnTo>
                    <a:pt x="45" y="10"/>
                  </a:lnTo>
                  <a:lnTo>
                    <a:pt x="26" y="24"/>
                  </a:lnTo>
                  <a:lnTo>
                    <a:pt x="3" y="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grpSp>
          <p:nvGrpSpPr>
            <p:cNvPr id="37" name="EE"/>
            <p:cNvGrpSpPr>
              <a:grpSpLocks/>
            </p:cNvGrpSpPr>
            <p:nvPr/>
          </p:nvGrpSpPr>
          <p:grpSpPr bwMode="auto">
            <a:xfrm>
              <a:off x="6978582" y="2528348"/>
              <a:ext cx="541339" cy="327025"/>
              <a:chOff x="3930663" y="2840721"/>
              <a:chExt cx="247" cy="169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61" name="Freeform 533" descr="80%"/>
              <p:cNvSpPr>
                <a:spLocks noChangeAspect="1"/>
              </p:cNvSpPr>
              <p:nvPr/>
            </p:nvSpPr>
            <p:spPr bwMode="auto">
              <a:xfrm>
                <a:off x="3930673" y="2840778"/>
                <a:ext cx="38" cy="31"/>
              </a:xfrm>
              <a:custGeom>
                <a:avLst/>
                <a:gdLst>
                  <a:gd name="T0" fmla="*/ 33 w 56"/>
                  <a:gd name="T1" fmla="*/ 0 h 52"/>
                  <a:gd name="T2" fmla="*/ 7 w 56"/>
                  <a:gd name="T3" fmla="*/ 18 h 52"/>
                  <a:gd name="T4" fmla="*/ 0 w 56"/>
                  <a:gd name="T5" fmla="*/ 28 h 52"/>
                  <a:gd name="T6" fmla="*/ 16 w 56"/>
                  <a:gd name="T7" fmla="*/ 34 h 52"/>
                  <a:gd name="T8" fmla="*/ 30 w 56"/>
                  <a:gd name="T9" fmla="*/ 52 h 52"/>
                  <a:gd name="T10" fmla="*/ 42 w 56"/>
                  <a:gd name="T11" fmla="*/ 40 h 52"/>
                  <a:gd name="T12" fmla="*/ 56 w 56"/>
                  <a:gd name="T13" fmla="*/ 28 h 52"/>
                  <a:gd name="T14" fmla="*/ 44 w 56"/>
                  <a:gd name="T15" fmla="*/ 15 h 52"/>
                  <a:gd name="T16" fmla="*/ 33 w 56"/>
                  <a:gd name="T1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52">
                    <a:moveTo>
                      <a:pt x="33" y="0"/>
                    </a:moveTo>
                    <a:lnTo>
                      <a:pt x="7" y="18"/>
                    </a:lnTo>
                    <a:lnTo>
                      <a:pt x="0" y="28"/>
                    </a:lnTo>
                    <a:lnTo>
                      <a:pt x="16" y="34"/>
                    </a:lnTo>
                    <a:lnTo>
                      <a:pt x="30" y="52"/>
                    </a:lnTo>
                    <a:lnTo>
                      <a:pt x="42" y="40"/>
                    </a:lnTo>
                    <a:lnTo>
                      <a:pt x="56" y="28"/>
                    </a:lnTo>
                    <a:lnTo>
                      <a:pt x="44" y="15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2" name="Freeform 534" descr="80%"/>
              <p:cNvSpPr>
                <a:spLocks noChangeAspect="1"/>
              </p:cNvSpPr>
              <p:nvPr/>
            </p:nvSpPr>
            <p:spPr bwMode="auto">
              <a:xfrm>
                <a:off x="3930663" y="2840819"/>
                <a:ext cx="55" cy="59"/>
              </a:xfrm>
              <a:custGeom>
                <a:avLst/>
                <a:gdLst>
                  <a:gd name="T0" fmla="*/ 69 w 83"/>
                  <a:gd name="T1" fmla="*/ 0 h 95"/>
                  <a:gd name="T2" fmla="*/ 41 w 83"/>
                  <a:gd name="T3" fmla="*/ 6 h 95"/>
                  <a:gd name="T4" fmla="*/ 31 w 83"/>
                  <a:gd name="T5" fmla="*/ 0 h 95"/>
                  <a:gd name="T6" fmla="*/ 14 w 83"/>
                  <a:gd name="T7" fmla="*/ 24 h 95"/>
                  <a:gd name="T8" fmla="*/ 8 w 83"/>
                  <a:gd name="T9" fmla="*/ 18 h 95"/>
                  <a:gd name="T10" fmla="*/ 0 w 83"/>
                  <a:gd name="T11" fmla="*/ 34 h 95"/>
                  <a:gd name="T12" fmla="*/ 9 w 83"/>
                  <a:gd name="T13" fmla="*/ 43 h 95"/>
                  <a:gd name="T14" fmla="*/ 9 w 83"/>
                  <a:gd name="T15" fmla="*/ 82 h 95"/>
                  <a:gd name="T16" fmla="*/ 17 w 83"/>
                  <a:gd name="T17" fmla="*/ 95 h 95"/>
                  <a:gd name="T18" fmla="*/ 59 w 83"/>
                  <a:gd name="T19" fmla="*/ 43 h 95"/>
                  <a:gd name="T20" fmla="*/ 75 w 83"/>
                  <a:gd name="T21" fmla="*/ 43 h 95"/>
                  <a:gd name="T22" fmla="*/ 83 w 83"/>
                  <a:gd name="T23" fmla="*/ 28 h 95"/>
                  <a:gd name="T24" fmla="*/ 80 w 83"/>
                  <a:gd name="T25" fmla="*/ 21 h 95"/>
                  <a:gd name="T26" fmla="*/ 69 w 83"/>
                  <a:gd name="T27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3" h="95">
                    <a:moveTo>
                      <a:pt x="69" y="0"/>
                    </a:moveTo>
                    <a:lnTo>
                      <a:pt x="41" y="6"/>
                    </a:lnTo>
                    <a:lnTo>
                      <a:pt x="31" y="0"/>
                    </a:lnTo>
                    <a:lnTo>
                      <a:pt x="14" y="24"/>
                    </a:lnTo>
                    <a:lnTo>
                      <a:pt x="8" y="18"/>
                    </a:lnTo>
                    <a:lnTo>
                      <a:pt x="0" y="34"/>
                    </a:lnTo>
                    <a:lnTo>
                      <a:pt x="9" y="43"/>
                    </a:lnTo>
                    <a:lnTo>
                      <a:pt x="9" y="82"/>
                    </a:lnTo>
                    <a:lnTo>
                      <a:pt x="17" y="95"/>
                    </a:lnTo>
                    <a:lnTo>
                      <a:pt x="59" y="43"/>
                    </a:lnTo>
                    <a:lnTo>
                      <a:pt x="75" y="43"/>
                    </a:lnTo>
                    <a:lnTo>
                      <a:pt x="83" y="28"/>
                    </a:lnTo>
                    <a:lnTo>
                      <a:pt x="80" y="21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3" name="Freeform 535" descr="80%"/>
              <p:cNvSpPr>
                <a:spLocks noChangeAspect="1"/>
              </p:cNvSpPr>
              <p:nvPr/>
            </p:nvSpPr>
            <p:spPr bwMode="auto">
              <a:xfrm>
                <a:off x="3930728" y="2840721"/>
                <a:ext cx="182" cy="169"/>
              </a:xfrm>
              <a:custGeom>
                <a:avLst/>
                <a:gdLst>
                  <a:gd name="T0" fmla="*/ 262 w 271"/>
                  <a:gd name="T1" fmla="*/ 256 h 272"/>
                  <a:gd name="T2" fmla="*/ 260 w 271"/>
                  <a:gd name="T3" fmla="*/ 241 h 272"/>
                  <a:gd name="T4" fmla="*/ 269 w 271"/>
                  <a:gd name="T5" fmla="*/ 226 h 272"/>
                  <a:gd name="T6" fmla="*/ 269 w 271"/>
                  <a:gd name="T7" fmla="*/ 206 h 272"/>
                  <a:gd name="T8" fmla="*/ 250 w 271"/>
                  <a:gd name="T9" fmla="*/ 191 h 272"/>
                  <a:gd name="T10" fmla="*/ 243 w 271"/>
                  <a:gd name="T11" fmla="*/ 182 h 272"/>
                  <a:gd name="T12" fmla="*/ 238 w 271"/>
                  <a:gd name="T13" fmla="*/ 155 h 272"/>
                  <a:gd name="T14" fmla="*/ 227 w 271"/>
                  <a:gd name="T15" fmla="*/ 132 h 272"/>
                  <a:gd name="T16" fmla="*/ 214 w 271"/>
                  <a:gd name="T17" fmla="*/ 114 h 272"/>
                  <a:gd name="T18" fmla="*/ 214 w 271"/>
                  <a:gd name="T19" fmla="*/ 98 h 272"/>
                  <a:gd name="T20" fmla="*/ 222 w 271"/>
                  <a:gd name="T21" fmla="*/ 87 h 272"/>
                  <a:gd name="T22" fmla="*/ 252 w 271"/>
                  <a:gd name="T23" fmla="*/ 90 h 272"/>
                  <a:gd name="T24" fmla="*/ 264 w 271"/>
                  <a:gd name="T25" fmla="*/ 74 h 272"/>
                  <a:gd name="T26" fmla="*/ 271 w 271"/>
                  <a:gd name="T27" fmla="*/ 34 h 272"/>
                  <a:gd name="T28" fmla="*/ 269 w 271"/>
                  <a:gd name="T29" fmla="*/ 21 h 272"/>
                  <a:gd name="T30" fmla="*/ 255 w 271"/>
                  <a:gd name="T31" fmla="*/ 19 h 272"/>
                  <a:gd name="T32" fmla="*/ 230 w 271"/>
                  <a:gd name="T33" fmla="*/ 21 h 272"/>
                  <a:gd name="T34" fmla="*/ 194 w 271"/>
                  <a:gd name="T35" fmla="*/ 21 h 272"/>
                  <a:gd name="T36" fmla="*/ 167 w 271"/>
                  <a:gd name="T37" fmla="*/ 9 h 272"/>
                  <a:gd name="T38" fmla="*/ 148 w 271"/>
                  <a:gd name="T39" fmla="*/ 3 h 272"/>
                  <a:gd name="T40" fmla="*/ 132 w 271"/>
                  <a:gd name="T41" fmla="*/ 0 h 272"/>
                  <a:gd name="T42" fmla="*/ 116 w 271"/>
                  <a:gd name="T43" fmla="*/ 24 h 272"/>
                  <a:gd name="T44" fmla="*/ 97 w 271"/>
                  <a:gd name="T45" fmla="*/ 40 h 272"/>
                  <a:gd name="T46" fmla="*/ 69 w 271"/>
                  <a:gd name="T47" fmla="*/ 37 h 272"/>
                  <a:gd name="T48" fmla="*/ 52 w 271"/>
                  <a:gd name="T49" fmla="*/ 50 h 272"/>
                  <a:gd name="T50" fmla="*/ 26 w 271"/>
                  <a:gd name="T51" fmla="*/ 80 h 272"/>
                  <a:gd name="T52" fmla="*/ 5 w 271"/>
                  <a:gd name="T53" fmla="*/ 98 h 272"/>
                  <a:gd name="T54" fmla="*/ 0 w 271"/>
                  <a:gd name="T55" fmla="*/ 111 h 272"/>
                  <a:gd name="T56" fmla="*/ 12 w 271"/>
                  <a:gd name="T57" fmla="*/ 135 h 272"/>
                  <a:gd name="T58" fmla="*/ 24 w 271"/>
                  <a:gd name="T59" fmla="*/ 167 h 272"/>
                  <a:gd name="T60" fmla="*/ 38 w 271"/>
                  <a:gd name="T61" fmla="*/ 185 h 272"/>
                  <a:gd name="T62" fmla="*/ 52 w 271"/>
                  <a:gd name="T63" fmla="*/ 179 h 272"/>
                  <a:gd name="T64" fmla="*/ 76 w 271"/>
                  <a:gd name="T65" fmla="*/ 169 h 272"/>
                  <a:gd name="T66" fmla="*/ 74 w 271"/>
                  <a:gd name="T67" fmla="*/ 195 h 272"/>
                  <a:gd name="T68" fmla="*/ 66 w 271"/>
                  <a:gd name="T69" fmla="*/ 226 h 272"/>
                  <a:gd name="T70" fmla="*/ 69 w 271"/>
                  <a:gd name="T71" fmla="*/ 232 h 272"/>
                  <a:gd name="T72" fmla="*/ 80 w 271"/>
                  <a:gd name="T73" fmla="*/ 232 h 272"/>
                  <a:gd name="T74" fmla="*/ 97 w 271"/>
                  <a:gd name="T75" fmla="*/ 226 h 272"/>
                  <a:gd name="T76" fmla="*/ 132 w 271"/>
                  <a:gd name="T77" fmla="*/ 231 h 272"/>
                  <a:gd name="T78" fmla="*/ 142 w 271"/>
                  <a:gd name="T79" fmla="*/ 245 h 272"/>
                  <a:gd name="T80" fmla="*/ 162 w 271"/>
                  <a:gd name="T81" fmla="*/ 253 h 272"/>
                  <a:gd name="T82" fmla="*/ 179 w 271"/>
                  <a:gd name="T83" fmla="*/ 272 h 272"/>
                  <a:gd name="T84" fmla="*/ 190 w 271"/>
                  <a:gd name="T85" fmla="*/ 269 h 272"/>
                  <a:gd name="T86" fmla="*/ 212 w 271"/>
                  <a:gd name="T87" fmla="*/ 256 h 272"/>
                  <a:gd name="T88" fmla="*/ 233 w 271"/>
                  <a:gd name="T89" fmla="*/ 253 h 272"/>
                  <a:gd name="T90" fmla="*/ 262 w 271"/>
                  <a:gd name="T91" fmla="*/ 256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1" h="272">
                    <a:moveTo>
                      <a:pt x="262" y="256"/>
                    </a:moveTo>
                    <a:lnTo>
                      <a:pt x="260" y="241"/>
                    </a:lnTo>
                    <a:lnTo>
                      <a:pt x="269" y="226"/>
                    </a:lnTo>
                    <a:lnTo>
                      <a:pt x="269" y="206"/>
                    </a:lnTo>
                    <a:lnTo>
                      <a:pt x="250" y="191"/>
                    </a:lnTo>
                    <a:lnTo>
                      <a:pt x="243" y="182"/>
                    </a:lnTo>
                    <a:lnTo>
                      <a:pt x="238" y="155"/>
                    </a:lnTo>
                    <a:lnTo>
                      <a:pt x="227" y="132"/>
                    </a:lnTo>
                    <a:lnTo>
                      <a:pt x="214" y="114"/>
                    </a:lnTo>
                    <a:lnTo>
                      <a:pt x="214" y="98"/>
                    </a:lnTo>
                    <a:lnTo>
                      <a:pt x="222" y="87"/>
                    </a:lnTo>
                    <a:lnTo>
                      <a:pt x="252" y="90"/>
                    </a:lnTo>
                    <a:lnTo>
                      <a:pt x="264" y="74"/>
                    </a:lnTo>
                    <a:lnTo>
                      <a:pt x="271" y="34"/>
                    </a:lnTo>
                    <a:lnTo>
                      <a:pt x="269" y="21"/>
                    </a:lnTo>
                    <a:lnTo>
                      <a:pt x="255" y="19"/>
                    </a:lnTo>
                    <a:lnTo>
                      <a:pt x="230" y="21"/>
                    </a:lnTo>
                    <a:lnTo>
                      <a:pt x="194" y="21"/>
                    </a:lnTo>
                    <a:lnTo>
                      <a:pt x="167" y="9"/>
                    </a:lnTo>
                    <a:lnTo>
                      <a:pt x="148" y="3"/>
                    </a:lnTo>
                    <a:lnTo>
                      <a:pt x="132" y="0"/>
                    </a:lnTo>
                    <a:lnTo>
                      <a:pt x="116" y="24"/>
                    </a:lnTo>
                    <a:lnTo>
                      <a:pt x="97" y="40"/>
                    </a:lnTo>
                    <a:lnTo>
                      <a:pt x="69" y="37"/>
                    </a:lnTo>
                    <a:lnTo>
                      <a:pt x="52" y="50"/>
                    </a:lnTo>
                    <a:lnTo>
                      <a:pt x="26" y="80"/>
                    </a:lnTo>
                    <a:lnTo>
                      <a:pt x="5" y="98"/>
                    </a:lnTo>
                    <a:lnTo>
                      <a:pt x="0" y="111"/>
                    </a:lnTo>
                    <a:lnTo>
                      <a:pt x="12" y="135"/>
                    </a:lnTo>
                    <a:lnTo>
                      <a:pt x="24" y="167"/>
                    </a:lnTo>
                    <a:lnTo>
                      <a:pt x="38" y="185"/>
                    </a:lnTo>
                    <a:lnTo>
                      <a:pt x="52" y="179"/>
                    </a:lnTo>
                    <a:lnTo>
                      <a:pt x="76" y="169"/>
                    </a:lnTo>
                    <a:lnTo>
                      <a:pt x="74" y="195"/>
                    </a:lnTo>
                    <a:lnTo>
                      <a:pt x="66" y="226"/>
                    </a:lnTo>
                    <a:lnTo>
                      <a:pt x="69" y="232"/>
                    </a:lnTo>
                    <a:lnTo>
                      <a:pt x="80" y="232"/>
                    </a:lnTo>
                    <a:lnTo>
                      <a:pt x="97" y="226"/>
                    </a:lnTo>
                    <a:lnTo>
                      <a:pt x="132" y="231"/>
                    </a:lnTo>
                    <a:lnTo>
                      <a:pt x="142" y="245"/>
                    </a:lnTo>
                    <a:lnTo>
                      <a:pt x="162" y="253"/>
                    </a:lnTo>
                    <a:lnTo>
                      <a:pt x="179" y="272"/>
                    </a:lnTo>
                    <a:lnTo>
                      <a:pt x="190" y="269"/>
                    </a:lnTo>
                    <a:lnTo>
                      <a:pt x="212" y="256"/>
                    </a:lnTo>
                    <a:lnTo>
                      <a:pt x="233" y="253"/>
                    </a:lnTo>
                    <a:lnTo>
                      <a:pt x="262" y="2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sp>
          <p:nvSpPr>
            <p:cNvPr id="38" name="LV"/>
            <p:cNvSpPr>
              <a:spLocks noChangeAspect="1"/>
            </p:cNvSpPr>
            <p:nvPr/>
          </p:nvSpPr>
          <p:spPr bwMode="auto">
            <a:xfrm>
              <a:off x="6916738" y="2794000"/>
              <a:ext cx="695325" cy="327025"/>
            </a:xfrm>
            <a:custGeom>
              <a:avLst/>
              <a:gdLst>
                <a:gd name="T0" fmla="*/ 115 w 468"/>
                <a:gd name="T1" fmla="*/ 93 h 275"/>
                <a:gd name="T2" fmla="*/ 105 w 468"/>
                <a:gd name="T3" fmla="*/ 56 h 275"/>
                <a:gd name="T4" fmla="*/ 74 w 468"/>
                <a:gd name="T5" fmla="*/ 37 h 275"/>
                <a:gd name="T6" fmla="*/ 41 w 468"/>
                <a:gd name="T7" fmla="*/ 66 h 275"/>
                <a:gd name="T8" fmla="*/ 21 w 468"/>
                <a:gd name="T9" fmla="*/ 127 h 275"/>
                <a:gd name="T10" fmla="*/ 16 w 468"/>
                <a:gd name="T11" fmla="*/ 148 h 275"/>
                <a:gd name="T12" fmla="*/ 0 w 468"/>
                <a:gd name="T13" fmla="*/ 170 h 275"/>
                <a:gd name="T14" fmla="*/ 5 w 468"/>
                <a:gd name="T15" fmla="*/ 212 h 275"/>
                <a:gd name="T16" fmla="*/ 19 w 468"/>
                <a:gd name="T17" fmla="*/ 241 h 275"/>
                <a:gd name="T18" fmla="*/ 60 w 468"/>
                <a:gd name="T19" fmla="*/ 217 h 275"/>
                <a:gd name="T20" fmla="*/ 88 w 468"/>
                <a:gd name="T21" fmla="*/ 212 h 275"/>
                <a:gd name="T22" fmla="*/ 124 w 468"/>
                <a:gd name="T23" fmla="*/ 222 h 275"/>
                <a:gd name="T24" fmla="*/ 159 w 468"/>
                <a:gd name="T25" fmla="*/ 212 h 275"/>
                <a:gd name="T26" fmla="*/ 182 w 468"/>
                <a:gd name="T27" fmla="*/ 219 h 275"/>
                <a:gd name="T28" fmla="*/ 212 w 468"/>
                <a:gd name="T29" fmla="*/ 212 h 275"/>
                <a:gd name="T30" fmla="*/ 248 w 468"/>
                <a:gd name="T31" fmla="*/ 209 h 275"/>
                <a:gd name="T32" fmla="*/ 283 w 468"/>
                <a:gd name="T33" fmla="*/ 235 h 275"/>
                <a:gd name="T34" fmla="*/ 330 w 468"/>
                <a:gd name="T35" fmla="*/ 258 h 275"/>
                <a:gd name="T36" fmla="*/ 358 w 468"/>
                <a:gd name="T37" fmla="*/ 275 h 275"/>
                <a:gd name="T38" fmla="*/ 400 w 468"/>
                <a:gd name="T39" fmla="*/ 262 h 275"/>
                <a:gd name="T40" fmla="*/ 421 w 468"/>
                <a:gd name="T41" fmla="*/ 238 h 275"/>
                <a:gd name="T42" fmla="*/ 461 w 468"/>
                <a:gd name="T43" fmla="*/ 191 h 275"/>
                <a:gd name="T44" fmla="*/ 463 w 468"/>
                <a:gd name="T45" fmla="*/ 130 h 275"/>
                <a:gd name="T46" fmla="*/ 430 w 468"/>
                <a:gd name="T47" fmla="*/ 98 h 275"/>
                <a:gd name="T48" fmla="*/ 412 w 468"/>
                <a:gd name="T49" fmla="*/ 47 h 275"/>
                <a:gd name="T50" fmla="*/ 382 w 468"/>
                <a:gd name="T51" fmla="*/ 27 h 275"/>
                <a:gd name="T52" fmla="*/ 328 w 468"/>
                <a:gd name="T53" fmla="*/ 43 h 275"/>
                <a:gd name="T54" fmla="*/ 297 w 468"/>
                <a:gd name="T55" fmla="*/ 27 h 275"/>
                <a:gd name="T56" fmla="*/ 269 w 468"/>
                <a:gd name="T57" fmla="*/ 6 h 275"/>
                <a:gd name="T58" fmla="*/ 241 w 468"/>
                <a:gd name="T59" fmla="*/ 0 h 275"/>
                <a:gd name="T60" fmla="*/ 211 w 468"/>
                <a:gd name="T61" fmla="*/ 6 h 275"/>
                <a:gd name="T62" fmla="*/ 196 w 468"/>
                <a:gd name="T63" fmla="*/ 27 h 275"/>
                <a:gd name="T64" fmla="*/ 201 w 468"/>
                <a:gd name="T65" fmla="*/ 87 h 275"/>
                <a:gd name="T66" fmla="*/ 182 w 468"/>
                <a:gd name="T67" fmla="*/ 121 h 275"/>
                <a:gd name="T68" fmla="*/ 162 w 468"/>
                <a:gd name="T69" fmla="*/ 12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68" h="275">
                  <a:moveTo>
                    <a:pt x="138" y="108"/>
                  </a:moveTo>
                  <a:lnTo>
                    <a:pt x="115" y="93"/>
                  </a:lnTo>
                  <a:lnTo>
                    <a:pt x="110" y="74"/>
                  </a:lnTo>
                  <a:lnTo>
                    <a:pt x="105" y="56"/>
                  </a:lnTo>
                  <a:lnTo>
                    <a:pt x="93" y="37"/>
                  </a:lnTo>
                  <a:lnTo>
                    <a:pt x="74" y="37"/>
                  </a:lnTo>
                  <a:lnTo>
                    <a:pt x="60" y="46"/>
                  </a:lnTo>
                  <a:lnTo>
                    <a:pt x="41" y="66"/>
                  </a:lnTo>
                  <a:lnTo>
                    <a:pt x="19" y="114"/>
                  </a:lnTo>
                  <a:lnTo>
                    <a:pt x="21" y="127"/>
                  </a:lnTo>
                  <a:lnTo>
                    <a:pt x="21" y="140"/>
                  </a:lnTo>
                  <a:lnTo>
                    <a:pt x="16" y="148"/>
                  </a:lnTo>
                  <a:lnTo>
                    <a:pt x="7" y="158"/>
                  </a:lnTo>
                  <a:lnTo>
                    <a:pt x="0" y="170"/>
                  </a:lnTo>
                  <a:lnTo>
                    <a:pt x="5" y="182"/>
                  </a:lnTo>
                  <a:lnTo>
                    <a:pt x="5" y="212"/>
                  </a:lnTo>
                  <a:lnTo>
                    <a:pt x="8" y="235"/>
                  </a:lnTo>
                  <a:lnTo>
                    <a:pt x="19" y="241"/>
                  </a:lnTo>
                  <a:lnTo>
                    <a:pt x="38" y="232"/>
                  </a:lnTo>
                  <a:lnTo>
                    <a:pt x="60" y="217"/>
                  </a:lnTo>
                  <a:lnTo>
                    <a:pt x="70" y="207"/>
                  </a:lnTo>
                  <a:lnTo>
                    <a:pt x="88" y="212"/>
                  </a:lnTo>
                  <a:lnTo>
                    <a:pt x="107" y="217"/>
                  </a:lnTo>
                  <a:lnTo>
                    <a:pt x="124" y="222"/>
                  </a:lnTo>
                  <a:lnTo>
                    <a:pt x="135" y="228"/>
                  </a:lnTo>
                  <a:lnTo>
                    <a:pt x="159" y="212"/>
                  </a:lnTo>
                  <a:lnTo>
                    <a:pt x="170" y="212"/>
                  </a:lnTo>
                  <a:lnTo>
                    <a:pt x="182" y="219"/>
                  </a:lnTo>
                  <a:lnTo>
                    <a:pt x="198" y="225"/>
                  </a:lnTo>
                  <a:lnTo>
                    <a:pt x="212" y="212"/>
                  </a:lnTo>
                  <a:lnTo>
                    <a:pt x="234" y="207"/>
                  </a:lnTo>
                  <a:lnTo>
                    <a:pt x="248" y="209"/>
                  </a:lnTo>
                  <a:lnTo>
                    <a:pt x="259" y="232"/>
                  </a:lnTo>
                  <a:lnTo>
                    <a:pt x="283" y="235"/>
                  </a:lnTo>
                  <a:lnTo>
                    <a:pt x="311" y="232"/>
                  </a:lnTo>
                  <a:lnTo>
                    <a:pt x="330" y="258"/>
                  </a:lnTo>
                  <a:lnTo>
                    <a:pt x="344" y="272"/>
                  </a:lnTo>
                  <a:lnTo>
                    <a:pt x="358" y="275"/>
                  </a:lnTo>
                  <a:lnTo>
                    <a:pt x="379" y="265"/>
                  </a:lnTo>
                  <a:lnTo>
                    <a:pt x="400" y="262"/>
                  </a:lnTo>
                  <a:lnTo>
                    <a:pt x="414" y="251"/>
                  </a:lnTo>
                  <a:lnTo>
                    <a:pt x="421" y="238"/>
                  </a:lnTo>
                  <a:lnTo>
                    <a:pt x="447" y="207"/>
                  </a:lnTo>
                  <a:lnTo>
                    <a:pt x="461" y="191"/>
                  </a:lnTo>
                  <a:lnTo>
                    <a:pt x="468" y="167"/>
                  </a:lnTo>
                  <a:lnTo>
                    <a:pt x="463" y="130"/>
                  </a:lnTo>
                  <a:lnTo>
                    <a:pt x="452" y="121"/>
                  </a:lnTo>
                  <a:lnTo>
                    <a:pt x="430" y="98"/>
                  </a:lnTo>
                  <a:lnTo>
                    <a:pt x="421" y="74"/>
                  </a:lnTo>
                  <a:lnTo>
                    <a:pt x="412" y="47"/>
                  </a:lnTo>
                  <a:lnTo>
                    <a:pt x="393" y="29"/>
                  </a:lnTo>
                  <a:lnTo>
                    <a:pt x="382" y="27"/>
                  </a:lnTo>
                  <a:lnTo>
                    <a:pt x="344" y="29"/>
                  </a:lnTo>
                  <a:lnTo>
                    <a:pt x="328" y="43"/>
                  </a:lnTo>
                  <a:lnTo>
                    <a:pt x="316" y="47"/>
                  </a:lnTo>
                  <a:lnTo>
                    <a:pt x="297" y="27"/>
                  </a:lnTo>
                  <a:lnTo>
                    <a:pt x="281" y="19"/>
                  </a:lnTo>
                  <a:lnTo>
                    <a:pt x="269" y="6"/>
                  </a:lnTo>
                  <a:lnTo>
                    <a:pt x="262" y="3"/>
                  </a:lnTo>
                  <a:lnTo>
                    <a:pt x="241" y="0"/>
                  </a:lnTo>
                  <a:lnTo>
                    <a:pt x="225" y="6"/>
                  </a:lnTo>
                  <a:lnTo>
                    <a:pt x="211" y="6"/>
                  </a:lnTo>
                  <a:lnTo>
                    <a:pt x="203" y="13"/>
                  </a:lnTo>
                  <a:lnTo>
                    <a:pt x="196" y="27"/>
                  </a:lnTo>
                  <a:lnTo>
                    <a:pt x="196" y="56"/>
                  </a:lnTo>
                  <a:lnTo>
                    <a:pt x="201" y="87"/>
                  </a:lnTo>
                  <a:lnTo>
                    <a:pt x="201" y="101"/>
                  </a:lnTo>
                  <a:lnTo>
                    <a:pt x="182" y="121"/>
                  </a:lnTo>
                  <a:lnTo>
                    <a:pt x="170" y="133"/>
                  </a:lnTo>
                  <a:lnTo>
                    <a:pt x="162" y="120"/>
                  </a:lnTo>
                  <a:lnTo>
                    <a:pt x="138" y="10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39" name="SK"/>
            <p:cNvSpPr>
              <a:spLocks noChangeAspect="1"/>
            </p:cNvSpPr>
            <p:nvPr/>
          </p:nvSpPr>
          <p:spPr bwMode="auto">
            <a:xfrm>
              <a:off x="6489700" y="4046538"/>
              <a:ext cx="658813" cy="266700"/>
            </a:xfrm>
            <a:custGeom>
              <a:avLst/>
              <a:gdLst>
                <a:gd name="T0" fmla="*/ 151 w 445"/>
                <a:gd name="T1" fmla="*/ 11 h 222"/>
                <a:gd name="T2" fmla="*/ 167 w 445"/>
                <a:gd name="T3" fmla="*/ 0 h 222"/>
                <a:gd name="T4" fmla="*/ 184 w 445"/>
                <a:gd name="T5" fmla="*/ 0 h 222"/>
                <a:gd name="T6" fmla="*/ 192 w 445"/>
                <a:gd name="T7" fmla="*/ 16 h 222"/>
                <a:gd name="T8" fmla="*/ 208 w 445"/>
                <a:gd name="T9" fmla="*/ 3 h 222"/>
                <a:gd name="T10" fmla="*/ 225 w 445"/>
                <a:gd name="T11" fmla="*/ 9 h 222"/>
                <a:gd name="T12" fmla="*/ 250 w 445"/>
                <a:gd name="T13" fmla="*/ 37 h 222"/>
                <a:gd name="T14" fmla="*/ 278 w 445"/>
                <a:gd name="T15" fmla="*/ 50 h 222"/>
                <a:gd name="T16" fmla="*/ 288 w 445"/>
                <a:gd name="T17" fmla="*/ 53 h 222"/>
                <a:gd name="T18" fmla="*/ 302 w 445"/>
                <a:gd name="T19" fmla="*/ 40 h 222"/>
                <a:gd name="T20" fmla="*/ 316 w 445"/>
                <a:gd name="T21" fmla="*/ 34 h 222"/>
                <a:gd name="T22" fmla="*/ 354 w 445"/>
                <a:gd name="T23" fmla="*/ 46 h 222"/>
                <a:gd name="T24" fmla="*/ 405 w 445"/>
                <a:gd name="T25" fmla="*/ 58 h 222"/>
                <a:gd name="T26" fmla="*/ 445 w 445"/>
                <a:gd name="T27" fmla="*/ 71 h 222"/>
                <a:gd name="T28" fmla="*/ 431 w 445"/>
                <a:gd name="T29" fmla="*/ 90 h 222"/>
                <a:gd name="T30" fmla="*/ 405 w 445"/>
                <a:gd name="T31" fmla="*/ 120 h 222"/>
                <a:gd name="T32" fmla="*/ 398 w 445"/>
                <a:gd name="T33" fmla="*/ 129 h 222"/>
                <a:gd name="T34" fmla="*/ 401 w 445"/>
                <a:gd name="T35" fmla="*/ 151 h 222"/>
                <a:gd name="T36" fmla="*/ 382 w 445"/>
                <a:gd name="T37" fmla="*/ 151 h 222"/>
                <a:gd name="T38" fmla="*/ 363 w 445"/>
                <a:gd name="T39" fmla="*/ 135 h 222"/>
                <a:gd name="T40" fmla="*/ 344 w 445"/>
                <a:gd name="T41" fmla="*/ 129 h 222"/>
                <a:gd name="T42" fmla="*/ 295 w 445"/>
                <a:gd name="T43" fmla="*/ 142 h 222"/>
                <a:gd name="T44" fmla="*/ 282 w 445"/>
                <a:gd name="T45" fmla="*/ 155 h 222"/>
                <a:gd name="T46" fmla="*/ 268 w 445"/>
                <a:gd name="T47" fmla="*/ 175 h 222"/>
                <a:gd name="T48" fmla="*/ 241 w 445"/>
                <a:gd name="T49" fmla="*/ 194 h 222"/>
                <a:gd name="T50" fmla="*/ 226 w 445"/>
                <a:gd name="T51" fmla="*/ 194 h 222"/>
                <a:gd name="T52" fmla="*/ 210 w 445"/>
                <a:gd name="T53" fmla="*/ 178 h 222"/>
                <a:gd name="T54" fmla="*/ 196 w 445"/>
                <a:gd name="T55" fmla="*/ 178 h 222"/>
                <a:gd name="T56" fmla="*/ 145 w 445"/>
                <a:gd name="T57" fmla="*/ 205 h 222"/>
                <a:gd name="T58" fmla="*/ 121 w 445"/>
                <a:gd name="T59" fmla="*/ 219 h 222"/>
                <a:gd name="T60" fmla="*/ 103 w 445"/>
                <a:gd name="T61" fmla="*/ 222 h 222"/>
                <a:gd name="T62" fmla="*/ 63 w 445"/>
                <a:gd name="T63" fmla="*/ 219 h 222"/>
                <a:gd name="T64" fmla="*/ 46 w 445"/>
                <a:gd name="T65" fmla="*/ 219 h 222"/>
                <a:gd name="T66" fmla="*/ 34 w 445"/>
                <a:gd name="T67" fmla="*/ 198 h 222"/>
                <a:gd name="T68" fmla="*/ 27 w 445"/>
                <a:gd name="T69" fmla="*/ 191 h 222"/>
                <a:gd name="T70" fmla="*/ 13 w 445"/>
                <a:gd name="T71" fmla="*/ 182 h 222"/>
                <a:gd name="T72" fmla="*/ 6 w 445"/>
                <a:gd name="T73" fmla="*/ 172 h 222"/>
                <a:gd name="T74" fmla="*/ 0 w 445"/>
                <a:gd name="T75" fmla="*/ 151 h 222"/>
                <a:gd name="T76" fmla="*/ 0 w 445"/>
                <a:gd name="T77" fmla="*/ 127 h 222"/>
                <a:gd name="T78" fmla="*/ 43 w 445"/>
                <a:gd name="T79" fmla="*/ 107 h 222"/>
                <a:gd name="T80" fmla="*/ 91 w 445"/>
                <a:gd name="T81" fmla="*/ 107 h 222"/>
                <a:gd name="T82" fmla="*/ 120 w 445"/>
                <a:gd name="T83" fmla="*/ 77 h 222"/>
                <a:gd name="T84" fmla="*/ 124 w 445"/>
                <a:gd name="T85" fmla="*/ 26 h 222"/>
                <a:gd name="T86" fmla="*/ 151 w 445"/>
                <a:gd name="T87" fmla="*/ 1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5" h="222">
                  <a:moveTo>
                    <a:pt x="151" y="11"/>
                  </a:moveTo>
                  <a:lnTo>
                    <a:pt x="167" y="0"/>
                  </a:lnTo>
                  <a:lnTo>
                    <a:pt x="184" y="0"/>
                  </a:lnTo>
                  <a:lnTo>
                    <a:pt x="192" y="16"/>
                  </a:lnTo>
                  <a:lnTo>
                    <a:pt x="208" y="3"/>
                  </a:lnTo>
                  <a:lnTo>
                    <a:pt x="225" y="9"/>
                  </a:lnTo>
                  <a:lnTo>
                    <a:pt x="250" y="37"/>
                  </a:lnTo>
                  <a:lnTo>
                    <a:pt x="278" y="50"/>
                  </a:lnTo>
                  <a:lnTo>
                    <a:pt x="288" y="53"/>
                  </a:lnTo>
                  <a:lnTo>
                    <a:pt x="302" y="40"/>
                  </a:lnTo>
                  <a:lnTo>
                    <a:pt x="316" y="34"/>
                  </a:lnTo>
                  <a:lnTo>
                    <a:pt x="354" y="46"/>
                  </a:lnTo>
                  <a:lnTo>
                    <a:pt x="405" y="58"/>
                  </a:lnTo>
                  <a:lnTo>
                    <a:pt x="445" y="71"/>
                  </a:lnTo>
                  <a:lnTo>
                    <a:pt x="431" y="90"/>
                  </a:lnTo>
                  <a:lnTo>
                    <a:pt x="405" y="120"/>
                  </a:lnTo>
                  <a:lnTo>
                    <a:pt x="398" y="129"/>
                  </a:lnTo>
                  <a:lnTo>
                    <a:pt x="401" y="151"/>
                  </a:lnTo>
                  <a:lnTo>
                    <a:pt x="382" y="151"/>
                  </a:lnTo>
                  <a:lnTo>
                    <a:pt x="363" y="135"/>
                  </a:lnTo>
                  <a:lnTo>
                    <a:pt x="344" y="129"/>
                  </a:lnTo>
                  <a:lnTo>
                    <a:pt x="295" y="142"/>
                  </a:lnTo>
                  <a:lnTo>
                    <a:pt x="282" y="155"/>
                  </a:lnTo>
                  <a:lnTo>
                    <a:pt x="268" y="175"/>
                  </a:lnTo>
                  <a:lnTo>
                    <a:pt x="241" y="194"/>
                  </a:lnTo>
                  <a:lnTo>
                    <a:pt x="226" y="194"/>
                  </a:lnTo>
                  <a:lnTo>
                    <a:pt x="210" y="178"/>
                  </a:lnTo>
                  <a:lnTo>
                    <a:pt x="196" y="178"/>
                  </a:lnTo>
                  <a:lnTo>
                    <a:pt x="145" y="205"/>
                  </a:lnTo>
                  <a:lnTo>
                    <a:pt x="121" y="219"/>
                  </a:lnTo>
                  <a:lnTo>
                    <a:pt x="103" y="222"/>
                  </a:lnTo>
                  <a:lnTo>
                    <a:pt x="63" y="219"/>
                  </a:lnTo>
                  <a:lnTo>
                    <a:pt x="46" y="219"/>
                  </a:lnTo>
                  <a:lnTo>
                    <a:pt x="34" y="198"/>
                  </a:lnTo>
                  <a:lnTo>
                    <a:pt x="27" y="191"/>
                  </a:lnTo>
                  <a:lnTo>
                    <a:pt x="13" y="182"/>
                  </a:lnTo>
                  <a:lnTo>
                    <a:pt x="6" y="172"/>
                  </a:lnTo>
                  <a:lnTo>
                    <a:pt x="0" y="151"/>
                  </a:lnTo>
                  <a:lnTo>
                    <a:pt x="0" y="127"/>
                  </a:lnTo>
                  <a:lnTo>
                    <a:pt x="43" y="107"/>
                  </a:lnTo>
                  <a:lnTo>
                    <a:pt x="91" y="107"/>
                  </a:lnTo>
                  <a:lnTo>
                    <a:pt x="120" y="77"/>
                  </a:lnTo>
                  <a:lnTo>
                    <a:pt x="124" y="26"/>
                  </a:lnTo>
                  <a:lnTo>
                    <a:pt x="151" y="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40" name="xb"/>
            <p:cNvSpPr>
              <a:spLocks noChangeAspect="1"/>
            </p:cNvSpPr>
            <p:nvPr/>
          </p:nvSpPr>
          <p:spPr bwMode="auto">
            <a:xfrm>
              <a:off x="7581900" y="4206875"/>
              <a:ext cx="442913" cy="439738"/>
            </a:xfrm>
            <a:custGeom>
              <a:avLst/>
              <a:gdLst>
                <a:gd name="T0" fmla="*/ 153 w 285"/>
                <a:gd name="T1" fmla="*/ 355 h 355"/>
                <a:gd name="T2" fmla="*/ 136 w 285"/>
                <a:gd name="T3" fmla="*/ 335 h 355"/>
                <a:gd name="T4" fmla="*/ 133 w 285"/>
                <a:gd name="T5" fmla="*/ 288 h 355"/>
                <a:gd name="T6" fmla="*/ 115 w 285"/>
                <a:gd name="T7" fmla="*/ 254 h 355"/>
                <a:gd name="T8" fmla="*/ 114 w 285"/>
                <a:gd name="T9" fmla="*/ 224 h 355"/>
                <a:gd name="T10" fmla="*/ 119 w 285"/>
                <a:gd name="T11" fmla="*/ 202 h 355"/>
                <a:gd name="T12" fmla="*/ 104 w 285"/>
                <a:gd name="T13" fmla="*/ 171 h 355"/>
                <a:gd name="T14" fmla="*/ 85 w 285"/>
                <a:gd name="T15" fmla="*/ 147 h 355"/>
                <a:gd name="T16" fmla="*/ 77 w 285"/>
                <a:gd name="T17" fmla="*/ 121 h 355"/>
                <a:gd name="T18" fmla="*/ 73 w 285"/>
                <a:gd name="T19" fmla="*/ 104 h 355"/>
                <a:gd name="T20" fmla="*/ 50 w 285"/>
                <a:gd name="T21" fmla="*/ 87 h 355"/>
                <a:gd name="T22" fmla="*/ 38 w 285"/>
                <a:gd name="T23" fmla="*/ 64 h 355"/>
                <a:gd name="T24" fmla="*/ 24 w 285"/>
                <a:gd name="T25" fmla="*/ 39 h 355"/>
                <a:gd name="T26" fmla="*/ 0 w 285"/>
                <a:gd name="T27" fmla="*/ 22 h 355"/>
                <a:gd name="T28" fmla="*/ 38 w 285"/>
                <a:gd name="T29" fmla="*/ 0 h 355"/>
                <a:gd name="T30" fmla="*/ 68 w 285"/>
                <a:gd name="T31" fmla="*/ 5 h 355"/>
                <a:gd name="T32" fmla="*/ 87 w 285"/>
                <a:gd name="T33" fmla="*/ 9 h 355"/>
                <a:gd name="T34" fmla="*/ 136 w 285"/>
                <a:gd name="T35" fmla="*/ 49 h 355"/>
                <a:gd name="T36" fmla="*/ 148 w 285"/>
                <a:gd name="T37" fmla="*/ 56 h 355"/>
                <a:gd name="T38" fmla="*/ 183 w 285"/>
                <a:gd name="T39" fmla="*/ 64 h 355"/>
                <a:gd name="T40" fmla="*/ 205 w 285"/>
                <a:gd name="T41" fmla="*/ 99 h 355"/>
                <a:gd name="T42" fmla="*/ 195 w 285"/>
                <a:gd name="T43" fmla="*/ 124 h 355"/>
                <a:gd name="T44" fmla="*/ 209 w 285"/>
                <a:gd name="T45" fmla="*/ 158 h 355"/>
                <a:gd name="T46" fmla="*/ 243 w 285"/>
                <a:gd name="T47" fmla="*/ 184 h 355"/>
                <a:gd name="T48" fmla="*/ 256 w 285"/>
                <a:gd name="T49" fmla="*/ 205 h 355"/>
                <a:gd name="T50" fmla="*/ 277 w 285"/>
                <a:gd name="T51" fmla="*/ 214 h 355"/>
                <a:gd name="T52" fmla="*/ 285 w 285"/>
                <a:gd name="T53" fmla="*/ 215 h 355"/>
                <a:gd name="T54" fmla="*/ 271 w 285"/>
                <a:gd name="T55" fmla="*/ 227 h 355"/>
                <a:gd name="T56" fmla="*/ 235 w 285"/>
                <a:gd name="T57" fmla="*/ 227 h 355"/>
                <a:gd name="T58" fmla="*/ 205 w 285"/>
                <a:gd name="T59" fmla="*/ 224 h 355"/>
                <a:gd name="T60" fmla="*/ 191 w 285"/>
                <a:gd name="T61" fmla="*/ 231 h 355"/>
                <a:gd name="T62" fmla="*/ 195 w 285"/>
                <a:gd name="T63" fmla="*/ 269 h 355"/>
                <a:gd name="T64" fmla="*/ 190 w 285"/>
                <a:gd name="T65" fmla="*/ 299 h 355"/>
                <a:gd name="T66" fmla="*/ 159 w 285"/>
                <a:gd name="T67" fmla="*/ 335 h 355"/>
                <a:gd name="T68" fmla="*/ 153 w 285"/>
                <a:gd name="T69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5" h="355">
                  <a:moveTo>
                    <a:pt x="153" y="355"/>
                  </a:moveTo>
                  <a:lnTo>
                    <a:pt x="136" y="335"/>
                  </a:lnTo>
                  <a:lnTo>
                    <a:pt x="133" y="288"/>
                  </a:lnTo>
                  <a:lnTo>
                    <a:pt x="115" y="254"/>
                  </a:lnTo>
                  <a:lnTo>
                    <a:pt x="114" y="224"/>
                  </a:lnTo>
                  <a:lnTo>
                    <a:pt x="119" y="202"/>
                  </a:lnTo>
                  <a:lnTo>
                    <a:pt x="104" y="171"/>
                  </a:lnTo>
                  <a:lnTo>
                    <a:pt x="85" y="147"/>
                  </a:lnTo>
                  <a:lnTo>
                    <a:pt x="77" y="121"/>
                  </a:lnTo>
                  <a:lnTo>
                    <a:pt x="73" y="104"/>
                  </a:lnTo>
                  <a:lnTo>
                    <a:pt x="50" y="87"/>
                  </a:lnTo>
                  <a:lnTo>
                    <a:pt x="38" y="64"/>
                  </a:lnTo>
                  <a:lnTo>
                    <a:pt x="24" y="39"/>
                  </a:lnTo>
                  <a:lnTo>
                    <a:pt x="0" y="22"/>
                  </a:lnTo>
                  <a:lnTo>
                    <a:pt x="38" y="0"/>
                  </a:lnTo>
                  <a:lnTo>
                    <a:pt x="68" y="5"/>
                  </a:lnTo>
                  <a:lnTo>
                    <a:pt x="87" y="9"/>
                  </a:lnTo>
                  <a:lnTo>
                    <a:pt x="136" y="49"/>
                  </a:lnTo>
                  <a:lnTo>
                    <a:pt x="148" y="56"/>
                  </a:lnTo>
                  <a:lnTo>
                    <a:pt x="183" y="64"/>
                  </a:lnTo>
                  <a:lnTo>
                    <a:pt x="205" y="99"/>
                  </a:lnTo>
                  <a:lnTo>
                    <a:pt x="195" y="124"/>
                  </a:lnTo>
                  <a:lnTo>
                    <a:pt x="209" y="158"/>
                  </a:lnTo>
                  <a:lnTo>
                    <a:pt x="243" y="184"/>
                  </a:lnTo>
                  <a:lnTo>
                    <a:pt x="256" y="205"/>
                  </a:lnTo>
                  <a:lnTo>
                    <a:pt x="277" y="214"/>
                  </a:lnTo>
                  <a:lnTo>
                    <a:pt x="285" y="215"/>
                  </a:lnTo>
                  <a:lnTo>
                    <a:pt x="271" y="227"/>
                  </a:lnTo>
                  <a:lnTo>
                    <a:pt x="235" y="227"/>
                  </a:lnTo>
                  <a:lnTo>
                    <a:pt x="205" y="224"/>
                  </a:lnTo>
                  <a:lnTo>
                    <a:pt x="191" y="231"/>
                  </a:lnTo>
                  <a:lnTo>
                    <a:pt x="195" y="269"/>
                  </a:lnTo>
                  <a:lnTo>
                    <a:pt x="190" y="299"/>
                  </a:lnTo>
                  <a:lnTo>
                    <a:pt x="159" y="335"/>
                  </a:lnTo>
                  <a:lnTo>
                    <a:pt x="153" y="35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grpSp>
          <p:nvGrpSpPr>
            <p:cNvPr id="41" name="xx"/>
            <p:cNvGrpSpPr/>
            <p:nvPr/>
          </p:nvGrpSpPr>
          <p:grpSpPr>
            <a:xfrm>
              <a:off x="5729208" y="2794006"/>
              <a:ext cx="272411" cy="405364"/>
              <a:chOff x="2681289" y="3112181"/>
              <a:chExt cx="272411" cy="405364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59" name="Freeform 531"/>
              <p:cNvSpPr>
                <a:spLocks noChangeAspect="1"/>
              </p:cNvSpPr>
              <p:nvPr/>
            </p:nvSpPr>
            <p:spPr bwMode="auto">
              <a:xfrm>
                <a:off x="2681289" y="3211098"/>
                <a:ext cx="272411" cy="306447"/>
              </a:xfrm>
              <a:custGeom>
                <a:avLst/>
                <a:gdLst>
                  <a:gd name="T0" fmla="*/ 14 w 183"/>
                  <a:gd name="T1" fmla="*/ 216 h 253"/>
                  <a:gd name="T2" fmla="*/ 24 w 183"/>
                  <a:gd name="T3" fmla="*/ 234 h 253"/>
                  <a:gd name="T4" fmla="*/ 44 w 183"/>
                  <a:gd name="T5" fmla="*/ 234 h 253"/>
                  <a:gd name="T6" fmla="*/ 63 w 183"/>
                  <a:gd name="T7" fmla="*/ 240 h 253"/>
                  <a:gd name="T8" fmla="*/ 77 w 183"/>
                  <a:gd name="T9" fmla="*/ 253 h 253"/>
                  <a:gd name="T10" fmla="*/ 92 w 183"/>
                  <a:gd name="T11" fmla="*/ 253 h 253"/>
                  <a:gd name="T12" fmla="*/ 82 w 183"/>
                  <a:gd name="T13" fmla="*/ 237 h 253"/>
                  <a:gd name="T14" fmla="*/ 90 w 183"/>
                  <a:gd name="T15" fmla="*/ 216 h 253"/>
                  <a:gd name="T16" fmla="*/ 98 w 183"/>
                  <a:gd name="T17" fmla="*/ 192 h 253"/>
                  <a:gd name="T18" fmla="*/ 103 w 183"/>
                  <a:gd name="T19" fmla="*/ 166 h 253"/>
                  <a:gd name="T20" fmla="*/ 125 w 183"/>
                  <a:gd name="T21" fmla="*/ 150 h 253"/>
                  <a:gd name="T22" fmla="*/ 143 w 183"/>
                  <a:gd name="T23" fmla="*/ 139 h 253"/>
                  <a:gd name="T24" fmla="*/ 141 w 183"/>
                  <a:gd name="T25" fmla="*/ 123 h 253"/>
                  <a:gd name="T26" fmla="*/ 141 w 183"/>
                  <a:gd name="T27" fmla="*/ 98 h 253"/>
                  <a:gd name="T28" fmla="*/ 145 w 183"/>
                  <a:gd name="T29" fmla="*/ 86 h 253"/>
                  <a:gd name="T30" fmla="*/ 162 w 183"/>
                  <a:gd name="T31" fmla="*/ 83 h 253"/>
                  <a:gd name="T32" fmla="*/ 169 w 183"/>
                  <a:gd name="T33" fmla="*/ 89 h 253"/>
                  <a:gd name="T34" fmla="*/ 183 w 183"/>
                  <a:gd name="T35" fmla="*/ 71 h 253"/>
                  <a:gd name="T36" fmla="*/ 178 w 183"/>
                  <a:gd name="T37" fmla="*/ 55 h 253"/>
                  <a:gd name="T38" fmla="*/ 169 w 183"/>
                  <a:gd name="T39" fmla="*/ 52 h 253"/>
                  <a:gd name="T40" fmla="*/ 153 w 183"/>
                  <a:gd name="T41" fmla="*/ 52 h 253"/>
                  <a:gd name="T42" fmla="*/ 145 w 183"/>
                  <a:gd name="T43" fmla="*/ 52 h 253"/>
                  <a:gd name="T44" fmla="*/ 141 w 183"/>
                  <a:gd name="T45" fmla="*/ 28 h 253"/>
                  <a:gd name="T46" fmla="*/ 143 w 183"/>
                  <a:gd name="T47" fmla="*/ 5 h 253"/>
                  <a:gd name="T48" fmla="*/ 131 w 183"/>
                  <a:gd name="T49" fmla="*/ 0 h 253"/>
                  <a:gd name="T50" fmla="*/ 126 w 183"/>
                  <a:gd name="T51" fmla="*/ 8 h 253"/>
                  <a:gd name="T52" fmla="*/ 98 w 183"/>
                  <a:gd name="T53" fmla="*/ 2 h 253"/>
                  <a:gd name="T54" fmla="*/ 92 w 183"/>
                  <a:gd name="T55" fmla="*/ 9 h 253"/>
                  <a:gd name="T56" fmla="*/ 98 w 183"/>
                  <a:gd name="T57" fmla="*/ 31 h 253"/>
                  <a:gd name="T58" fmla="*/ 96 w 183"/>
                  <a:gd name="T59" fmla="*/ 52 h 253"/>
                  <a:gd name="T60" fmla="*/ 84 w 183"/>
                  <a:gd name="T61" fmla="*/ 37 h 253"/>
                  <a:gd name="T62" fmla="*/ 79 w 183"/>
                  <a:gd name="T63" fmla="*/ 24 h 253"/>
                  <a:gd name="T64" fmla="*/ 63 w 183"/>
                  <a:gd name="T65" fmla="*/ 27 h 253"/>
                  <a:gd name="T66" fmla="*/ 57 w 183"/>
                  <a:gd name="T67" fmla="*/ 39 h 253"/>
                  <a:gd name="T68" fmla="*/ 52 w 183"/>
                  <a:gd name="T69" fmla="*/ 45 h 253"/>
                  <a:gd name="T70" fmla="*/ 52 w 183"/>
                  <a:gd name="T71" fmla="*/ 64 h 253"/>
                  <a:gd name="T72" fmla="*/ 49 w 183"/>
                  <a:gd name="T73" fmla="*/ 61 h 253"/>
                  <a:gd name="T74" fmla="*/ 35 w 183"/>
                  <a:gd name="T75" fmla="*/ 37 h 253"/>
                  <a:gd name="T76" fmla="*/ 27 w 183"/>
                  <a:gd name="T77" fmla="*/ 28 h 253"/>
                  <a:gd name="T78" fmla="*/ 19 w 183"/>
                  <a:gd name="T79" fmla="*/ 34 h 253"/>
                  <a:gd name="T80" fmla="*/ 21 w 183"/>
                  <a:gd name="T81" fmla="*/ 46 h 253"/>
                  <a:gd name="T82" fmla="*/ 21 w 183"/>
                  <a:gd name="T83" fmla="*/ 55 h 253"/>
                  <a:gd name="T84" fmla="*/ 8 w 183"/>
                  <a:gd name="T85" fmla="*/ 61 h 253"/>
                  <a:gd name="T86" fmla="*/ 8 w 183"/>
                  <a:gd name="T87" fmla="*/ 79 h 253"/>
                  <a:gd name="T88" fmla="*/ 19 w 183"/>
                  <a:gd name="T89" fmla="*/ 98 h 253"/>
                  <a:gd name="T90" fmla="*/ 19 w 183"/>
                  <a:gd name="T91" fmla="*/ 110 h 253"/>
                  <a:gd name="T92" fmla="*/ 14 w 183"/>
                  <a:gd name="T93" fmla="*/ 123 h 253"/>
                  <a:gd name="T94" fmla="*/ 0 w 183"/>
                  <a:gd name="T95" fmla="*/ 136 h 253"/>
                  <a:gd name="T96" fmla="*/ 2 w 183"/>
                  <a:gd name="T97" fmla="*/ 150 h 253"/>
                  <a:gd name="T98" fmla="*/ 16 w 183"/>
                  <a:gd name="T99" fmla="*/ 163 h 253"/>
                  <a:gd name="T100" fmla="*/ 21 w 183"/>
                  <a:gd name="T101" fmla="*/ 176 h 253"/>
                  <a:gd name="T102" fmla="*/ 19 w 183"/>
                  <a:gd name="T103" fmla="*/ 200 h 253"/>
                  <a:gd name="T104" fmla="*/ 14 w 183"/>
                  <a:gd name="T105" fmla="*/ 21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83" h="253">
                    <a:moveTo>
                      <a:pt x="14" y="216"/>
                    </a:moveTo>
                    <a:lnTo>
                      <a:pt x="24" y="234"/>
                    </a:lnTo>
                    <a:lnTo>
                      <a:pt x="44" y="234"/>
                    </a:lnTo>
                    <a:lnTo>
                      <a:pt x="63" y="240"/>
                    </a:lnTo>
                    <a:lnTo>
                      <a:pt x="77" y="253"/>
                    </a:lnTo>
                    <a:lnTo>
                      <a:pt x="92" y="253"/>
                    </a:lnTo>
                    <a:lnTo>
                      <a:pt x="82" y="237"/>
                    </a:lnTo>
                    <a:lnTo>
                      <a:pt x="90" y="216"/>
                    </a:lnTo>
                    <a:lnTo>
                      <a:pt x="98" y="192"/>
                    </a:lnTo>
                    <a:lnTo>
                      <a:pt x="103" y="166"/>
                    </a:lnTo>
                    <a:lnTo>
                      <a:pt x="125" y="150"/>
                    </a:lnTo>
                    <a:lnTo>
                      <a:pt x="143" y="139"/>
                    </a:lnTo>
                    <a:lnTo>
                      <a:pt x="141" y="123"/>
                    </a:lnTo>
                    <a:lnTo>
                      <a:pt x="141" y="98"/>
                    </a:lnTo>
                    <a:lnTo>
                      <a:pt x="145" y="86"/>
                    </a:lnTo>
                    <a:lnTo>
                      <a:pt x="162" y="83"/>
                    </a:lnTo>
                    <a:lnTo>
                      <a:pt x="169" y="89"/>
                    </a:lnTo>
                    <a:lnTo>
                      <a:pt x="183" y="71"/>
                    </a:lnTo>
                    <a:lnTo>
                      <a:pt x="178" y="55"/>
                    </a:lnTo>
                    <a:lnTo>
                      <a:pt x="169" y="52"/>
                    </a:lnTo>
                    <a:lnTo>
                      <a:pt x="153" y="52"/>
                    </a:lnTo>
                    <a:lnTo>
                      <a:pt x="145" y="52"/>
                    </a:lnTo>
                    <a:lnTo>
                      <a:pt x="141" y="28"/>
                    </a:lnTo>
                    <a:lnTo>
                      <a:pt x="143" y="5"/>
                    </a:lnTo>
                    <a:lnTo>
                      <a:pt x="131" y="0"/>
                    </a:lnTo>
                    <a:lnTo>
                      <a:pt x="126" y="8"/>
                    </a:lnTo>
                    <a:lnTo>
                      <a:pt x="98" y="2"/>
                    </a:lnTo>
                    <a:lnTo>
                      <a:pt x="92" y="9"/>
                    </a:lnTo>
                    <a:lnTo>
                      <a:pt x="98" y="31"/>
                    </a:lnTo>
                    <a:lnTo>
                      <a:pt x="96" y="52"/>
                    </a:lnTo>
                    <a:lnTo>
                      <a:pt x="84" y="37"/>
                    </a:lnTo>
                    <a:lnTo>
                      <a:pt x="79" y="24"/>
                    </a:lnTo>
                    <a:lnTo>
                      <a:pt x="63" y="27"/>
                    </a:lnTo>
                    <a:lnTo>
                      <a:pt x="57" y="39"/>
                    </a:lnTo>
                    <a:lnTo>
                      <a:pt x="52" y="45"/>
                    </a:lnTo>
                    <a:lnTo>
                      <a:pt x="52" y="64"/>
                    </a:lnTo>
                    <a:lnTo>
                      <a:pt x="49" y="61"/>
                    </a:lnTo>
                    <a:lnTo>
                      <a:pt x="35" y="37"/>
                    </a:lnTo>
                    <a:lnTo>
                      <a:pt x="27" y="28"/>
                    </a:lnTo>
                    <a:lnTo>
                      <a:pt x="19" y="34"/>
                    </a:lnTo>
                    <a:lnTo>
                      <a:pt x="21" y="46"/>
                    </a:lnTo>
                    <a:lnTo>
                      <a:pt x="21" y="55"/>
                    </a:lnTo>
                    <a:lnTo>
                      <a:pt x="8" y="61"/>
                    </a:lnTo>
                    <a:lnTo>
                      <a:pt x="8" y="79"/>
                    </a:lnTo>
                    <a:lnTo>
                      <a:pt x="19" y="98"/>
                    </a:lnTo>
                    <a:lnTo>
                      <a:pt x="19" y="110"/>
                    </a:lnTo>
                    <a:lnTo>
                      <a:pt x="14" y="123"/>
                    </a:lnTo>
                    <a:lnTo>
                      <a:pt x="0" y="136"/>
                    </a:lnTo>
                    <a:lnTo>
                      <a:pt x="2" y="150"/>
                    </a:lnTo>
                    <a:lnTo>
                      <a:pt x="16" y="163"/>
                    </a:lnTo>
                    <a:lnTo>
                      <a:pt x="21" y="176"/>
                    </a:lnTo>
                    <a:lnTo>
                      <a:pt x="19" y="200"/>
                    </a:lnTo>
                    <a:lnTo>
                      <a:pt x="14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60" name="Freeform 532"/>
              <p:cNvSpPr>
                <a:spLocks noChangeAspect="1"/>
              </p:cNvSpPr>
              <p:nvPr/>
            </p:nvSpPr>
            <p:spPr bwMode="auto">
              <a:xfrm>
                <a:off x="2705261" y="3112181"/>
                <a:ext cx="202674" cy="118312"/>
              </a:xfrm>
              <a:custGeom>
                <a:avLst/>
                <a:gdLst>
                  <a:gd name="T0" fmla="*/ 0 w 138"/>
                  <a:gd name="T1" fmla="*/ 94 h 97"/>
                  <a:gd name="T2" fmla="*/ 11 w 138"/>
                  <a:gd name="T3" fmla="*/ 97 h 97"/>
                  <a:gd name="T4" fmla="*/ 25 w 138"/>
                  <a:gd name="T5" fmla="*/ 86 h 97"/>
                  <a:gd name="T6" fmla="*/ 39 w 138"/>
                  <a:gd name="T7" fmla="*/ 67 h 97"/>
                  <a:gd name="T8" fmla="*/ 77 w 138"/>
                  <a:gd name="T9" fmla="*/ 67 h 97"/>
                  <a:gd name="T10" fmla="*/ 110 w 138"/>
                  <a:gd name="T11" fmla="*/ 60 h 97"/>
                  <a:gd name="T12" fmla="*/ 129 w 138"/>
                  <a:gd name="T13" fmla="*/ 43 h 97"/>
                  <a:gd name="T14" fmla="*/ 135 w 138"/>
                  <a:gd name="T15" fmla="*/ 22 h 97"/>
                  <a:gd name="T16" fmla="*/ 138 w 138"/>
                  <a:gd name="T17" fmla="*/ 0 h 97"/>
                  <a:gd name="T18" fmla="*/ 112 w 138"/>
                  <a:gd name="T19" fmla="*/ 13 h 97"/>
                  <a:gd name="T20" fmla="*/ 65 w 138"/>
                  <a:gd name="T21" fmla="*/ 37 h 97"/>
                  <a:gd name="T22" fmla="*/ 53 w 138"/>
                  <a:gd name="T23" fmla="*/ 40 h 97"/>
                  <a:gd name="T24" fmla="*/ 39 w 138"/>
                  <a:gd name="T25" fmla="*/ 52 h 97"/>
                  <a:gd name="T26" fmla="*/ 11 w 138"/>
                  <a:gd name="T27" fmla="*/ 57 h 97"/>
                  <a:gd name="T28" fmla="*/ 0 w 138"/>
                  <a:gd name="T29" fmla="*/ 64 h 97"/>
                  <a:gd name="T30" fmla="*/ 0 w 138"/>
                  <a:gd name="T31" fmla="*/ 9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8" h="97">
                    <a:moveTo>
                      <a:pt x="0" y="94"/>
                    </a:moveTo>
                    <a:lnTo>
                      <a:pt x="11" y="97"/>
                    </a:lnTo>
                    <a:lnTo>
                      <a:pt x="25" y="86"/>
                    </a:lnTo>
                    <a:lnTo>
                      <a:pt x="39" y="67"/>
                    </a:lnTo>
                    <a:lnTo>
                      <a:pt x="77" y="67"/>
                    </a:lnTo>
                    <a:lnTo>
                      <a:pt x="110" y="60"/>
                    </a:lnTo>
                    <a:lnTo>
                      <a:pt x="129" y="43"/>
                    </a:lnTo>
                    <a:lnTo>
                      <a:pt x="135" y="22"/>
                    </a:lnTo>
                    <a:lnTo>
                      <a:pt x="138" y="0"/>
                    </a:lnTo>
                    <a:lnTo>
                      <a:pt x="112" y="13"/>
                    </a:lnTo>
                    <a:lnTo>
                      <a:pt x="65" y="37"/>
                    </a:lnTo>
                    <a:lnTo>
                      <a:pt x="53" y="40"/>
                    </a:lnTo>
                    <a:lnTo>
                      <a:pt x="39" y="52"/>
                    </a:lnTo>
                    <a:lnTo>
                      <a:pt x="11" y="57"/>
                    </a:lnTo>
                    <a:lnTo>
                      <a:pt x="0" y="6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grpSp>
          <p:nvGrpSpPr>
            <p:cNvPr id="42" name="DD"/>
            <p:cNvGrpSpPr/>
            <p:nvPr/>
          </p:nvGrpSpPr>
          <p:grpSpPr>
            <a:xfrm>
              <a:off x="5882872" y="3020383"/>
              <a:ext cx="224686" cy="228283"/>
              <a:chOff x="2834953" y="3338558"/>
              <a:chExt cx="224686" cy="228283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56" name="Freeform 528"/>
              <p:cNvSpPr>
                <a:spLocks noChangeAspect="1"/>
              </p:cNvSpPr>
              <p:nvPr/>
            </p:nvSpPr>
            <p:spPr bwMode="auto">
              <a:xfrm>
                <a:off x="2834953" y="3388403"/>
                <a:ext cx="89351" cy="96977"/>
              </a:xfrm>
              <a:custGeom>
                <a:avLst/>
                <a:gdLst>
                  <a:gd name="T0" fmla="*/ 19 w 59"/>
                  <a:gd name="T1" fmla="*/ 0 h 80"/>
                  <a:gd name="T2" fmla="*/ 57 w 59"/>
                  <a:gd name="T3" fmla="*/ 27 h 80"/>
                  <a:gd name="T4" fmla="*/ 59 w 59"/>
                  <a:gd name="T5" fmla="*/ 40 h 80"/>
                  <a:gd name="T6" fmla="*/ 45 w 59"/>
                  <a:gd name="T7" fmla="*/ 55 h 80"/>
                  <a:gd name="T8" fmla="*/ 32 w 59"/>
                  <a:gd name="T9" fmla="*/ 67 h 80"/>
                  <a:gd name="T10" fmla="*/ 35 w 59"/>
                  <a:gd name="T11" fmla="*/ 80 h 80"/>
                  <a:gd name="T12" fmla="*/ 19 w 59"/>
                  <a:gd name="T13" fmla="*/ 77 h 80"/>
                  <a:gd name="T14" fmla="*/ 2 w 59"/>
                  <a:gd name="T15" fmla="*/ 55 h 80"/>
                  <a:gd name="T16" fmla="*/ 0 w 59"/>
                  <a:gd name="T17" fmla="*/ 40 h 80"/>
                  <a:gd name="T18" fmla="*/ 7 w 59"/>
                  <a:gd name="T19" fmla="*/ 23 h 80"/>
                  <a:gd name="T20" fmla="*/ 19 w 59"/>
                  <a:gd name="T21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9" h="80">
                    <a:moveTo>
                      <a:pt x="19" y="0"/>
                    </a:moveTo>
                    <a:lnTo>
                      <a:pt x="57" y="27"/>
                    </a:lnTo>
                    <a:lnTo>
                      <a:pt x="59" y="40"/>
                    </a:lnTo>
                    <a:lnTo>
                      <a:pt x="45" y="55"/>
                    </a:lnTo>
                    <a:lnTo>
                      <a:pt x="32" y="67"/>
                    </a:lnTo>
                    <a:lnTo>
                      <a:pt x="35" y="80"/>
                    </a:lnTo>
                    <a:lnTo>
                      <a:pt x="19" y="77"/>
                    </a:lnTo>
                    <a:lnTo>
                      <a:pt x="2" y="55"/>
                    </a:lnTo>
                    <a:lnTo>
                      <a:pt x="0" y="40"/>
                    </a:lnTo>
                    <a:lnTo>
                      <a:pt x="7" y="23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57" name="Freeform 529"/>
              <p:cNvSpPr>
                <a:spLocks noChangeAspect="1"/>
              </p:cNvSpPr>
              <p:nvPr/>
            </p:nvSpPr>
            <p:spPr bwMode="auto">
              <a:xfrm>
                <a:off x="2885728" y="3338558"/>
                <a:ext cx="173911" cy="198220"/>
              </a:xfrm>
              <a:custGeom>
                <a:avLst/>
                <a:gdLst>
                  <a:gd name="T0" fmla="*/ 83 w 88"/>
                  <a:gd name="T1" fmla="*/ 0 h 117"/>
                  <a:gd name="T2" fmla="*/ 88 w 88"/>
                  <a:gd name="T3" fmla="*/ 6 h 117"/>
                  <a:gd name="T4" fmla="*/ 83 w 88"/>
                  <a:gd name="T5" fmla="*/ 13 h 117"/>
                  <a:gd name="T6" fmla="*/ 88 w 88"/>
                  <a:gd name="T7" fmla="*/ 26 h 117"/>
                  <a:gd name="T8" fmla="*/ 81 w 88"/>
                  <a:gd name="T9" fmla="*/ 41 h 117"/>
                  <a:gd name="T10" fmla="*/ 69 w 88"/>
                  <a:gd name="T11" fmla="*/ 51 h 117"/>
                  <a:gd name="T12" fmla="*/ 74 w 88"/>
                  <a:gd name="T13" fmla="*/ 64 h 117"/>
                  <a:gd name="T14" fmla="*/ 69 w 88"/>
                  <a:gd name="T15" fmla="*/ 75 h 117"/>
                  <a:gd name="T16" fmla="*/ 74 w 88"/>
                  <a:gd name="T17" fmla="*/ 88 h 117"/>
                  <a:gd name="T18" fmla="*/ 57 w 88"/>
                  <a:gd name="T19" fmla="*/ 117 h 117"/>
                  <a:gd name="T20" fmla="*/ 20 w 88"/>
                  <a:gd name="T21" fmla="*/ 88 h 117"/>
                  <a:gd name="T22" fmla="*/ 0 w 88"/>
                  <a:gd name="T23" fmla="*/ 73 h 117"/>
                  <a:gd name="T24" fmla="*/ 12 w 88"/>
                  <a:gd name="T25" fmla="*/ 64 h 117"/>
                  <a:gd name="T26" fmla="*/ 12 w 88"/>
                  <a:gd name="T27" fmla="*/ 46 h 117"/>
                  <a:gd name="T28" fmla="*/ 34 w 88"/>
                  <a:gd name="T29" fmla="*/ 31 h 117"/>
                  <a:gd name="T30" fmla="*/ 46 w 88"/>
                  <a:gd name="T31" fmla="*/ 37 h 117"/>
                  <a:gd name="T32" fmla="*/ 57 w 88"/>
                  <a:gd name="T33" fmla="*/ 31 h 117"/>
                  <a:gd name="T34" fmla="*/ 76 w 88"/>
                  <a:gd name="T35" fmla="*/ 16 h 117"/>
                  <a:gd name="T36" fmla="*/ 83 w 88"/>
                  <a:gd name="T3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" h="117">
                    <a:moveTo>
                      <a:pt x="83" y="0"/>
                    </a:moveTo>
                    <a:lnTo>
                      <a:pt x="88" y="6"/>
                    </a:lnTo>
                    <a:lnTo>
                      <a:pt x="83" y="13"/>
                    </a:lnTo>
                    <a:lnTo>
                      <a:pt x="88" y="26"/>
                    </a:lnTo>
                    <a:lnTo>
                      <a:pt x="81" y="41"/>
                    </a:lnTo>
                    <a:lnTo>
                      <a:pt x="69" y="51"/>
                    </a:lnTo>
                    <a:lnTo>
                      <a:pt x="74" y="64"/>
                    </a:lnTo>
                    <a:lnTo>
                      <a:pt x="69" y="75"/>
                    </a:lnTo>
                    <a:lnTo>
                      <a:pt x="74" y="88"/>
                    </a:lnTo>
                    <a:lnTo>
                      <a:pt x="57" y="117"/>
                    </a:lnTo>
                    <a:lnTo>
                      <a:pt x="20" y="88"/>
                    </a:lnTo>
                    <a:lnTo>
                      <a:pt x="0" y="73"/>
                    </a:lnTo>
                    <a:lnTo>
                      <a:pt x="12" y="64"/>
                    </a:lnTo>
                    <a:lnTo>
                      <a:pt x="12" y="46"/>
                    </a:lnTo>
                    <a:lnTo>
                      <a:pt x="34" y="31"/>
                    </a:lnTo>
                    <a:lnTo>
                      <a:pt x="46" y="37"/>
                    </a:lnTo>
                    <a:lnTo>
                      <a:pt x="57" y="31"/>
                    </a:lnTo>
                    <a:lnTo>
                      <a:pt x="76" y="16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  <p:sp>
            <p:nvSpPr>
              <p:cNvPr id="58" name="Freeform 530"/>
              <p:cNvSpPr>
                <a:spLocks noChangeAspect="1"/>
              </p:cNvSpPr>
              <p:nvPr/>
            </p:nvSpPr>
            <p:spPr bwMode="auto">
              <a:xfrm>
                <a:off x="2924304" y="3506715"/>
                <a:ext cx="52303" cy="60126"/>
              </a:xfrm>
              <a:custGeom>
                <a:avLst/>
                <a:gdLst>
                  <a:gd name="T0" fmla="*/ 0 w 35"/>
                  <a:gd name="T1" fmla="*/ 0 h 50"/>
                  <a:gd name="T2" fmla="*/ 24 w 35"/>
                  <a:gd name="T3" fmla="*/ 9 h 50"/>
                  <a:gd name="T4" fmla="*/ 33 w 35"/>
                  <a:gd name="T5" fmla="*/ 21 h 50"/>
                  <a:gd name="T6" fmla="*/ 35 w 35"/>
                  <a:gd name="T7" fmla="*/ 40 h 50"/>
                  <a:gd name="T8" fmla="*/ 24 w 35"/>
                  <a:gd name="T9" fmla="*/ 50 h 50"/>
                  <a:gd name="T10" fmla="*/ 6 w 35"/>
                  <a:gd name="T11" fmla="*/ 41 h 50"/>
                  <a:gd name="T12" fmla="*/ 2 w 35"/>
                  <a:gd name="T13" fmla="*/ 28 h 50"/>
                  <a:gd name="T14" fmla="*/ 0 w 35"/>
                  <a:gd name="T1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50">
                    <a:moveTo>
                      <a:pt x="0" y="0"/>
                    </a:moveTo>
                    <a:lnTo>
                      <a:pt x="24" y="9"/>
                    </a:lnTo>
                    <a:lnTo>
                      <a:pt x="33" y="21"/>
                    </a:lnTo>
                    <a:lnTo>
                      <a:pt x="35" y="40"/>
                    </a:lnTo>
                    <a:lnTo>
                      <a:pt x="24" y="50"/>
                    </a:lnTo>
                    <a:lnTo>
                      <a:pt x="6" y="41"/>
                    </a:lnTo>
                    <a:lnTo>
                      <a:pt x="2" y="2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 type="none" w="med" len="med"/>
                <a:tailEnd type="none" w="med" len="med"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>
                <a:spAutoFit/>
              </a:bodyPr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CH" dirty="0"/>
              </a:p>
            </p:txBody>
          </p:sp>
        </p:grpSp>
        <p:sp>
          <p:nvSpPr>
            <p:cNvPr id="43" name="IS"/>
            <p:cNvSpPr>
              <a:spLocks/>
            </p:cNvSpPr>
            <p:nvPr/>
          </p:nvSpPr>
          <p:spPr bwMode="auto">
            <a:xfrm>
              <a:off x="3940175" y="1368425"/>
              <a:ext cx="536575" cy="450850"/>
            </a:xfrm>
            <a:custGeom>
              <a:avLst/>
              <a:gdLst>
                <a:gd name="T0" fmla="*/ 101 w 590"/>
                <a:gd name="T1" fmla="*/ 320 h 424"/>
                <a:gd name="T2" fmla="*/ 135 w 590"/>
                <a:gd name="T3" fmla="*/ 384 h 424"/>
                <a:gd name="T4" fmla="*/ 202 w 590"/>
                <a:gd name="T5" fmla="*/ 424 h 424"/>
                <a:gd name="T6" fmla="*/ 253 w 590"/>
                <a:gd name="T7" fmla="*/ 424 h 424"/>
                <a:gd name="T8" fmla="*/ 287 w 590"/>
                <a:gd name="T9" fmla="*/ 416 h 424"/>
                <a:gd name="T10" fmla="*/ 346 w 590"/>
                <a:gd name="T11" fmla="*/ 424 h 424"/>
                <a:gd name="T12" fmla="*/ 430 w 590"/>
                <a:gd name="T13" fmla="*/ 392 h 424"/>
                <a:gd name="T14" fmla="*/ 463 w 590"/>
                <a:gd name="T15" fmla="*/ 400 h 424"/>
                <a:gd name="T16" fmla="*/ 506 w 590"/>
                <a:gd name="T17" fmla="*/ 376 h 424"/>
                <a:gd name="T18" fmla="*/ 556 w 590"/>
                <a:gd name="T19" fmla="*/ 352 h 424"/>
                <a:gd name="T20" fmla="*/ 590 w 590"/>
                <a:gd name="T21" fmla="*/ 272 h 424"/>
                <a:gd name="T22" fmla="*/ 565 w 590"/>
                <a:gd name="T23" fmla="*/ 256 h 424"/>
                <a:gd name="T24" fmla="*/ 556 w 590"/>
                <a:gd name="T25" fmla="*/ 224 h 424"/>
                <a:gd name="T26" fmla="*/ 565 w 590"/>
                <a:gd name="T27" fmla="*/ 192 h 424"/>
                <a:gd name="T28" fmla="*/ 573 w 590"/>
                <a:gd name="T29" fmla="*/ 160 h 424"/>
                <a:gd name="T30" fmla="*/ 531 w 590"/>
                <a:gd name="T31" fmla="*/ 160 h 424"/>
                <a:gd name="T32" fmla="*/ 506 w 590"/>
                <a:gd name="T33" fmla="*/ 120 h 424"/>
                <a:gd name="T34" fmla="*/ 480 w 590"/>
                <a:gd name="T35" fmla="*/ 144 h 424"/>
                <a:gd name="T36" fmla="*/ 472 w 590"/>
                <a:gd name="T37" fmla="*/ 160 h 424"/>
                <a:gd name="T38" fmla="*/ 447 w 590"/>
                <a:gd name="T39" fmla="*/ 152 h 424"/>
                <a:gd name="T40" fmla="*/ 413 w 590"/>
                <a:gd name="T41" fmla="*/ 160 h 424"/>
                <a:gd name="T42" fmla="*/ 405 w 590"/>
                <a:gd name="T43" fmla="*/ 128 h 424"/>
                <a:gd name="T44" fmla="*/ 379 w 590"/>
                <a:gd name="T45" fmla="*/ 128 h 424"/>
                <a:gd name="T46" fmla="*/ 371 w 590"/>
                <a:gd name="T47" fmla="*/ 152 h 424"/>
                <a:gd name="T48" fmla="*/ 354 w 590"/>
                <a:gd name="T49" fmla="*/ 112 h 424"/>
                <a:gd name="T50" fmla="*/ 312 w 590"/>
                <a:gd name="T51" fmla="*/ 120 h 424"/>
                <a:gd name="T52" fmla="*/ 295 w 590"/>
                <a:gd name="T53" fmla="*/ 144 h 424"/>
                <a:gd name="T54" fmla="*/ 278 w 590"/>
                <a:gd name="T55" fmla="*/ 144 h 424"/>
                <a:gd name="T56" fmla="*/ 270 w 590"/>
                <a:gd name="T57" fmla="*/ 88 h 424"/>
                <a:gd name="T58" fmla="*/ 253 w 590"/>
                <a:gd name="T59" fmla="*/ 96 h 424"/>
                <a:gd name="T60" fmla="*/ 244 w 590"/>
                <a:gd name="T61" fmla="*/ 152 h 424"/>
                <a:gd name="T62" fmla="*/ 228 w 590"/>
                <a:gd name="T63" fmla="*/ 152 h 424"/>
                <a:gd name="T64" fmla="*/ 219 w 590"/>
                <a:gd name="T65" fmla="*/ 128 h 424"/>
                <a:gd name="T66" fmla="*/ 177 w 590"/>
                <a:gd name="T67" fmla="*/ 160 h 424"/>
                <a:gd name="T68" fmla="*/ 185 w 590"/>
                <a:gd name="T69" fmla="*/ 112 h 424"/>
                <a:gd name="T70" fmla="*/ 211 w 590"/>
                <a:gd name="T71" fmla="*/ 88 h 424"/>
                <a:gd name="T72" fmla="*/ 185 w 590"/>
                <a:gd name="T73" fmla="*/ 16 h 424"/>
                <a:gd name="T74" fmla="*/ 143 w 590"/>
                <a:gd name="T75" fmla="*/ 0 h 424"/>
                <a:gd name="T76" fmla="*/ 152 w 590"/>
                <a:gd name="T77" fmla="*/ 64 h 424"/>
                <a:gd name="T78" fmla="*/ 118 w 590"/>
                <a:gd name="T79" fmla="*/ 16 h 424"/>
                <a:gd name="T80" fmla="*/ 93 w 590"/>
                <a:gd name="T81" fmla="*/ 32 h 424"/>
                <a:gd name="T82" fmla="*/ 76 w 590"/>
                <a:gd name="T83" fmla="*/ 48 h 424"/>
                <a:gd name="T84" fmla="*/ 93 w 590"/>
                <a:gd name="T85" fmla="*/ 64 h 424"/>
                <a:gd name="T86" fmla="*/ 59 w 590"/>
                <a:gd name="T87" fmla="*/ 48 h 424"/>
                <a:gd name="T88" fmla="*/ 51 w 590"/>
                <a:gd name="T89" fmla="*/ 64 h 424"/>
                <a:gd name="T90" fmla="*/ 25 w 590"/>
                <a:gd name="T91" fmla="*/ 64 h 424"/>
                <a:gd name="T92" fmla="*/ 42 w 590"/>
                <a:gd name="T93" fmla="*/ 88 h 424"/>
                <a:gd name="T94" fmla="*/ 101 w 590"/>
                <a:gd name="T95" fmla="*/ 96 h 424"/>
                <a:gd name="T96" fmla="*/ 143 w 590"/>
                <a:gd name="T97" fmla="*/ 128 h 424"/>
                <a:gd name="T98" fmla="*/ 110 w 590"/>
                <a:gd name="T99" fmla="*/ 144 h 424"/>
                <a:gd name="T100" fmla="*/ 126 w 590"/>
                <a:gd name="T101" fmla="*/ 160 h 424"/>
                <a:gd name="T102" fmla="*/ 143 w 590"/>
                <a:gd name="T103" fmla="*/ 176 h 424"/>
                <a:gd name="T104" fmla="*/ 126 w 590"/>
                <a:gd name="T105" fmla="*/ 184 h 424"/>
                <a:gd name="T106" fmla="*/ 8 w 590"/>
                <a:gd name="T107" fmla="*/ 144 h 424"/>
                <a:gd name="T108" fmla="*/ 0 w 590"/>
                <a:gd name="T109" fmla="*/ 168 h 424"/>
                <a:gd name="T110" fmla="*/ 93 w 590"/>
                <a:gd name="T111" fmla="*/ 192 h 424"/>
                <a:gd name="T112" fmla="*/ 84 w 590"/>
                <a:gd name="T113" fmla="*/ 216 h 424"/>
                <a:gd name="T114" fmla="*/ 84 w 590"/>
                <a:gd name="T115" fmla="*/ 256 h 424"/>
                <a:gd name="T116" fmla="*/ 67 w 590"/>
                <a:gd name="T117" fmla="*/ 280 h 424"/>
                <a:gd name="T118" fmla="*/ 34 w 590"/>
                <a:gd name="T119" fmla="*/ 280 h 424"/>
                <a:gd name="T120" fmla="*/ 17 w 590"/>
                <a:gd name="T121" fmla="*/ 296 h 424"/>
                <a:gd name="T122" fmla="*/ 101 w 590"/>
                <a:gd name="T123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0" h="424">
                  <a:moveTo>
                    <a:pt x="101" y="320"/>
                  </a:moveTo>
                  <a:lnTo>
                    <a:pt x="135" y="384"/>
                  </a:lnTo>
                  <a:lnTo>
                    <a:pt x="202" y="424"/>
                  </a:lnTo>
                  <a:lnTo>
                    <a:pt x="253" y="424"/>
                  </a:lnTo>
                  <a:lnTo>
                    <a:pt x="287" y="416"/>
                  </a:lnTo>
                  <a:lnTo>
                    <a:pt x="346" y="424"/>
                  </a:lnTo>
                  <a:lnTo>
                    <a:pt x="430" y="392"/>
                  </a:lnTo>
                  <a:lnTo>
                    <a:pt x="463" y="400"/>
                  </a:lnTo>
                  <a:lnTo>
                    <a:pt x="506" y="376"/>
                  </a:lnTo>
                  <a:lnTo>
                    <a:pt x="556" y="352"/>
                  </a:lnTo>
                  <a:lnTo>
                    <a:pt x="590" y="272"/>
                  </a:lnTo>
                  <a:lnTo>
                    <a:pt x="565" y="256"/>
                  </a:lnTo>
                  <a:lnTo>
                    <a:pt x="556" y="224"/>
                  </a:lnTo>
                  <a:lnTo>
                    <a:pt x="565" y="192"/>
                  </a:lnTo>
                  <a:lnTo>
                    <a:pt x="573" y="160"/>
                  </a:lnTo>
                  <a:lnTo>
                    <a:pt x="531" y="160"/>
                  </a:lnTo>
                  <a:lnTo>
                    <a:pt x="506" y="120"/>
                  </a:lnTo>
                  <a:lnTo>
                    <a:pt x="480" y="144"/>
                  </a:lnTo>
                  <a:lnTo>
                    <a:pt x="472" y="160"/>
                  </a:lnTo>
                  <a:lnTo>
                    <a:pt x="447" y="152"/>
                  </a:lnTo>
                  <a:lnTo>
                    <a:pt x="413" y="160"/>
                  </a:lnTo>
                  <a:lnTo>
                    <a:pt x="405" y="128"/>
                  </a:lnTo>
                  <a:lnTo>
                    <a:pt x="379" y="128"/>
                  </a:lnTo>
                  <a:lnTo>
                    <a:pt x="371" y="152"/>
                  </a:lnTo>
                  <a:lnTo>
                    <a:pt x="354" y="112"/>
                  </a:lnTo>
                  <a:lnTo>
                    <a:pt x="312" y="120"/>
                  </a:lnTo>
                  <a:lnTo>
                    <a:pt x="295" y="144"/>
                  </a:lnTo>
                  <a:lnTo>
                    <a:pt x="278" y="144"/>
                  </a:lnTo>
                  <a:lnTo>
                    <a:pt x="270" y="88"/>
                  </a:lnTo>
                  <a:lnTo>
                    <a:pt x="253" y="96"/>
                  </a:lnTo>
                  <a:lnTo>
                    <a:pt x="244" y="152"/>
                  </a:lnTo>
                  <a:lnTo>
                    <a:pt x="228" y="152"/>
                  </a:lnTo>
                  <a:lnTo>
                    <a:pt x="219" y="128"/>
                  </a:lnTo>
                  <a:lnTo>
                    <a:pt x="177" y="160"/>
                  </a:lnTo>
                  <a:lnTo>
                    <a:pt x="185" y="112"/>
                  </a:lnTo>
                  <a:lnTo>
                    <a:pt x="211" y="88"/>
                  </a:lnTo>
                  <a:lnTo>
                    <a:pt x="185" y="16"/>
                  </a:lnTo>
                  <a:lnTo>
                    <a:pt x="143" y="0"/>
                  </a:lnTo>
                  <a:lnTo>
                    <a:pt x="152" y="64"/>
                  </a:lnTo>
                  <a:lnTo>
                    <a:pt x="118" y="16"/>
                  </a:lnTo>
                  <a:lnTo>
                    <a:pt x="93" y="32"/>
                  </a:lnTo>
                  <a:lnTo>
                    <a:pt x="76" y="48"/>
                  </a:lnTo>
                  <a:lnTo>
                    <a:pt x="93" y="64"/>
                  </a:lnTo>
                  <a:lnTo>
                    <a:pt x="59" y="48"/>
                  </a:lnTo>
                  <a:lnTo>
                    <a:pt x="51" y="64"/>
                  </a:lnTo>
                  <a:lnTo>
                    <a:pt x="25" y="64"/>
                  </a:lnTo>
                  <a:lnTo>
                    <a:pt x="42" y="88"/>
                  </a:lnTo>
                  <a:lnTo>
                    <a:pt x="101" y="96"/>
                  </a:lnTo>
                  <a:lnTo>
                    <a:pt x="143" y="128"/>
                  </a:lnTo>
                  <a:lnTo>
                    <a:pt x="110" y="144"/>
                  </a:lnTo>
                  <a:lnTo>
                    <a:pt x="126" y="160"/>
                  </a:lnTo>
                  <a:lnTo>
                    <a:pt x="143" y="176"/>
                  </a:lnTo>
                  <a:lnTo>
                    <a:pt x="126" y="184"/>
                  </a:lnTo>
                  <a:lnTo>
                    <a:pt x="8" y="144"/>
                  </a:lnTo>
                  <a:lnTo>
                    <a:pt x="0" y="168"/>
                  </a:lnTo>
                  <a:lnTo>
                    <a:pt x="93" y="192"/>
                  </a:lnTo>
                  <a:lnTo>
                    <a:pt x="84" y="216"/>
                  </a:lnTo>
                  <a:lnTo>
                    <a:pt x="84" y="256"/>
                  </a:lnTo>
                  <a:lnTo>
                    <a:pt x="67" y="280"/>
                  </a:lnTo>
                  <a:lnTo>
                    <a:pt x="34" y="280"/>
                  </a:lnTo>
                  <a:lnTo>
                    <a:pt x="17" y="296"/>
                  </a:lnTo>
                  <a:lnTo>
                    <a:pt x="101" y="3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44" name="ME"/>
            <p:cNvSpPr/>
            <p:nvPr/>
          </p:nvSpPr>
          <p:spPr>
            <a:xfrm>
              <a:off x="6616700" y="4986338"/>
              <a:ext cx="225425" cy="228600"/>
            </a:xfrm>
            <a:custGeom>
              <a:avLst/>
              <a:gdLst>
                <a:gd name="connsiteX0" fmla="*/ 7144 w 116681"/>
                <a:gd name="connsiteY0" fmla="*/ 138113 h 185738"/>
                <a:gd name="connsiteX1" fmla="*/ 92869 w 116681"/>
                <a:gd name="connsiteY1" fmla="*/ 185738 h 185738"/>
                <a:gd name="connsiteX2" fmla="*/ 116681 w 116681"/>
                <a:gd name="connsiteY2" fmla="*/ 111919 h 185738"/>
                <a:gd name="connsiteX3" fmla="*/ 97631 w 116681"/>
                <a:gd name="connsiteY3" fmla="*/ 0 h 185738"/>
                <a:gd name="connsiteX4" fmla="*/ 47625 w 116681"/>
                <a:gd name="connsiteY4" fmla="*/ 16669 h 185738"/>
                <a:gd name="connsiteX5" fmla="*/ 57150 w 116681"/>
                <a:gd name="connsiteY5" fmla="*/ 45244 h 185738"/>
                <a:gd name="connsiteX6" fmla="*/ 30956 w 116681"/>
                <a:gd name="connsiteY6" fmla="*/ 42863 h 185738"/>
                <a:gd name="connsiteX7" fmla="*/ 23813 w 116681"/>
                <a:gd name="connsiteY7" fmla="*/ 73819 h 185738"/>
                <a:gd name="connsiteX8" fmla="*/ 0 w 116681"/>
                <a:gd name="connsiteY8" fmla="*/ 85725 h 185738"/>
                <a:gd name="connsiteX9" fmla="*/ 7144 w 116681"/>
                <a:gd name="connsiteY9" fmla="*/ 138113 h 185738"/>
                <a:gd name="connsiteX0" fmla="*/ 7144 w 161952"/>
                <a:gd name="connsiteY0" fmla="*/ 121444 h 169069"/>
                <a:gd name="connsiteX1" fmla="*/ 92869 w 161952"/>
                <a:gd name="connsiteY1" fmla="*/ 169069 h 169069"/>
                <a:gd name="connsiteX2" fmla="*/ 116681 w 161952"/>
                <a:gd name="connsiteY2" fmla="*/ 95250 h 169069"/>
                <a:gd name="connsiteX3" fmla="*/ 161952 w 161952"/>
                <a:gd name="connsiteY3" fmla="*/ 54183 h 169069"/>
                <a:gd name="connsiteX4" fmla="*/ 47625 w 161952"/>
                <a:gd name="connsiteY4" fmla="*/ 0 h 169069"/>
                <a:gd name="connsiteX5" fmla="*/ 57150 w 161952"/>
                <a:gd name="connsiteY5" fmla="*/ 28575 h 169069"/>
                <a:gd name="connsiteX6" fmla="*/ 30956 w 161952"/>
                <a:gd name="connsiteY6" fmla="*/ 26194 h 169069"/>
                <a:gd name="connsiteX7" fmla="*/ 23813 w 161952"/>
                <a:gd name="connsiteY7" fmla="*/ 57150 h 169069"/>
                <a:gd name="connsiteX8" fmla="*/ 0 w 161952"/>
                <a:gd name="connsiteY8" fmla="*/ 69056 h 169069"/>
                <a:gd name="connsiteX9" fmla="*/ 7144 w 161952"/>
                <a:gd name="connsiteY9" fmla="*/ 121444 h 169069"/>
                <a:gd name="connsiteX0" fmla="*/ 7144 w 161952"/>
                <a:gd name="connsiteY0" fmla="*/ 134728 h 182353"/>
                <a:gd name="connsiteX1" fmla="*/ 92869 w 161952"/>
                <a:gd name="connsiteY1" fmla="*/ 182353 h 182353"/>
                <a:gd name="connsiteX2" fmla="*/ 116681 w 161952"/>
                <a:gd name="connsiteY2" fmla="*/ 108534 h 182353"/>
                <a:gd name="connsiteX3" fmla="*/ 161952 w 161952"/>
                <a:gd name="connsiteY3" fmla="*/ 67467 h 182353"/>
                <a:gd name="connsiteX4" fmla="*/ 104800 w 161952"/>
                <a:gd name="connsiteY4" fmla="*/ 0 h 182353"/>
                <a:gd name="connsiteX5" fmla="*/ 57150 w 161952"/>
                <a:gd name="connsiteY5" fmla="*/ 41859 h 182353"/>
                <a:gd name="connsiteX6" fmla="*/ 30956 w 161952"/>
                <a:gd name="connsiteY6" fmla="*/ 39478 h 182353"/>
                <a:gd name="connsiteX7" fmla="*/ 23813 w 161952"/>
                <a:gd name="connsiteY7" fmla="*/ 70434 h 182353"/>
                <a:gd name="connsiteX8" fmla="*/ 0 w 161952"/>
                <a:gd name="connsiteY8" fmla="*/ 82340 h 182353"/>
                <a:gd name="connsiteX9" fmla="*/ 7144 w 161952"/>
                <a:gd name="connsiteY9" fmla="*/ 134728 h 182353"/>
                <a:gd name="connsiteX0" fmla="*/ 7144 w 161952"/>
                <a:gd name="connsiteY0" fmla="*/ 146009 h 193634"/>
                <a:gd name="connsiteX1" fmla="*/ 92869 w 161952"/>
                <a:gd name="connsiteY1" fmla="*/ 193634 h 193634"/>
                <a:gd name="connsiteX2" fmla="*/ 116681 w 161952"/>
                <a:gd name="connsiteY2" fmla="*/ 119815 h 193634"/>
                <a:gd name="connsiteX3" fmla="*/ 161952 w 161952"/>
                <a:gd name="connsiteY3" fmla="*/ 78748 h 193634"/>
                <a:gd name="connsiteX4" fmla="*/ 104800 w 161952"/>
                <a:gd name="connsiteY4" fmla="*/ 11281 h 193634"/>
                <a:gd name="connsiteX5" fmla="*/ 78591 w 161952"/>
                <a:gd name="connsiteY5" fmla="*/ 0 h 193634"/>
                <a:gd name="connsiteX6" fmla="*/ 30956 w 161952"/>
                <a:gd name="connsiteY6" fmla="*/ 50759 h 193634"/>
                <a:gd name="connsiteX7" fmla="*/ 23813 w 161952"/>
                <a:gd name="connsiteY7" fmla="*/ 81715 h 193634"/>
                <a:gd name="connsiteX8" fmla="*/ 0 w 161952"/>
                <a:gd name="connsiteY8" fmla="*/ 93621 h 193634"/>
                <a:gd name="connsiteX9" fmla="*/ 7144 w 161952"/>
                <a:gd name="connsiteY9" fmla="*/ 146009 h 193634"/>
                <a:gd name="connsiteX0" fmla="*/ 7144 w 161952"/>
                <a:gd name="connsiteY0" fmla="*/ 152818 h 200443"/>
                <a:gd name="connsiteX1" fmla="*/ 92869 w 161952"/>
                <a:gd name="connsiteY1" fmla="*/ 200443 h 200443"/>
                <a:gd name="connsiteX2" fmla="*/ 116681 w 161952"/>
                <a:gd name="connsiteY2" fmla="*/ 126624 h 200443"/>
                <a:gd name="connsiteX3" fmla="*/ 161952 w 161952"/>
                <a:gd name="connsiteY3" fmla="*/ 85557 h 200443"/>
                <a:gd name="connsiteX4" fmla="*/ 104800 w 161952"/>
                <a:gd name="connsiteY4" fmla="*/ 18090 h 200443"/>
                <a:gd name="connsiteX5" fmla="*/ 78591 w 161952"/>
                <a:gd name="connsiteY5" fmla="*/ 6809 h 200443"/>
                <a:gd name="connsiteX6" fmla="*/ 52396 w 161952"/>
                <a:gd name="connsiteY6" fmla="*/ 0 h 200443"/>
                <a:gd name="connsiteX7" fmla="*/ 23813 w 161952"/>
                <a:gd name="connsiteY7" fmla="*/ 88524 h 200443"/>
                <a:gd name="connsiteX8" fmla="*/ 0 w 161952"/>
                <a:gd name="connsiteY8" fmla="*/ 100430 h 200443"/>
                <a:gd name="connsiteX9" fmla="*/ 7144 w 161952"/>
                <a:gd name="connsiteY9" fmla="*/ 152818 h 200443"/>
                <a:gd name="connsiteX0" fmla="*/ 7144 w 161952"/>
                <a:gd name="connsiteY0" fmla="*/ 152818 h 200443"/>
                <a:gd name="connsiteX1" fmla="*/ 92869 w 161952"/>
                <a:gd name="connsiteY1" fmla="*/ 200443 h 200443"/>
                <a:gd name="connsiteX2" fmla="*/ 134548 w 161952"/>
                <a:gd name="connsiteY2" fmla="*/ 139910 h 200443"/>
                <a:gd name="connsiteX3" fmla="*/ 161952 w 161952"/>
                <a:gd name="connsiteY3" fmla="*/ 85557 h 200443"/>
                <a:gd name="connsiteX4" fmla="*/ 104800 w 161952"/>
                <a:gd name="connsiteY4" fmla="*/ 18090 h 200443"/>
                <a:gd name="connsiteX5" fmla="*/ 78591 w 161952"/>
                <a:gd name="connsiteY5" fmla="*/ 6809 h 200443"/>
                <a:gd name="connsiteX6" fmla="*/ 52396 w 161952"/>
                <a:gd name="connsiteY6" fmla="*/ 0 h 200443"/>
                <a:gd name="connsiteX7" fmla="*/ 23813 w 161952"/>
                <a:gd name="connsiteY7" fmla="*/ 88524 h 200443"/>
                <a:gd name="connsiteX8" fmla="*/ 0 w 161952"/>
                <a:gd name="connsiteY8" fmla="*/ 100430 h 200443"/>
                <a:gd name="connsiteX9" fmla="*/ 7144 w 161952"/>
                <a:gd name="connsiteY9" fmla="*/ 152818 h 200443"/>
                <a:gd name="connsiteX0" fmla="*/ 7144 w 161952"/>
                <a:gd name="connsiteY0" fmla="*/ 152818 h 173873"/>
                <a:gd name="connsiteX1" fmla="*/ 103589 w 161952"/>
                <a:gd name="connsiteY1" fmla="*/ 173873 h 173873"/>
                <a:gd name="connsiteX2" fmla="*/ 134548 w 161952"/>
                <a:gd name="connsiteY2" fmla="*/ 139910 h 173873"/>
                <a:gd name="connsiteX3" fmla="*/ 161952 w 161952"/>
                <a:gd name="connsiteY3" fmla="*/ 85557 h 173873"/>
                <a:gd name="connsiteX4" fmla="*/ 104800 w 161952"/>
                <a:gd name="connsiteY4" fmla="*/ 18090 h 173873"/>
                <a:gd name="connsiteX5" fmla="*/ 78591 w 161952"/>
                <a:gd name="connsiteY5" fmla="*/ 6809 h 173873"/>
                <a:gd name="connsiteX6" fmla="*/ 52396 w 161952"/>
                <a:gd name="connsiteY6" fmla="*/ 0 h 173873"/>
                <a:gd name="connsiteX7" fmla="*/ 23813 w 161952"/>
                <a:gd name="connsiteY7" fmla="*/ 88524 h 173873"/>
                <a:gd name="connsiteX8" fmla="*/ 0 w 161952"/>
                <a:gd name="connsiteY8" fmla="*/ 100430 h 173873"/>
                <a:gd name="connsiteX9" fmla="*/ 7144 w 161952"/>
                <a:gd name="connsiteY9" fmla="*/ 152818 h 173873"/>
                <a:gd name="connsiteX0" fmla="*/ 7144 w 161952"/>
                <a:gd name="connsiteY0" fmla="*/ 152818 h 173873"/>
                <a:gd name="connsiteX1" fmla="*/ 103589 w 161952"/>
                <a:gd name="connsiteY1" fmla="*/ 173873 h 173873"/>
                <a:gd name="connsiteX2" fmla="*/ 134548 w 161952"/>
                <a:gd name="connsiteY2" fmla="*/ 139910 h 173873"/>
                <a:gd name="connsiteX3" fmla="*/ 161952 w 161952"/>
                <a:gd name="connsiteY3" fmla="*/ 85557 h 173873"/>
                <a:gd name="connsiteX4" fmla="*/ 104800 w 161952"/>
                <a:gd name="connsiteY4" fmla="*/ 18090 h 173873"/>
                <a:gd name="connsiteX5" fmla="*/ 78591 w 161952"/>
                <a:gd name="connsiteY5" fmla="*/ 6809 h 173873"/>
                <a:gd name="connsiteX6" fmla="*/ 52396 w 161952"/>
                <a:gd name="connsiteY6" fmla="*/ 0 h 173873"/>
                <a:gd name="connsiteX7" fmla="*/ 13093 w 161952"/>
                <a:gd name="connsiteY7" fmla="*/ 57526 h 173873"/>
                <a:gd name="connsiteX8" fmla="*/ 0 w 161952"/>
                <a:gd name="connsiteY8" fmla="*/ 100430 h 173873"/>
                <a:gd name="connsiteX9" fmla="*/ 7144 w 161952"/>
                <a:gd name="connsiteY9" fmla="*/ 152818 h 173873"/>
                <a:gd name="connsiteX0" fmla="*/ 42878 w 161952"/>
                <a:gd name="connsiteY0" fmla="*/ 112963 h 173873"/>
                <a:gd name="connsiteX1" fmla="*/ 103589 w 161952"/>
                <a:gd name="connsiteY1" fmla="*/ 173873 h 173873"/>
                <a:gd name="connsiteX2" fmla="*/ 134548 w 161952"/>
                <a:gd name="connsiteY2" fmla="*/ 139910 h 173873"/>
                <a:gd name="connsiteX3" fmla="*/ 161952 w 161952"/>
                <a:gd name="connsiteY3" fmla="*/ 85557 h 173873"/>
                <a:gd name="connsiteX4" fmla="*/ 104800 w 161952"/>
                <a:gd name="connsiteY4" fmla="*/ 18090 h 173873"/>
                <a:gd name="connsiteX5" fmla="*/ 78591 w 161952"/>
                <a:gd name="connsiteY5" fmla="*/ 6809 h 173873"/>
                <a:gd name="connsiteX6" fmla="*/ 52396 w 161952"/>
                <a:gd name="connsiteY6" fmla="*/ 0 h 173873"/>
                <a:gd name="connsiteX7" fmla="*/ 13093 w 161952"/>
                <a:gd name="connsiteY7" fmla="*/ 57526 h 173873"/>
                <a:gd name="connsiteX8" fmla="*/ 0 w 161952"/>
                <a:gd name="connsiteY8" fmla="*/ 100430 h 173873"/>
                <a:gd name="connsiteX9" fmla="*/ 42878 w 161952"/>
                <a:gd name="connsiteY9" fmla="*/ 112963 h 173873"/>
                <a:gd name="connsiteX0" fmla="*/ 29785 w 148859"/>
                <a:gd name="connsiteY0" fmla="*/ 112963 h 173873"/>
                <a:gd name="connsiteX1" fmla="*/ 90496 w 148859"/>
                <a:gd name="connsiteY1" fmla="*/ 173873 h 173873"/>
                <a:gd name="connsiteX2" fmla="*/ 121455 w 148859"/>
                <a:gd name="connsiteY2" fmla="*/ 139910 h 173873"/>
                <a:gd name="connsiteX3" fmla="*/ 148859 w 148859"/>
                <a:gd name="connsiteY3" fmla="*/ 85557 h 173873"/>
                <a:gd name="connsiteX4" fmla="*/ 91707 w 148859"/>
                <a:gd name="connsiteY4" fmla="*/ 18090 h 173873"/>
                <a:gd name="connsiteX5" fmla="*/ 65498 w 148859"/>
                <a:gd name="connsiteY5" fmla="*/ 6809 h 173873"/>
                <a:gd name="connsiteX6" fmla="*/ 39303 w 148859"/>
                <a:gd name="connsiteY6" fmla="*/ 0 h 173873"/>
                <a:gd name="connsiteX7" fmla="*/ 0 w 148859"/>
                <a:gd name="connsiteY7" fmla="*/ 57526 h 173873"/>
                <a:gd name="connsiteX8" fmla="*/ 4775 w 148859"/>
                <a:gd name="connsiteY8" fmla="*/ 91573 h 173873"/>
                <a:gd name="connsiteX9" fmla="*/ 29785 w 148859"/>
                <a:gd name="connsiteY9" fmla="*/ 112963 h 173873"/>
                <a:gd name="connsiteX0" fmla="*/ 44079 w 148859"/>
                <a:gd name="connsiteY0" fmla="*/ 139533 h 173873"/>
                <a:gd name="connsiteX1" fmla="*/ 90496 w 148859"/>
                <a:gd name="connsiteY1" fmla="*/ 173873 h 173873"/>
                <a:gd name="connsiteX2" fmla="*/ 121455 w 148859"/>
                <a:gd name="connsiteY2" fmla="*/ 139910 h 173873"/>
                <a:gd name="connsiteX3" fmla="*/ 148859 w 148859"/>
                <a:gd name="connsiteY3" fmla="*/ 85557 h 173873"/>
                <a:gd name="connsiteX4" fmla="*/ 91707 w 148859"/>
                <a:gd name="connsiteY4" fmla="*/ 18090 h 173873"/>
                <a:gd name="connsiteX5" fmla="*/ 65498 w 148859"/>
                <a:gd name="connsiteY5" fmla="*/ 6809 h 173873"/>
                <a:gd name="connsiteX6" fmla="*/ 39303 w 148859"/>
                <a:gd name="connsiteY6" fmla="*/ 0 h 173873"/>
                <a:gd name="connsiteX7" fmla="*/ 0 w 148859"/>
                <a:gd name="connsiteY7" fmla="*/ 57526 h 173873"/>
                <a:gd name="connsiteX8" fmla="*/ 4775 w 148859"/>
                <a:gd name="connsiteY8" fmla="*/ 91573 h 173873"/>
                <a:gd name="connsiteX9" fmla="*/ 44079 w 148859"/>
                <a:gd name="connsiteY9" fmla="*/ 139533 h 173873"/>
                <a:gd name="connsiteX0" fmla="*/ 65519 w 148859"/>
                <a:gd name="connsiteY0" fmla="*/ 135104 h 173873"/>
                <a:gd name="connsiteX1" fmla="*/ 90496 w 148859"/>
                <a:gd name="connsiteY1" fmla="*/ 173873 h 173873"/>
                <a:gd name="connsiteX2" fmla="*/ 121455 w 148859"/>
                <a:gd name="connsiteY2" fmla="*/ 139910 h 173873"/>
                <a:gd name="connsiteX3" fmla="*/ 148859 w 148859"/>
                <a:gd name="connsiteY3" fmla="*/ 85557 h 173873"/>
                <a:gd name="connsiteX4" fmla="*/ 91707 w 148859"/>
                <a:gd name="connsiteY4" fmla="*/ 18090 h 173873"/>
                <a:gd name="connsiteX5" fmla="*/ 65498 w 148859"/>
                <a:gd name="connsiteY5" fmla="*/ 6809 h 173873"/>
                <a:gd name="connsiteX6" fmla="*/ 39303 w 148859"/>
                <a:gd name="connsiteY6" fmla="*/ 0 h 173873"/>
                <a:gd name="connsiteX7" fmla="*/ 0 w 148859"/>
                <a:gd name="connsiteY7" fmla="*/ 57526 h 173873"/>
                <a:gd name="connsiteX8" fmla="*/ 4775 w 148859"/>
                <a:gd name="connsiteY8" fmla="*/ 91573 h 173873"/>
                <a:gd name="connsiteX9" fmla="*/ 65519 w 148859"/>
                <a:gd name="connsiteY9" fmla="*/ 135104 h 173873"/>
                <a:gd name="connsiteX0" fmla="*/ 60744 w 144084"/>
                <a:gd name="connsiteY0" fmla="*/ 135104 h 173873"/>
                <a:gd name="connsiteX1" fmla="*/ 85721 w 144084"/>
                <a:gd name="connsiteY1" fmla="*/ 173873 h 173873"/>
                <a:gd name="connsiteX2" fmla="*/ 116680 w 144084"/>
                <a:gd name="connsiteY2" fmla="*/ 139910 h 173873"/>
                <a:gd name="connsiteX3" fmla="*/ 144084 w 144084"/>
                <a:gd name="connsiteY3" fmla="*/ 85557 h 173873"/>
                <a:gd name="connsiteX4" fmla="*/ 86932 w 144084"/>
                <a:gd name="connsiteY4" fmla="*/ 18090 h 173873"/>
                <a:gd name="connsiteX5" fmla="*/ 60723 w 144084"/>
                <a:gd name="connsiteY5" fmla="*/ 6809 h 173873"/>
                <a:gd name="connsiteX6" fmla="*/ 34528 w 144084"/>
                <a:gd name="connsiteY6" fmla="*/ 0 h 173873"/>
                <a:gd name="connsiteX7" fmla="*/ 9519 w 144084"/>
                <a:gd name="connsiteY7" fmla="*/ 35385 h 173873"/>
                <a:gd name="connsiteX8" fmla="*/ 0 w 144084"/>
                <a:gd name="connsiteY8" fmla="*/ 91573 h 173873"/>
                <a:gd name="connsiteX9" fmla="*/ 60744 w 144084"/>
                <a:gd name="connsiteY9" fmla="*/ 135104 h 173873"/>
                <a:gd name="connsiteX0" fmla="*/ 60744 w 144084"/>
                <a:gd name="connsiteY0" fmla="*/ 128295 h 167064"/>
                <a:gd name="connsiteX1" fmla="*/ 85721 w 144084"/>
                <a:gd name="connsiteY1" fmla="*/ 167064 h 167064"/>
                <a:gd name="connsiteX2" fmla="*/ 116680 w 144084"/>
                <a:gd name="connsiteY2" fmla="*/ 133101 h 167064"/>
                <a:gd name="connsiteX3" fmla="*/ 144084 w 144084"/>
                <a:gd name="connsiteY3" fmla="*/ 78748 h 167064"/>
                <a:gd name="connsiteX4" fmla="*/ 86932 w 144084"/>
                <a:gd name="connsiteY4" fmla="*/ 11281 h 167064"/>
                <a:gd name="connsiteX5" fmla="*/ 60723 w 144084"/>
                <a:gd name="connsiteY5" fmla="*/ 0 h 167064"/>
                <a:gd name="connsiteX6" fmla="*/ 41674 w 144084"/>
                <a:gd name="connsiteY6" fmla="*/ 10905 h 167064"/>
                <a:gd name="connsiteX7" fmla="*/ 9519 w 144084"/>
                <a:gd name="connsiteY7" fmla="*/ 28576 h 167064"/>
                <a:gd name="connsiteX8" fmla="*/ 0 w 144084"/>
                <a:gd name="connsiteY8" fmla="*/ 84764 h 167064"/>
                <a:gd name="connsiteX9" fmla="*/ 60744 w 144084"/>
                <a:gd name="connsiteY9" fmla="*/ 128295 h 167064"/>
                <a:gd name="connsiteX0" fmla="*/ 60744 w 144084"/>
                <a:gd name="connsiteY0" fmla="*/ 128295 h 167064"/>
                <a:gd name="connsiteX1" fmla="*/ 85721 w 144084"/>
                <a:gd name="connsiteY1" fmla="*/ 167064 h 167064"/>
                <a:gd name="connsiteX2" fmla="*/ 116680 w 144084"/>
                <a:gd name="connsiteY2" fmla="*/ 133101 h 167064"/>
                <a:gd name="connsiteX3" fmla="*/ 144084 w 144084"/>
                <a:gd name="connsiteY3" fmla="*/ 78748 h 167064"/>
                <a:gd name="connsiteX4" fmla="*/ 97653 w 144084"/>
                <a:gd name="connsiteY4" fmla="*/ 33423 h 167064"/>
                <a:gd name="connsiteX5" fmla="*/ 60723 w 144084"/>
                <a:gd name="connsiteY5" fmla="*/ 0 h 167064"/>
                <a:gd name="connsiteX6" fmla="*/ 41674 w 144084"/>
                <a:gd name="connsiteY6" fmla="*/ 10905 h 167064"/>
                <a:gd name="connsiteX7" fmla="*/ 9519 w 144084"/>
                <a:gd name="connsiteY7" fmla="*/ 28576 h 167064"/>
                <a:gd name="connsiteX8" fmla="*/ 0 w 144084"/>
                <a:gd name="connsiteY8" fmla="*/ 84764 h 167064"/>
                <a:gd name="connsiteX9" fmla="*/ 60744 w 144084"/>
                <a:gd name="connsiteY9" fmla="*/ 128295 h 167064"/>
                <a:gd name="connsiteX0" fmla="*/ 60744 w 144084"/>
                <a:gd name="connsiteY0" fmla="*/ 140694 h 179463"/>
                <a:gd name="connsiteX1" fmla="*/ 85721 w 144084"/>
                <a:gd name="connsiteY1" fmla="*/ 179463 h 179463"/>
                <a:gd name="connsiteX2" fmla="*/ 116680 w 144084"/>
                <a:gd name="connsiteY2" fmla="*/ 145500 h 179463"/>
                <a:gd name="connsiteX3" fmla="*/ 144084 w 144084"/>
                <a:gd name="connsiteY3" fmla="*/ 91147 h 179463"/>
                <a:gd name="connsiteX4" fmla="*/ 97653 w 144084"/>
                <a:gd name="connsiteY4" fmla="*/ 45822 h 179463"/>
                <a:gd name="connsiteX5" fmla="*/ 63225 w 144084"/>
                <a:gd name="connsiteY5" fmla="*/ 0 h 179463"/>
                <a:gd name="connsiteX6" fmla="*/ 41674 w 144084"/>
                <a:gd name="connsiteY6" fmla="*/ 23304 h 179463"/>
                <a:gd name="connsiteX7" fmla="*/ 9519 w 144084"/>
                <a:gd name="connsiteY7" fmla="*/ 40975 h 179463"/>
                <a:gd name="connsiteX8" fmla="*/ 0 w 144084"/>
                <a:gd name="connsiteY8" fmla="*/ 97163 h 179463"/>
                <a:gd name="connsiteX9" fmla="*/ 60744 w 144084"/>
                <a:gd name="connsiteY9" fmla="*/ 140694 h 179463"/>
                <a:gd name="connsiteX0" fmla="*/ 60744 w 144084"/>
                <a:gd name="connsiteY0" fmla="*/ 140694 h 179463"/>
                <a:gd name="connsiteX1" fmla="*/ 85721 w 144084"/>
                <a:gd name="connsiteY1" fmla="*/ 179463 h 179463"/>
                <a:gd name="connsiteX2" fmla="*/ 116680 w 144084"/>
                <a:gd name="connsiteY2" fmla="*/ 145500 h 179463"/>
                <a:gd name="connsiteX3" fmla="*/ 144084 w 144084"/>
                <a:gd name="connsiteY3" fmla="*/ 91147 h 179463"/>
                <a:gd name="connsiteX4" fmla="*/ 97653 w 144084"/>
                <a:gd name="connsiteY4" fmla="*/ 45822 h 179463"/>
                <a:gd name="connsiteX5" fmla="*/ 63225 w 144084"/>
                <a:gd name="connsiteY5" fmla="*/ 0 h 179463"/>
                <a:gd name="connsiteX6" fmla="*/ 34170 w 144084"/>
                <a:gd name="connsiteY6" fmla="*/ 7805 h 179463"/>
                <a:gd name="connsiteX7" fmla="*/ 9519 w 144084"/>
                <a:gd name="connsiteY7" fmla="*/ 40975 h 179463"/>
                <a:gd name="connsiteX8" fmla="*/ 0 w 144084"/>
                <a:gd name="connsiteY8" fmla="*/ 97163 h 179463"/>
                <a:gd name="connsiteX9" fmla="*/ 60744 w 144084"/>
                <a:gd name="connsiteY9" fmla="*/ 140694 h 179463"/>
                <a:gd name="connsiteX0" fmla="*/ 70750 w 154090"/>
                <a:gd name="connsiteY0" fmla="*/ 140694 h 179463"/>
                <a:gd name="connsiteX1" fmla="*/ 95727 w 154090"/>
                <a:gd name="connsiteY1" fmla="*/ 179463 h 179463"/>
                <a:gd name="connsiteX2" fmla="*/ 126686 w 154090"/>
                <a:gd name="connsiteY2" fmla="*/ 145500 h 179463"/>
                <a:gd name="connsiteX3" fmla="*/ 154090 w 154090"/>
                <a:gd name="connsiteY3" fmla="*/ 91147 h 179463"/>
                <a:gd name="connsiteX4" fmla="*/ 107659 w 154090"/>
                <a:gd name="connsiteY4" fmla="*/ 45822 h 179463"/>
                <a:gd name="connsiteX5" fmla="*/ 73231 w 154090"/>
                <a:gd name="connsiteY5" fmla="*/ 0 h 179463"/>
                <a:gd name="connsiteX6" fmla="*/ 44176 w 154090"/>
                <a:gd name="connsiteY6" fmla="*/ 7805 h 179463"/>
                <a:gd name="connsiteX7" fmla="*/ 19525 w 154090"/>
                <a:gd name="connsiteY7" fmla="*/ 40975 h 179463"/>
                <a:gd name="connsiteX8" fmla="*/ 0 w 154090"/>
                <a:gd name="connsiteY8" fmla="*/ 69265 h 179463"/>
                <a:gd name="connsiteX9" fmla="*/ 70750 w 154090"/>
                <a:gd name="connsiteY9" fmla="*/ 140694 h 179463"/>
                <a:gd name="connsiteX0" fmla="*/ 70750 w 154090"/>
                <a:gd name="connsiteY0" fmla="*/ 140694 h 179463"/>
                <a:gd name="connsiteX1" fmla="*/ 95727 w 154090"/>
                <a:gd name="connsiteY1" fmla="*/ 179463 h 179463"/>
                <a:gd name="connsiteX2" fmla="*/ 126686 w 154090"/>
                <a:gd name="connsiteY2" fmla="*/ 145500 h 179463"/>
                <a:gd name="connsiteX3" fmla="*/ 154090 w 154090"/>
                <a:gd name="connsiteY3" fmla="*/ 91147 h 179463"/>
                <a:gd name="connsiteX4" fmla="*/ 125169 w 154090"/>
                <a:gd name="connsiteY4" fmla="*/ 52021 h 179463"/>
                <a:gd name="connsiteX5" fmla="*/ 73231 w 154090"/>
                <a:gd name="connsiteY5" fmla="*/ 0 h 179463"/>
                <a:gd name="connsiteX6" fmla="*/ 44176 w 154090"/>
                <a:gd name="connsiteY6" fmla="*/ 7805 h 179463"/>
                <a:gd name="connsiteX7" fmla="*/ 19525 w 154090"/>
                <a:gd name="connsiteY7" fmla="*/ 40975 h 179463"/>
                <a:gd name="connsiteX8" fmla="*/ 0 w 154090"/>
                <a:gd name="connsiteY8" fmla="*/ 69265 h 179463"/>
                <a:gd name="connsiteX9" fmla="*/ 70750 w 154090"/>
                <a:gd name="connsiteY9" fmla="*/ 140694 h 179463"/>
                <a:gd name="connsiteX0" fmla="*/ 70750 w 154090"/>
                <a:gd name="connsiteY0" fmla="*/ 140694 h 179463"/>
                <a:gd name="connsiteX1" fmla="*/ 95727 w 154090"/>
                <a:gd name="connsiteY1" fmla="*/ 179463 h 179463"/>
                <a:gd name="connsiteX2" fmla="*/ 126686 w 154090"/>
                <a:gd name="connsiteY2" fmla="*/ 145500 h 179463"/>
                <a:gd name="connsiteX3" fmla="*/ 154090 w 154090"/>
                <a:gd name="connsiteY3" fmla="*/ 91147 h 179463"/>
                <a:gd name="connsiteX4" fmla="*/ 125169 w 154090"/>
                <a:gd name="connsiteY4" fmla="*/ 52021 h 179463"/>
                <a:gd name="connsiteX5" fmla="*/ 73231 w 154090"/>
                <a:gd name="connsiteY5" fmla="*/ 0 h 179463"/>
                <a:gd name="connsiteX6" fmla="*/ 44176 w 154090"/>
                <a:gd name="connsiteY6" fmla="*/ 7805 h 179463"/>
                <a:gd name="connsiteX7" fmla="*/ 19525 w 154090"/>
                <a:gd name="connsiteY7" fmla="*/ 40975 h 179463"/>
                <a:gd name="connsiteX8" fmla="*/ 0 w 154090"/>
                <a:gd name="connsiteY8" fmla="*/ 69265 h 179463"/>
                <a:gd name="connsiteX9" fmla="*/ 70750 w 154090"/>
                <a:gd name="connsiteY9" fmla="*/ 140694 h 179463"/>
                <a:gd name="connsiteX0" fmla="*/ 70750 w 154090"/>
                <a:gd name="connsiteY0" fmla="*/ 140694 h 179463"/>
                <a:gd name="connsiteX1" fmla="*/ 95727 w 154090"/>
                <a:gd name="connsiteY1" fmla="*/ 179463 h 179463"/>
                <a:gd name="connsiteX2" fmla="*/ 126686 w 154090"/>
                <a:gd name="connsiteY2" fmla="*/ 145500 h 179463"/>
                <a:gd name="connsiteX3" fmla="*/ 154090 w 154090"/>
                <a:gd name="connsiteY3" fmla="*/ 91147 h 179463"/>
                <a:gd name="connsiteX4" fmla="*/ 125169 w 154090"/>
                <a:gd name="connsiteY4" fmla="*/ 52021 h 179463"/>
                <a:gd name="connsiteX5" fmla="*/ 73231 w 154090"/>
                <a:gd name="connsiteY5" fmla="*/ 0 h 179463"/>
                <a:gd name="connsiteX6" fmla="*/ 44176 w 154090"/>
                <a:gd name="connsiteY6" fmla="*/ 7805 h 179463"/>
                <a:gd name="connsiteX7" fmla="*/ 19525 w 154090"/>
                <a:gd name="connsiteY7" fmla="*/ 40975 h 179463"/>
                <a:gd name="connsiteX8" fmla="*/ 0 w 154090"/>
                <a:gd name="connsiteY8" fmla="*/ 69265 h 179463"/>
                <a:gd name="connsiteX9" fmla="*/ 70750 w 154090"/>
                <a:gd name="connsiteY9" fmla="*/ 140694 h 179463"/>
                <a:gd name="connsiteX0" fmla="*/ 70750 w 154090"/>
                <a:gd name="connsiteY0" fmla="*/ 140694 h 179463"/>
                <a:gd name="connsiteX1" fmla="*/ 95727 w 154090"/>
                <a:gd name="connsiteY1" fmla="*/ 179463 h 179463"/>
                <a:gd name="connsiteX2" fmla="*/ 126686 w 154090"/>
                <a:gd name="connsiteY2" fmla="*/ 145500 h 179463"/>
                <a:gd name="connsiteX3" fmla="*/ 154090 w 154090"/>
                <a:gd name="connsiteY3" fmla="*/ 91147 h 179463"/>
                <a:gd name="connsiteX4" fmla="*/ 125169 w 154090"/>
                <a:gd name="connsiteY4" fmla="*/ 52021 h 179463"/>
                <a:gd name="connsiteX5" fmla="*/ 73231 w 154090"/>
                <a:gd name="connsiteY5" fmla="*/ 0 h 179463"/>
                <a:gd name="connsiteX6" fmla="*/ 44176 w 154090"/>
                <a:gd name="connsiteY6" fmla="*/ 7805 h 179463"/>
                <a:gd name="connsiteX7" fmla="*/ 19525 w 154090"/>
                <a:gd name="connsiteY7" fmla="*/ 40975 h 179463"/>
                <a:gd name="connsiteX8" fmla="*/ 0 w 154090"/>
                <a:gd name="connsiteY8" fmla="*/ 69265 h 179463"/>
                <a:gd name="connsiteX9" fmla="*/ 70750 w 154090"/>
                <a:gd name="connsiteY9" fmla="*/ 140694 h 179463"/>
                <a:gd name="connsiteX0" fmla="*/ 70750 w 154090"/>
                <a:gd name="connsiteY0" fmla="*/ 140694 h 179463"/>
                <a:gd name="connsiteX1" fmla="*/ 95727 w 154090"/>
                <a:gd name="connsiteY1" fmla="*/ 179463 h 179463"/>
                <a:gd name="connsiteX2" fmla="*/ 126686 w 154090"/>
                <a:gd name="connsiteY2" fmla="*/ 145500 h 179463"/>
                <a:gd name="connsiteX3" fmla="*/ 154090 w 154090"/>
                <a:gd name="connsiteY3" fmla="*/ 91147 h 179463"/>
                <a:gd name="connsiteX4" fmla="*/ 125169 w 154090"/>
                <a:gd name="connsiteY4" fmla="*/ 52021 h 179463"/>
                <a:gd name="connsiteX5" fmla="*/ 73231 w 154090"/>
                <a:gd name="connsiteY5" fmla="*/ 0 h 179463"/>
                <a:gd name="connsiteX6" fmla="*/ 44176 w 154090"/>
                <a:gd name="connsiteY6" fmla="*/ 7805 h 179463"/>
                <a:gd name="connsiteX7" fmla="*/ 19525 w 154090"/>
                <a:gd name="connsiteY7" fmla="*/ 40975 h 179463"/>
                <a:gd name="connsiteX8" fmla="*/ 0 w 154090"/>
                <a:gd name="connsiteY8" fmla="*/ 69265 h 179463"/>
                <a:gd name="connsiteX9" fmla="*/ 70750 w 154090"/>
                <a:gd name="connsiteY9" fmla="*/ 140694 h 179463"/>
                <a:gd name="connsiteX0" fmla="*/ 70750 w 154090"/>
                <a:gd name="connsiteY0" fmla="*/ 140694 h 185663"/>
                <a:gd name="connsiteX1" fmla="*/ 108234 w 154090"/>
                <a:gd name="connsiteY1" fmla="*/ 185663 h 185663"/>
                <a:gd name="connsiteX2" fmla="*/ 126686 w 154090"/>
                <a:gd name="connsiteY2" fmla="*/ 145500 h 185663"/>
                <a:gd name="connsiteX3" fmla="*/ 154090 w 154090"/>
                <a:gd name="connsiteY3" fmla="*/ 91147 h 185663"/>
                <a:gd name="connsiteX4" fmla="*/ 125169 w 154090"/>
                <a:gd name="connsiteY4" fmla="*/ 52021 h 185663"/>
                <a:gd name="connsiteX5" fmla="*/ 73231 w 154090"/>
                <a:gd name="connsiteY5" fmla="*/ 0 h 185663"/>
                <a:gd name="connsiteX6" fmla="*/ 44176 w 154090"/>
                <a:gd name="connsiteY6" fmla="*/ 7805 h 185663"/>
                <a:gd name="connsiteX7" fmla="*/ 19525 w 154090"/>
                <a:gd name="connsiteY7" fmla="*/ 40975 h 185663"/>
                <a:gd name="connsiteX8" fmla="*/ 0 w 154090"/>
                <a:gd name="connsiteY8" fmla="*/ 69265 h 185663"/>
                <a:gd name="connsiteX9" fmla="*/ 70750 w 154090"/>
                <a:gd name="connsiteY9" fmla="*/ 140694 h 185663"/>
                <a:gd name="connsiteX0" fmla="*/ 60744 w 144084"/>
                <a:gd name="connsiteY0" fmla="*/ 140694 h 185663"/>
                <a:gd name="connsiteX1" fmla="*/ 98228 w 144084"/>
                <a:gd name="connsiteY1" fmla="*/ 185663 h 185663"/>
                <a:gd name="connsiteX2" fmla="*/ 116680 w 144084"/>
                <a:gd name="connsiteY2" fmla="*/ 145500 h 185663"/>
                <a:gd name="connsiteX3" fmla="*/ 144084 w 144084"/>
                <a:gd name="connsiteY3" fmla="*/ 91147 h 185663"/>
                <a:gd name="connsiteX4" fmla="*/ 115163 w 144084"/>
                <a:gd name="connsiteY4" fmla="*/ 52021 h 185663"/>
                <a:gd name="connsiteX5" fmla="*/ 63225 w 144084"/>
                <a:gd name="connsiteY5" fmla="*/ 0 h 185663"/>
                <a:gd name="connsiteX6" fmla="*/ 34170 w 144084"/>
                <a:gd name="connsiteY6" fmla="*/ 7805 h 185663"/>
                <a:gd name="connsiteX7" fmla="*/ 9519 w 144084"/>
                <a:gd name="connsiteY7" fmla="*/ 40975 h 185663"/>
                <a:gd name="connsiteX8" fmla="*/ 0 w 144084"/>
                <a:gd name="connsiteY8" fmla="*/ 90963 h 185663"/>
                <a:gd name="connsiteX9" fmla="*/ 60744 w 144084"/>
                <a:gd name="connsiteY9" fmla="*/ 140694 h 185663"/>
                <a:gd name="connsiteX0" fmla="*/ 60744 w 144084"/>
                <a:gd name="connsiteY0" fmla="*/ 140694 h 185663"/>
                <a:gd name="connsiteX1" fmla="*/ 98228 w 144084"/>
                <a:gd name="connsiteY1" fmla="*/ 185663 h 185663"/>
                <a:gd name="connsiteX2" fmla="*/ 109176 w 144084"/>
                <a:gd name="connsiteY2" fmla="*/ 126901 h 185663"/>
                <a:gd name="connsiteX3" fmla="*/ 144084 w 144084"/>
                <a:gd name="connsiteY3" fmla="*/ 91147 h 185663"/>
                <a:gd name="connsiteX4" fmla="*/ 115163 w 144084"/>
                <a:gd name="connsiteY4" fmla="*/ 52021 h 185663"/>
                <a:gd name="connsiteX5" fmla="*/ 63225 w 144084"/>
                <a:gd name="connsiteY5" fmla="*/ 0 h 185663"/>
                <a:gd name="connsiteX6" fmla="*/ 34170 w 144084"/>
                <a:gd name="connsiteY6" fmla="*/ 7805 h 185663"/>
                <a:gd name="connsiteX7" fmla="*/ 9519 w 144084"/>
                <a:gd name="connsiteY7" fmla="*/ 40975 h 185663"/>
                <a:gd name="connsiteX8" fmla="*/ 0 w 144084"/>
                <a:gd name="connsiteY8" fmla="*/ 90963 h 185663"/>
                <a:gd name="connsiteX9" fmla="*/ 60744 w 144084"/>
                <a:gd name="connsiteY9" fmla="*/ 140694 h 185663"/>
                <a:gd name="connsiteX0" fmla="*/ 60744 w 144084"/>
                <a:gd name="connsiteY0" fmla="*/ 140694 h 185663"/>
                <a:gd name="connsiteX1" fmla="*/ 98228 w 144084"/>
                <a:gd name="connsiteY1" fmla="*/ 185663 h 185663"/>
                <a:gd name="connsiteX2" fmla="*/ 109176 w 144084"/>
                <a:gd name="connsiteY2" fmla="*/ 126901 h 185663"/>
                <a:gd name="connsiteX3" fmla="*/ 144084 w 144084"/>
                <a:gd name="connsiteY3" fmla="*/ 112846 h 185663"/>
                <a:gd name="connsiteX4" fmla="*/ 115163 w 144084"/>
                <a:gd name="connsiteY4" fmla="*/ 52021 h 185663"/>
                <a:gd name="connsiteX5" fmla="*/ 63225 w 144084"/>
                <a:gd name="connsiteY5" fmla="*/ 0 h 185663"/>
                <a:gd name="connsiteX6" fmla="*/ 34170 w 144084"/>
                <a:gd name="connsiteY6" fmla="*/ 7805 h 185663"/>
                <a:gd name="connsiteX7" fmla="*/ 9519 w 144084"/>
                <a:gd name="connsiteY7" fmla="*/ 40975 h 185663"/>
                <a:gd name="connsiteX8" fmla="*/ 0 w 144084"/>
                <a:gd name="connsiteY8" fmla="*/ 90963 h 185663"/>
                <a:gd name="connsiteX9" fmla="*/ 60744 w 144084"/>
                <a:gd name="connsiteY9" fmla="*/ 140694 h 185663"/>
                <a:gd name="connsiteX0" fmla="*/ 60744 w 159092"/>
                <a:gd name="connsiteY0" fmla="*/ 140694 h 185663"/>
                <a:gd name="connsiteX1" fmla="*/ 98228 w 159092"/>
                <a:gd name="connsiteY1" fmla="*/ 185663 h 185663"/>
                <a:gd name="connsiteX2" fmla="*/ 109176 w 159092"/>
                <a:gd name="connsiteY2" fmla="*/ 126901 h 185663"/>
                <a:gd name="connsiteX3" fmla="*/ 159092 w 159092"/>
                <a:gd name="connsiteY3" fmla="*/ 100447 h 185663"/>
                <a:gd name="connsiteX4" fmla="*/ 115163 w 159092"/>
                <a:gd name="connsiteY4" fmla="*/ 52021 h 185663"/>
                <a:gd name="connsiteX5" fmla="*/ 63225 w 159092"/>
                <a:gd name="connsiteY5" fmla="*/ 0 h 185663"/>
                <a:gd name="connsiteX6" fmla="*/ 34170 w 159092"/>
                <a:gd name="connsiteY6" fmla="*/ 7805 h 185663"/>
                <a:gd name="connsiteX7" fmla="*/ 9519 w 159092"/>
                <a:gd name="connsiteY7" fmla="*/ 40975 h 185663"/>
                <a:gd name="connsiteX8" fmla="*/ 0 w 159092"/>
                <a:gd name="connsiteY8" fmla="*/ 90963 h 185663"/>
                <a:gd name="connsiteX9" fmla="*/ 60744 w 159092"/>
                <a:gd name="connsiteY9" fmla="*/ 140694 h 185663"/>
                <a:gd name="connsiteX0" fmla="*/ 60744 w 141582"/>
                <a:gd name="connsiteY0" fmla="*/ 140694 h 185663"/>
                <a:gd name="connsiteX1" fmla="*/ 98228 w 141582"/>
                <a:gd name="connsiteY1" fmla="*/ 185663 h 185663"/>
                <a:gd name="connsiteX2" fmla="*/ 109176 w 141582"/>
                <a:gd name="connsiteY2" fmla="*/ 126901 h 185663"/>
                <a:gd name="connsiteX3" fmla="*/ 141582 w 141582"/>
                <a:gd name="connsiteY3" fmla="*/ 109746 h 185663"/>
                <a:gd name="connsiteX4" fmla="*/ 115163 w 141582"/>
                <a:gd name="connsiteY4" fmla="*/ 52021 h 185663"/>
                <a:gd name="connsiteX5" fmla="*/ 63225 w 141582"/>
                <a:gd name="connsiteY5" fmla="*/ 0 h 185663"/>
                <a:gd name="connsiteX6" fmla="*/ 34170 w 141582"/>
                <a:gd name="connsiteY6" fmla="*/ 7805 h 185663"/>
                <a:gd name="connsiteX7" fmla="*/ 9519 w 141582"/>
                <a:gd name="connsiteY7" fmla="*/ 40975 h 185663"/>
                <a:gd name="connsiteX8" fmla="*/ 0 w 141582"/>
                <a:gd name="connsiteY8" fmla="*/ 90963 h 185663"/>
                <a:gd name="connsiteX9" fmla="*/ 60744 w 141582"/>
                <a:gd name="connsiteY9" fmla="*/ 140694 h 185663"/>
                <a:gd name="connsiteX0" fmla="*/ 66233 w 147071"/>
                <a:gd name="connsiteY0" fmla="*/ 140694 h 185663"/>
                <a:gd name="connsiteX1" fmla="*/ 103717 w 147071"/>
                <a:gd name="connsiteY1" fmla="*/ 185663 h 185663"/>
                <a:gd name="connsiteX2" fmla="*/ 114665 w 147071"/>
                <a:gd name="connsiteY2" fmla="*/ 126901 h 185663"/>
                <a:gd name="connsiteX3" fmla="*/ 147071 w 147071"/>
                <a:gd name="connsiteY3" fmla="*/ 109746 h 185663"/>
                <a:gd name="connsiteX4" fmla="*/ 120652 w 147071"/>
                <a:gd name="connsiteY4" fmla="*/ 52021 h 185663"/>
                <a:gd name="connsiteX5" fmla="*/ 68714 w 147071"/>
                <a:gd name="connsiteY5" fmla="*/ 0 h 185663"/>
                <a:gd name="connsiteX6" fmla="*/ 39659 w 147071"/>
                <a:gd name="connsiteY6" fmla="*/ 7805 h 185663"/>
                <a:gd name="connsiteX7" fmla="*/ 0 w 147071"/>
                <a:gd name="connsiteY7" fmla="*/ 59574 h 185663"/>
                <a:gd name="connsiteX8" fmla="*/ 5489 w 147071"/>
                <a:gd name="connsiteY8" fmla="*/ 90963 h 185663"/>
                <a:gd name="connsiteX9" fmla="*/ 66233 w 147071"/>
                <a:gd name="connsiteY9" fmla="*/ 140694 h 18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7071" h="185663">
                  <a:moveTo>
                    <a:pt x="66233" y="140694"/>
                  </a:moveTo>
                  <a:lnTo>
                    <a:pt x="103717" y="185663"/>
                  </a:lnTo>
                  <a:lnTo>
                    <a:pt x="114665" y="126901"/>
                  </a:lnTo>
                  <a:lnTo>
                    <a:pt x="147071" y="109746"/>
                  </a:lnTo>
                  <a:cubicBezTo>
                    <a:pt x="137431" y="96704"/>
                    <a:pt x="130292" y="71263"/>
                    <a:pt x="120652" y="52021"/>
                  </a:cubicBezTo>
                  <a:cubicBezTo>
                    <a:pt x="95835" y="34681"/>
                    <a:pt x="86027" y="17340"/>
                    <a:pt x="68714" y="0"/>
                  </a:cubicBezTo>
                  <a:lnTo>
                    <a:pt x="39659" y="7805"/>
                  </a:lnTo>
                  <a:lnTo>
                    <a:pt x="0" y="59574"/>
                  </a:lnTo>
                  <a:lnTo>
                    <a:pt x="5489" y="90963"/>
                  </a:lnTo>
                  <a:lnTo>
                    <a:pt x="66233" y="14069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IE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45" name="SP"/>
            <p:cNvSpPr>
              <a:spLocks/>
            </p:cNvSpPr>
            <p:nvPr/>
          </p:nvSpPr>
          <p:spPr bwMode="auto">
            <a:xfrm rot="515399">
              <a:off x="4479925" y="2357438"/>
              <a:ext cx="427038" cy="566737"/>
            </a:xfrm>
            <a:custGeom>
              <a:avLst/>
              <a:gdLst>
                <a:gd name="T0" fmla="*/ 2147483647 w 104"/>
                <a:gd name="T1" fmla="*/ 2147483647 h 159"/>
                <a:gd name="T2" fmla="*/ 2147483647 w 104"/>
                <a:gd name="T3" fmla="*/ 2147483647 h 159"/>
                <a:gd name="T4" fmla="*/ 2147483647 w 104"/>
                <a:gd name="T5" fmla="*/ 2147483647 h 159"/>
                <a:gd name="T6" fmla="*/ 2147483647 w 104"/>
                <a:gd name="T7" fmla="*/ 2147483647 h 159"/>
                <a:gd name="T8" fmla="*/ 2147483647 w 104"/>
                <a:gd name="T9" fmla="*/ 2147483647 h 159"/>
                <a:gd name="T10" fmla="*/ 2147483647 w 104"/>
                <a:gd name="T11" fmla="*/ 2147483647 h 159"/>
                <a:gd name="T12" fmla="*/ 2147483647 w 104"/>
                <a:gd name="T13" fmla="*/ 2147483647 h 159"/>
                <a:gd name="T14" fmla="*/ 2147483647 w 104"/>
                <a:gd name="T15" fmla="*/ 2147483647 h 159"/>
                <a:gd name="T16" fmla="*/ 2147483647 w 104"/>
                <a:gd name="T17" fmla="*/ 2147483647 h 159"/>
                <a:gd name="T18" fmla="*/ 2147483647 w 104"/>
                <a:gd name="T19" fmla="*/ 2147483647 h 159"/>
                <a:gd name="T20" fmla="*/ 2147483647 w 104"/>
                <a:gd name="T21" fmla="*/ 2147483647 h 159"/>
                <a:gd name="T22" fmla="*/ 2147483647 w 104"/>
                <a:gd name="T23" fmla="*/ 2147483647 h 159"/>
                <a:gd name="T24" fmla="*/ 2147483647 w 104"/>
                <a:gd name="T25" fmla="*/ 2147483647 h 159"/>
                <a:gd name="T26" fmla="*/ 2147483647 w 104"/>
                <a:gd name="T27" fmla="*/ 2147483647 h 159"/>
                <a:gd name="T28" fmla="*/ 2147483647 w 104"/>
                <a:gd name="T29" fmla="*/ 2147483647 h 159"/>
                <a:gd name="T30" fmla="*/ 2147483647 w 104"/>
                <a:gd name="T31" fmla="*/ 2147483647 h 159"/>
                <a:gd name="T32" fmla="*/ 2147483647 w 104"/>
                <a:gd name="T33" fmla="*/ 2147483647 h 159"/>
                <a:gd name="T34" fmla="*/ 0 w 104"/>
                <a:gd name="T35" fmla="*/ 2147483647 h 159"/>
                <a:gd name="T36" fmla="*/ 2147483647 w 104"/>
                <a:gd name="T37" fmla="*/ 2147483647 h 159"/>
                <a:gd name="T38" fmla="*/ 2147483647 w 104"/>
                <a:gd name="T39" fmla="*/ 2147483647 h 159"/>
                <a:gd name="T40" fmla="*/ 0 w 104"/>
                <a:gd name="T41" fmla="*/ 2147483647 h 159"/>
                <a:gd name="T42" fmla="*/ 2147483647 w 104"/>
                <a:gd name="T43" fmla="*/ 2147483647 h 159"/>
                <a:gd name="T44" fmla="*/ 2147483647 w 104"/>
                <a:gd name="T45" fmla="*/ 2147483647 h 159"/>
                <a:gd name="T46" fmla="*/ 2147483647 w 104"/>
                <a:gd name="T47" fmla="*/ 2147483647 h 159"/>
                <a:gd name="T48" fmla="*/ 2147483647 w 104"/>
                <a:gd name="T49" fmla="*/ 2147483647 h 159"/>
                <a:gd name="T50" fmla="*/ 2147483647 w 104"/>
                <a:gd name="T51" fmla="*/ 2147483647 h 159"/>
                <a:gd name="T52" fmla="*/ 2147483647 w 104"/>
                <a:gd name="T53" fmla="*/ 2147483647 h 159"/>
                <a:gd name="T54" fmla="*/ 2147483647 w 104"/>
                <a:gd name="T55" fmla="*/ 2147483647 h 159"/>
                <a:gd name="T56" fmla="*/ 2147483647 w 104"/>
                <a:gd name="T57" fmla="*/ 2147483647 h 159"/>
                <a:gd name="T58" fmla="*/ 2147483647 w 104"/>
                <a:gd name="T59" fmla="*/ 0 h 159"/>
                <a:gd name="T60" fmla="*/ 2147483647 w 104"/>
                <a:gd name="T61" fmla="*/ 0 h 159"/>
                <a:gd name="T62" fmla="*/ 2147483647 w 104"/>
                <a:gd name="T63" fmla="*/ 2147483647 h 159"/>
                <a:gd name="T64" fmla="*/ 2147483647 w 104"/>
                <a:gd name="T65" fmla="*/ 2147483647 h 159"/>
                <a:gd name="T66" fmla="*/ 2147483647 w 104"/>
                <a:gd name="T67" fmla="*/ 2147483647 h 159"/>
                <a:gd name="T68" fmla="*/ 2147483647 w 104"/>
                <a:gd name="T69" fmla="*/ 2147483647 h 159"/>
                <a:gd name="T70" fmla="*/ 2147483647 w 104"/>
                <a:gd name="T71" fmla="*/ 2147483647 h 159"/>
                <a:gd name="T72" fmla="*/ 2147483647 w 104"/>
                <a:gd name="T73" fmla="*/ 2147483647 h 159"/>
                <a:gd name="T74" fmla="*/ 2147483647 w 104"/>
                <a:gd name="T75" fmla="*/ 2147483647 h 159"/>
                <a:gd name="T76" fmla="*/ 2147483647 w 104"/>
                <a:gd name="T77" fmla="*/ 2147483647 h 159"/>
                <a:gd name="T78" fmla="*/ 2147483647 w 104"/>
                <a:gd name="T79" fmla="*/ 2147483647 h 159"/>
                <a:gd name="T80" fmla="*/ 2147483647 w 104"/>
                <a:gd name="T81" fmla="*/ 2147483647 h 159"/>
                <a:gd name="T82" fmla="*/ 2147483647 w 104"/>
                <a:gd name="T83" fmla="*/ 2147483647 h 159"/>
                <a:gd name="T84" fmla="*/ 2147483647 w 104"/>
                <a:gd name="T85" fmla="*/ 2147483647 h 159"/>
                <a:gd name="T86" fmla="*/ 2147483647 w 104"/>
                <a:gd name="T87" fmla="*/ 2147483647 h 159"/>
                <a:gd name="T88" fmla="*/ 2147483647 w 104"/>
                <a:gd name="T89" fmla="*/ 2147483647 h 159"/>
                <a:gd name="T90" fmla="*/ 2147483647 w 104"/>
                <a:gd name="T91" fmla="*/ 2147483647 h 159"/>
                <a:gd name="T92" fmla="*/ 2147483647 w 104"/>
                <a:gd name="T93" fmla="*/ 2147483647 h 15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4"/>
                <a:gd name="T142" fmla="*/ 0 h 159"/>
                <a:gd name="T143" fmla="*/ 104 w 104"/>
                <a:gd name="T144" fmla="*/ 159 h 159"/>
                <a:gd name="connsiteX0" fmla="*/ 7885 w 10000"/>
                <a:gd name="connsiteY0" fmla="*/ 7610 h 10000"/>
                <a:gd name="connsiteX1" fmla="*/ 4712 w 10000"/>
                <a:gd name="connsiteY1" fmla="*/ 9686 h 10000"/>
                <a:gd name="connsiteX2" fmla="*/ 2500 w 10000"/>
                <a:gd name="connsiteY2" fmla="*/ 9686 h 10000"/>
                <a:gd name="connsiteX3" fmla="*/ 1923 w 10000"/>
                <a:gd name="connsiteY3" fmla="*/ 9434 h 10000"/>
                <a:gd name="connsiteX4" fmla="*/ 1635 w 10000"/>
                <a:gd name="connsiteY4" fmla="*/ 10000 h 10000"/>
                <a:gd name="connsiteX5" fmla="*/ 769 w 10000"/>
                <a:gd name="connsiteY5" fmla="*/ 9497 h 10000"/>
                <a:gd name="connsiteX6" fmla="*/ 769 w 10000"/>
                <a:gd name="connsiteY6" fmla="*/ 8931 h 10000"/>
                <a:gd name="connsiteX7" fmla="*/ 2212 w 10000"/>
                <a:gd name="connsiteY7" fmla="*/ 8050 h 10000"/>
                <a:gd name="connsiteX8" fmla="*/ 1635 w 10000"/>
                <a:gd name="connsiteY8" fmla="*/ 7547 h 10000"/>
                <a:gd name="connsiteX9" fmla="*/ 2212 w 10000"/>
                <a:gd name="connsiteY9" fmla="*/ 7107 h 10000"/>
                <a:gd name="connsiteX10" fmla="*/ 3173 w 10000"/>
                <a:gd name="connsiteY10" fmla="*/ 7170 h 10000"/>
                <a:gd name="connsiteX11" fmla="*/ 2981 w 10000"/>
                <a:gd name="connsiteY11" fmla="*/ 6667 h 10000"/>
                <a:gd name="connsiteX12" fmla="*/ 2212 w 10000"/>
                <a:gd name="connsiteY12" fmla="*/ 6667 h 10000"/>
                <a:gd name="connsiteX13" fmla="*/ 2212 w 10000"/>
                <a:gd name="connsiteY13" fmla="*/ 6289 h 10000"/>
                <a:gd name="connsiteX14" fmla="*/ 1538 w 10000"/>
                <a:gd name="connsiteY14" fmla="*/ 6226 h 10000"/>
                <a:gd name="connsiteX15" fmla="*/ 1154 w 10000"/>
                <a:gd name="connsiteY15" fmla="*/ 6604 h 10000"/>
                <a:gd name="connsiteX16" fmla="*/ 577 w 10000"/>
                <a:gd name="connsiteY16" fmla="*/ 6352 h 10000"/>
                <a:gd name="connsiteX17" fmla="*/ 0 w 10000"/>
                <a:gd name="connsiteY17" fmla="*/ 6352 h 10000"/>
                <a:gd name="connsiteX18" fmla="*/ 1462 w 10000"/>
                <a:gd name="connsiteY18" fmla="*/ 5188 h 10000"/>
                <a:gd name="connsiteX19" fmla="*/ 2212 w 10000"/>
                <a:gd name="connsiteY19" fmla="*/ 4277 h 10000"/>
                <a:gd name="connsiteX20" fmla="*/ 0 w 10000"/>
                <a:gd name="connsiteY20" fmla="*/ 4969 h 10000"/>
                <a:gd name="connsiteX21" fmla="*/ 865 w 10000"/>
                <a:gd name="connsiteY21" fmla="*/ 4214 h 10000"/>
                <a:gd name="connsiteX22" fmla="*/ 865 w 10000"/>
                <a:gd name="connsiteY22" fmla="*/ 3648 h 10000"/>
                <a:gd name="connsiteX23" fmla="*/ 1731 w 10000"/>
                <a:gd name="connsiteY23" fmla="*/ 3711 h 10000"/>
                <a:gd name="connsiteX24" fmla="*/ 1635 w 10000"/>
                <a:gd name="connsiteY24" fmla="*/ 2767 h 10000"/>
                <a:gd name="connsiteX25" fmla="*/ 962 w 10000"/>
                <a:gd name="connsiteY25" fmla="*/ 2579 h 10000"/>
                <a:gd name="connsiteX26" fmla="*/ 2019 w 10000"/>
                <a:gd name="connsiteY26" fmla="*/ 1761 h 10000"/>
                <a:gd name="connsiteX27" fmla="*/ 3269 w 10000"/>
                <a:gd name="connsiteY27" fmla="*/ 1824 h 10000"/>
                <a:gd name="connsiteX28" fmla="*/ 3269 w 10000"/>
                <a:gd name="connsiteY28" fmla="*/ 881 h 10000"/>
                <a:gd name="connsiteX29" fmla="*/ 3750 w 10000"/>
                <a:gd name="connsiteY29" fmla="*/ 0 h 10000"/>
                <a:gd name="connsiteX30" fmla="*/ 4327 w 10000"/>
                <a:gd name="connsiteY30" fmla="*/ 0 h 10000"/>
                <a:gd name="connsiteX31" fmla="*/ 4327 w 10000"/>
                <a:gd name="connsiteY31" fmla="*/ 440 h 10000"/>
                <a:gd name="connsiteX32" fmla="*/ 7692 w 10000"/>
                <a:gd name="connsiteY32" fmla="*/ 440 h 10000"/>
                <a:gd name="connsiteX33" fmla="*/ 4519 w 10000"/>
                <a:gd name="connsiteY33" fmla="*/ 2579 h 10000"/>
                <a:gd name="connsiteX34" fmla="*/ 5096 w 10000"/>
                <a:gd name="connsiteY34" fmla="*/ 2830 h 10000"/>
                <a:gd name="connsiteX35" fmla="*/ 10000 w 10000"/>
                <a:gd name="connsiteY35" fmla="*/ 2830 h 10000"/>
                <a:gd name="connsiteX36" fmla="*/ 7788 w 10000"/>
                <a:gd name="connsiteY36" fmla="*/ 5786 h 10000"/>
                <a:gd name="connsiteX37" fmla="*/ 5385 w 10000"/>
                <a:gd name="connsiteY37" fmla="*/ 5723 h 10000"/>
                <a:gd name="connsiteX38" fmla="*/ 5385 w 10000"/>
                <a:gd name="connsiteY38" fmla="*/ 6164 h 10000"/>
                <a:gd name="connsiteX39" fmla="*/ 6731 w 10000"/>
                <a:gd name="connsiteY39" fmla="*/ 6164 h 10000"/>
                <a:gd name="connsiteX40" fmla="*/ 7212 w 10000"/>
                <a:gd name="connsiteY40" fmla="*/ 6478 h 10000"/>
                <a:gd name="connsiteX41" fmla="*/ 4712 w 10000"/>
                <a:gd name="connsiteY41" fmla="*/ 6604 h 10000"/>
                <a:gd name="connsiteX42" fmla="*/ 4135 w 10000"/>
                <a:gd name="connsiteY42" fmla="*/ 6289 h 10000"/>
                <a:gd name="connsiteX43" fmla="*/ 4135 w 10000"/>
                <a:gd name="connsiteY43" fmla="*/ 6855 h 10000"/>
                <a:gd name="connsiteX44" fmla="*/ 4712 w 10000"/>
                <a:gd name="connsiteY44" fmla="*/ 7233 h 10000"/>
                <a:gd name="connsiteX45" fmla="*/ 7212 w 10000"/>
                <a:gd name="connsiteY45" fmla="*/ 7233 h 10000"/>
                <a:gd name="connsiteX46" fmla="*/ 7885 w 10000"/>
                <a:gd name="connsiteY46" fmla="*/ 7610 h 10000"/>
                <a:gd name="connsiteX0" fmla="*/ 7885 w 10000"/>
                <a:gd name="connsiteY0" fmla="*/ 7610 h 10000"/>
                <a:gd name="connsiteX1" fmla="*/ 4712 w 10000"/>
                <a:gd name="connsiteY1" fmla="*/ 9686 h 10000"/>
                <a:gd name="connsiteX2" fmla="*/ 2500 w 10000"/>
                <a:gd name="connsiteY2" fmla="*/ 9686 h 10000"/>
                <a:gd name="connsiteX3" fmla="*/ 1923 w 10000"/>
                <a:gd name="connsiteY3" fmla="*/ 9434 h 10000"/>
                <a:gd name="connsiteX4" fmla="*/ 1635 w 10000"/>
                <a:gd name="connsiteY4" fmla="*/ 10000 h 10000"/>
                <a:gd name="connsiteX5" fmla="*/ 769 w 10000"/>
                <a:gd name="connsiteY5" fmla="*/ 9497 h 10000"/>
                <a:gd name="connsiteX6" fmla="*/ 769 w 10000"/>
                <a:gd name="connsiteY6" fmla="*/ 8931 h 10000"/>
                <a:gd name="connsiteX7" fmla="*/ 2212 w 10000"/>
                <a:gd name="connsiteY7" fmla="*/ 8050 h 10000"/>
                <a:gd name="connsiteX8" fmla="*/ 1635 w 10000"/>
                <a:gd name="connsiteY8" fmla="*/ 7547 h 10000"/>
                <a:gd name="connsiteX9" fmla="*/ 2212 w 10000"/>
                <a:gd name="connsiteY9" fmla="*/ 7107 h 10000"/>
                <a:gd name="connsiteX10" fmla="*/ 3173 w 10000"/>
                <a:gd name="connsiteY10" fmla="*/ 7170 h 10000"/>
                <a:gd name="connsiteX11" fmla="*/ 2981 w 10000"/>
                <a:gd name="connsiteY11" fmla="*/ 6667 h 10000"/>
                <a:gd name="connsiteX12" fmla="*/ 2212 w 10000"/>
                <a:gd name="connsiteY12" fmla="*/ 6667 h 10000"/>
                <a:gd name="connsiteX13" fmla="*/ 2212 w 10000"/>
                <a:gd name="connsiteY13" fmla="*/ 6289 h 10000"/>
                <a:gd name="connsiteX14" fmla="*/ 1538 w 10000"/>
                <a:gd name="connsiteY14" fmla="*/ 6226 h 10000"/>
                <a:gd name="connsiteX15" fmla="*/ 1154 w 10000"/>
                <a:gd name="connsiteY15" fmla="*/ 6604 h 10000"/>
                <a:gd name="connsiteX16" fmla="*/ 577 w 10000"/>
                <a:gd name="connsiteY16" fmla="*/ 6352 h 10000"/>
                <a:gd name="connsiteX17" fmla="*/ 0 w 10000"/>
                <a:gd name="connsiteY17" fmla="*/ 6352 h 10000"/>
                <a:gd name="connsiteX18" fmla="*/ 1462 w 10000"/>
                <a:gd name="connsiteY18" fmla="*/ 5188 h 10000"/>
                <a:gd name="connsiteX19" fmla="*/ 1090 w 10000"/>
                <a:gd name="connsiteY19" fmla="*/ 5121 h 10000"/>
                <a:gd name="connsiteX20" fmla="*/ 2212 w 10000"/>
                <a:gd name="connsiteY20" fmla="*/ 4277 h 10000"/>
                <a:gd name="connsiteX21" fmla="*/ 0 w 10000"/>
                <a:gd name="connsiteY21" fmla="*/ 4969 h 10000"/>
                <a:gd name="connsiteX22" fmla="*/ 865 w 10000"/>
                <a:gd name="connsiteY22" fmla="*/ 4214 h 10000"/>
                <a:gd name="connsiteX23" fmla="*/ 865 w 10000"/>
                <a:gd name="connsiteY23" fmla="*/ 3648 h 10000"/>
                <a:gd name="connsiteX24" fmla="*/ 1731 w 10000"/>
                <a:gd name="connsiteY24" fmla="*/ 3711 h 10000"/>
                <a:gd name="connsiteX25" fmla="*/ 1635 w 10000"/>
                <a:gd name="connsiteY25" fmla="*/ 2767 h 10000"/>
                <a:gd name="connsiteX26" fmla="*/ 962 w 10000"/>
                <a:gd name="connsiteY26" fmla="*/ 2579 h 10000"/>
                <a:gd name="connsiteX27" fmla="*/ 2019 w 10000"/>
                <a:gd name="connsiteY27" fmla="*/ 1761 h 10000"/>
                <a:gd name="connsiteX28" fmla="*/ 3269 w 10000"/>
                <a:gd name="connsiteY28" fmla="*/ 1824 h 10000"/>
                <a:gd name="connsiteX29" fmla="*/ 3269 w 10000"/>
                <a:gd name="connsiteY29" fmla="*/ 881 h 10000"/>
                <a:gd name="connsiteX30" fmla="*/ 3750 w 10000"/>
                <a:gd name="connsiteY30" fmla="*/ 0 h 10000"/>
                <a:gd name="connsiteX31" fmla="*/ 4327 w 10000"/>
                <a:gd name="connsiteY31" fmla="*/ 0 h 10000"/>
                <a:gd name="connsiteX32" fmla="*/ 4327 w 10000"/>
                <a:gd name="connsiteY32" fmla="*/ 440 h 10000"/>
                <a:gd name="connsiteX33" fmla="*/ 7692 w 10000"/>
                <a:gd name="connsiteY33" fmla="*/ 440 h 10000"/>
                <a:gd name="connsiteX34" fmla="*/ 4519 w 10000"/>
                <a:gd name="connsiteY34" fmla="*/ 2579 h 10000"/>
                <a:gd name="connsiteX35" fmla="*/ 5096 w 10000"/>
                <a:gd name="connsiteY35" fmla="*/ 2830 h 10000"/>
                <a:gd name="connsiteX36" fmla="*/ 10000 w 10000"/>
                <a:gd name="connsiteY36" fmla="*/ 2830 h 10000"/>
                <a:gd name="connsiteX37" fmla="*/ 7788 w 10000"/>
                <a:gd name="connsiteY37" fmla="*/ 5786 h 10000"/>
                <a:gd name="connsiteX38" fmla="*/ 5385 w 10000"/>
                <a:gd name="connsiteY38" fmla="*/ 5723 h 10000"/>
                <a:gd name="connsiteX39" fmla="*/ 5385 w 10000"/>
                <a:gd name="connsiteY39" fmla="*/ 6164 h 10000"/>
                <a:gd name="connsiteX40" fmla="*/ 6731 w 10000"/>
                <a:gd name="connsiteY40" fmla="*/ 6164 h 10000"/>
                <a:gd name="connsiteX41" fmla="*/ 7212 w 10000"/>
                <a:gd name="connsiteY41" fmla="*/ 6478 h 10000"/>
                <a:gd name="connsiteX42" fmla="*/ 4712 w 10000"/>
                <a:gd name="connsiteY42" fmla="*/ 6604 h 10000"/>
                <a:gd name="connsiteX43" fmla="*/ 4135 w 10000"/>
                <a:gd name="connsiteY43" fmla="*/ 6289 h 10000"/>
                <a:gd name="connsiteX44" fmla="*/ 4135 w 10000"/>
                <a:gd name="connsiteY44" fmla="*/ 6855 h 10000"/>
                <a:gd name="connsiteX45" fmla="*/ 4712 w 10000"/>
                <a:gd name="connsiteY45" fmla="*/ 7233 h 10000"/>
                <a:gd name="connsiteX46" fmla="*/ 7212 w 10000"/>
                <a:gd name="connsiteY46" fmla="*/ 7233 h 10000"/>
                <a:gd name="connsiteX47" fmla="*/ 7885 w 10000"/>
                <a:gd name="connsiteY47" fmla="*/ 7610 h 10000"/>
                <a:gd name="connsiteX0" fmla="*/ 7885 w 10000"/>
                <a:gd name="connsiteY0" fmla="*/ 7610 h 10000"/>
                <a:gd name="connsiteX1" fmla="*/ 4712 w 10000"/>
                <a:gd name="connsiteY1" fmla="*/ 9686 h 10000"/>
                <a:gd name="connsiteX2" fmla="*/ 2500 w 10000"/>
                <a:gd name="connsiteY2" fmla="*/ 9686 h 10000"/>
                <a:gd name="connsiteX3" fmla="*/ 1923 w 10000"/>
                <a:gd name="connsiteY3" fmla="*/ 9434 h 10000"/>
                <a:gd name="connsiteX4" fmla="*/ 1635 w 10000"/>
                <a:gd name="connsiteY4" fmla="*/ 10000 h 10000"/>
                <a:gd name="connsiteX5" fmla="*/ 769 w 10000"/>
                <a:gd name="connsiteY5" fmla="*/ 9497 h 10000"/>
                <a:gd name="connsiteX6" fmla="*/ 769 w 10000"/>
                <a:gd name="connsiteY6" fmla="*/ 8931 h 10000"/>
                <a:gd name="connsiteX7" fmla="*/ 2212 w 10000"/>
                <a:gd name="connsiteY7" fmla="*/ 8050 h 10000"/>
                <a:gd name="connsiteX8" fmla="*/ 1635 w 10000"/>
                <a:gd name="connsiteY8" fmla="*/ 7547 h 10000"/>
                <a:gd name="connsiteX9" fmla="*/ 2212 w 10000"/>
                <a:gd name="connsiteY9" fmla="*/ 7107 h 10000"/>
                <a:gd name="connsiteX10" fmla="*/ 3173 w 10000"/>
                <a:gd name="connsiteY10" fmla="*/ 7170 h 10000"/>
                <a:gd name="connsiteX11" fmla="*/ 2981 w 10000"/>
                <a:gd name="connsiteY11" fmla="*/ 6667 h 10000"/>
                <a:gd name="connsiteX12" fmla="*/ 2212 w 10000"/>
                <a:gd name="connsiteY12" fmla="*/ 6667 h 10000"/>
                <a:gd name="connsiteX13" fmla="*/ 2212 w 10000"/>
                <a:gd name="connsiteY13" fmla="*/ 6289 h 10000"/>
                <a:gd name="connsiteX14" fmla="*/ 1538 w 10000"/>
                <a:gd name="connsiteY14" fmla="*/ 6226 h 10000"/>
                <a:gd name="connsiteX15" fmla="*/ 1154 w 10000"/>
                <a:gd name="connsiteY15" fmla="*/ 6604 h 10000"/>
                <a:gd name="connsiteX16" fmla="*/ 577 w 10000"/>
                <a:gd name="connsiteY16" fmla="*/ 6352 h 10000"/>
                <a:gd name="connsiteX17" fmla="*/ 0 w 10000"/>
                <a:gd name="connsiteY17" fmla="*/ 6352 h 10000"/>
                <a:gd name="connsiteX18" fmla="*/ 1462 w 10000"/>
                <a:gd name="connsiteY18" fmla="*/ 5188 h 10000"/>
                <a:gd name="connsiteX19" fmla="*/ 1090 w 10000"/>
                <a:gd name="connsiteY19" fmla="*/ 5121 h 10000"/>
                <a:gd name="connsiteX20" fmla="*/ 789 w 10000"/>
                <a:gd name="connsiteY20" fmla="*/ 5057 h 10000"/>
                <a:gd name="connsiteX21" fmla="*/ 0 w 10000"/>
                <a:gd name="connsiteY21" fmla="*/ 4969 h 10000"/>
                <a:gd name="connsiteX22" fmla="*/ 865 w 10000"/>
                <a:gd name="connsiteY22" fmla="*/ 4214 h 10000"/>
                <a:gd name="connsiteX23" fmla="*/ 865 w 10000"/>
                <a:gd name="connsiteY23" fmla="*/ 3648 h 10000"/>
                <a:gd name="connsiteX24" fmla="*/ 1731 w 10000"/>
                <a:gd name="connsiteY24" fmla="*/ 3711 h 10000"/>
                <a:gd name="connsiteX25" fmla="*/ 1635 w 10000"/>
                <a:gd name="connsiteY25" fmla="*/ 2767 h 10000"/>
                <a:gd name="connsiteX26" fmla="*/ 962 w 10000"/>
                <a:gd name="connsiteY26" fmla="*/ 2579 h 10000"/>
                <a:gd name="connsiteX27" fmla="*/ 2019 w 10000"/>
                <a:gd name="connsiteY27" fmla="*/ 1761 h 10000"/>
                <a:gd name="connsiteX28" fmla="*/ 3269 w 10000"/>
                <a:gd name="connsiteY28" fmla="*/ 1824 h 10000"/>
                <a:gd name="connsiteX29" fmla="*/ 3269 w 10000"/>
                <a:gd name="connsiteY29" fmla="*/ 881 h 10000"/>
                <a:gd name="connsiteX30" fmla="*/ 3750 w 10000"/>
                <a:gd name="connsiteY30" fmla="*/ 0 h 10000"/>
                <a:gd name="connsiteX31" fmla="*/ 4327 w 10000"/>
                <a:gd name="connsiteY31" fmla="*/ 0 h 10000"/>
                <a:gd name="connsiteX32" fmla="*/ 4327 w 10000"/>
                <a:gd name="connsiteY32" fmla="*/ 440 h 10000"/>
                <a:gd name="connsiteX33" fmla="*/ 7692 w 10000"/>
                <a:gd name="connsiteY33" fmla="*/ 440 h 10000"/>
                <a:gd name="connsiteX34" fmla="*/ 4519 w 10000"/>
                <a:gd name="connsiteY34" fmla="*/ 2579 h 10000"/>
                <a:gd name="connsiteX35" fmla="*/ 5096 w 10000"/>
                <a:gd name="connsiteY35" fmla="*/ 2830 h 10000"/>
                <a:gd name="connsiteX36" fmla="*/ 10000 w 10000"/>
                <a:gd name="connsiteY36" fmla="*/ 2830 h 10000"/>
                <a:gd name="connsiteX37" fmla="*/ 7788 w 10000"/>
                <a:gd name="connsiteY37" fmla="*/ 5786 h 10000"/>
                <a:gd name="connsiteX38" fmla="*/ 5385 w 10000"/>
                <a:gd name="connsiteY38" fmla="*/ 5723 h 10000"/>
                <a:gd name="connsiteX39" fmla="*/ 5385 w 10000"/>
                <a:gd name="connsiteY39" fmla="*/ 6164 h 10000"/>
                <a:gd name="connsiteX40" fmla="*/ 6731 w 10000"/>
                <a:gd name="connsiteY40" fmla="*/ 6164 h 10000"/>
                <a:gd name="connsiteX41" fmla="*/ 7212 w 10000"/>
                <a:gd name="connsiteY41" fmla="*/ 6478 h 10000"/>
                <a:gd name="connsiteX42" fmla="*/ 4712 w 10000"/>
                <a:gd name="connsiteY42" fmla="*/ 6604 h 10000"/>
                <a:gd name="connsiteX43" fmla="*/ 4135 w 10000"/>
                <a:gd name="connsiteY43" fmla="*/ 6289 h 10000"/>
                <a:gd name="connsiteX44" fmla="*/ 4135 w 10000"/>
                <a:gd name="connsiteY44" fmla="*/ 6855 h 10000"/>
                <a:gd name="connsiteX45" fmla="*/ 4712 w 10000"/>
                <a:gd name="connsiteY45" fmla="*/ 7233 h 10000"/>
                <a:gd name="connsiteX46" fmla="*/ 7212 w 10000"/>
                <a:gd name="connsiteY46" fmla="*/ 7233 h 10000"/>
                <a:gd name="connsiteX47" fmla="*/ 7885 w 10000"/>
                <a:gd name="connsiteY47" fmla="*/ 7610 h 10000"/>
                <a:gd name="connsiteX0" fmla="*/ 7885 w 9771"/>
                <a:gd name="connsiteY0" fmla="*/ 7610 h 10000"/>
                <a:gd name="connsiteX1" fmla="*/ 4712 w 9771"/>
                <a:gd name="connsiteY1" fmla="*/ 9686 h 10000"/>
                <a:gd name="connsiteX2" fmla="*/ 2500 w 9771"/>
                <a:gd name="connsiteY2" fmla="*/ 9686 h 10000"/>
                <a:gd name="connsiteX3" fmla="*/ 1923 w 9771"/>
                <a:gd name="connsiteY3" fmla="*/ 9434 h 10000"/>
                <a:gd name="connsiteX4" fmla="*/ 1635 w 9771"/>
                <a:gd name="connsiteY4" fmla="*/ 10000 h 10000"/>
                <a:gd name="connsiteX5" fmla="*/ 769 w 9771"/>
                <a:gd name="connsiteY5" fmla="*/ 9497 h 10000"/>
                <a:gd name="connsiteX6" fmla="*/ 769 w 9771"/>
                <a:gd name="connsiteY6" fmla="*/ 8931 h 10000"/>
                <a:gd name="connsiteX7" fmla="*/ 2212 w 9771"/>
                <a:gd name="connsiteY7" fmla="*/ 8050 h 10000"/>
                <a:gd name="connsiteX8" fmla="*/ 1635 w 9771"/>
                <a:gd name="connsiteY8" fmla="*/ 7547 h 10000"/>
                <a:gd name="connsiteX9" fmla="*/ 2212 w 9771"/>
                <a:gd name="connsiteY9" fmla="*/ 7107 h 10000"/>
                <a:gd name="connsiteX10" fmla="*/ 3173 w 9771"/>
                <a:gd name="connsiteY10" fmla="*/ 7170 h 10000"/>
                <a:gd name="connsiteX11" fmla="*/ 2981 w 9771"/>
                <a:gd name="connsiteY11" fmla="*/ 6667 h 10000"/>
                <a:gd name="connsiteX12" fmla="*/ 2212 w 9771"/>
                <a:gd name="connsiteY12" fmla="*/ 6667 h 10000"/>
                <a:gd name="connsiteX13" fmla="*/ 2212 w 9771"/>
                <a:gd name="connsiteY13" fmla="*/ 6289 h 10000"/>
                <a:gd name="connsiteX14" fmla="*/ 1538 w 9771"/>
                <a:gd name="connsiteY14" fmla="*/ 6226 h 10000"/>
                <a:gd name="connsiteX15" fmla="*/ 1154 w 9771"/>
                <a:gd name="connsiteY15" fmla="*/ 6604 h 10000"/>
                <a:gd name="connsiteX16" fmla="*/ 577 w 9771"/>
                <a:gd name="connsiteY16" fmla="*/ 6352 h 10000"/>
                <a:gd name="connsiteX17" fmla="*/ 0 w 9771"/>
                <a:gd name="connsiteY17" fmla="*/ 6352 h 10000"/>
                <a:gd name="connsiteX18" fmla="*/ 1462 w 9771"/>
                <a:gd name="connsiteY18" fmla="*/ 5188 h 10000"/>
                <a:gd name="connsiteX19" fmla="*/ 1090 w 9771"/>
                <a:gd name="connsiteY19" fmla="*/ 5121 h 10000"/>
                <a:gd name="connsiteX20" fmla="*/ 789 w 9771"/>
                <a:gd name="connsiteY20" fmla="*/ 5057 h 10000"/>
                <a:gd name="connsiteX21" fmla="*/ 0 w 9771"/>
                <a:gd name="connsiteY21" fmla="*/ 4969 h 10000"/>
                <a:gd name="connsiteX22" fmla="*/ 865 w 9771"/>
                <a:gd name="connsiteY22" fmla="*/ 4214 h 10000"/>
                <a:gd name="connsiteX23" fmla="*/ 865 w 9771"/>
                <a:gd name="connsiteY23" fmla="*/ 3648 h 10000"/>
                <a:gd name="connsiteX24" fmla="*/ 1731 w 9771"/>
                <a:gd name="connsiteY24" fmla="*/ 3711 h 10000"/>
                <a:gd name="connsiteX25" fmla="*/ 1635 w 9771"/>
                <a:gd name="connsiteY25" fmla="*/ 2767 h 10000"/>
                <a:gd name="connsiteX26" fmla="*/ 962 w 9771"/>
                <a:gd name="connsiteY26" fmla="*/ 2579 h 10000"/>
                <a:gd name="connsiteX27" fmla="*/ 2019 w 9771"/>
                <a:gd name="connsiteY27" fmla="*/ 1761 h 10000"/>
                <a:gd name="connsiteX28" fmla="*/ 3269 w 9771"/>
                <a:gd name="connsiteY28" fmla="*/ 1824 h 10000"/>
                <a:gd name="connsiteX29" fmla="*/ 3269 w 9771"/>
                <a:gd name="connsiteY29" fmla="*/ 881 h 10000"/>
                <a:gd name="connsiteX30" fmla="*/ 3750 w 9771"/>
                <a:gd name="connsiteY30" fmla="*/ 0 h 10000"/>
                <a:gd name="connsiteX31" fmla="*/ 4327 w 9771"/>
                <a:gd name="connsiteY31" fmla="*/ 0 h 10000"/>
                <a:gd name="connsiteX32" fmla="*/ 4327 w 9771"/>
                <a:gd name="connsiteY32" fmla="*/ 440 h 10000"/>
                <a:gd name="connsiteX33" fmla="*/ 7692 w 9771"/>
                <a:gd name="connsiteY33" fmla="*/ 440 h 10000"/>
                <a:gd name="connsiteX34" fmla="*/ 4519 w 9771"/>
                <a:gd name="connsiteY34" fmla="*/ 2579 h 10000"/>
                <a:gd name="connsiteX35" fmla="*/ 5096 w 9771"/>
                <a:gd name="connsiteY35" fmla="*/ 2830 h 10000"/>
                <a:gd name="connsiteX36" fmla="*/ 9771 w 9771"/>
                <a:gd name="connsiteY36" fmla="*/ 2951 h 10000"/>
                <a:gd name="connsiteX37" fmla="*/ 7788 w 9771"/>
                <a:gd name="connsiteY37" fmla="*/ 5786 h 10000"/>
                <a:gd name="connsiteX38" fmla="*/ 5385 w 9771"/>
                <a:gd name="connsiteY38" fmla="*/ 5723 h 10000"/>
                <a:gd name="connsiteX39" fmla="*/ 5385 w 9771"/>
                <a:gd name="connsiteY39" fmla="*/ 6164 h 10000"/>
                <a:gd name="connsiteX40" fmla="*/ 6731 w 9771"/>
                <a:gd name="connsiteY40" fmla="*/ 6164 h 10000"/>
                <a:gd name="connsiteX41" fmla="*/ 7212 w 9771"/>
                <a:gd name="connsiteY41" fmla="*/ 6478 h 10000"/>
                <a:gd name="connsiteX42" fmla="*/ 4712 w 9771"/>
                <a:gd name="connsiteY42" fmla="*/ 6604 h 10000"/>
                <a:gd name="connsiteX43" fmla="*/ 4135 w 9771"/>
                <a:gd name="connsiteY43" fmla="*/ 6289 h 10000"/>
                <a:gd name="connsiteX44" fmla="*/ 4135 w 9771"/>
                <a:gd name="connsiteY44" fmla="*/ 6855 h 10000"/>
                <a:gd name="connsiteX45" fmla="*/ 4712 w 9771"/>
                <a:gd name="connsiteY45" fmla="*/ 7233 h 10000"/>
                <a:gd name="connsiteX46" fmla="*/ 7212 w 9771"/>
                <a:gd name="connsiteY46" fmla="*/ 7233 h 10000"/>
                <a:gd name="connsiteX47" fmla="*/ 7885 w 9771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5511 w 10000"/>
                <a:gd name="connsiteY38" fmla="*/ 5723 h 10000"/>
                <a:gd name="connsiteX39" fmla="*/ 5511 w 10000"/>
                <a:gd name="connsiteY39" fmla="*/ 6164 h 10000"/>
                <a:gd name="connsiteX40" fmla="*/ 6889 w 10000"/>
                <a:gd name="connsiteY40" fmla="*/ 6164 h 10000"/>
                <a:gd name="connsiteX41" fmla="*/ 7381 w 10000"/>
                <a:gd name="connsiteY41" fmla="*/ 6478 h 10000"/>
                <a:gd name="connsiteX42" fmla="*/ 4822 w 10000"/>
                <a:gd name="connsiteY42" fmla="*/ 6604 h 10000"/>
                <a:gd name="connsiteX43" fmla="*/ 4232 w 10000"/>
                <a:gd name="connsiteY43" fmla="*/ 6289 h 10000"/>
                <a:gd name="connsiteX44" fmla="*/ 4232 w 10000"/>
                <a:gd name="connsiteY44" fmla="*/ 6855 h 10000"/>
                <a:gd name="connsiteX45" fmla="*/ 4822 w 10000"/>
                <a:gd name="connsiteY45" fmla="*/ 7233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5511 w 10000"/>
                <a:gd name="connsiteY38" fmla="*/ 5723 h 10000"/>
                <a:gd name="connsiteX39" fmla="*/ 7747 w 10000"/>
                <a:gd name="connsiteY39" fmla="*/ 6344 h 10000"/>
                <a:gd name="connsiteX40" fmla="*/ 6889 w 10000"/>
                <a:gd name="connsiteY40" fmla="*/ 6164 h 10000"/>
                <a:gd name="connsiteX41" fmla="*/ 7381 w 10000"/>
                <a:gd name="connsiteY41" fmla="*/ 6478 h 10000"/>
                <a:gd name="connsiteX42" fmla="*/ 4822 w 10000"/>
                <a:gd name="connsiteY42" fmla="*/ 6604 h 10000"/>
                <a:gd name="connsiteX43" fmla="*/ 4232 w 10000"/>
                <a:gd name="connsiteY43" fmla="*/ 6289 h 10000"/>
                <a:gd name="connsiteX44" fmla="*/ 4232 w 10000"/>
                <a:gd name="connsiteY44" fmla="*/ 6855 h 10000"/>
                <a:gd name="connsiteX45" fmla="*/ 4822 w 10000"/>
                <a:gd name="connsiteY45" fmla="*/ 7233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7839 w 10000"/>
                <a:gd name="connsiteY38" fmla="*/ 6035 h 10000"/>
                <a:gd name="connsiteX39" fmla="*/ 7747 w 10000"/>
                <a:gd name="connsiteY39" fmla="*/ 6344 h 10000"/>
                <a:gd name="connsiteX40" fmla="*/ 6889 w 10000"/>
                <a:gd name="connsiteY40" fmla="*/ 6164 h 10000"/>
                <a:gd name="connsiteX41" fmla="*/ 7381 w 10000"/>
                <a:gd name="connsiteY41" fmla="*/ 6478 h 10000"/>
                <a:gd name="connsiteX42" fmla="*/ 4822 w 10000"/>
                <a:gd name="connsiteY42" fmla="*/ 6604 h 10000"/>
                <a:gd name="connsiteX43" fmla="*/ 4232 w 10000"/>
                <a:gd name="connsiteY43" fmla="*/ 6289 h 10000"/>
                <a:gd name="connsiteX44" fmla="*/ 4232 w 10000"/>
                <a:gd name="connsiteY44" fmla="*/ 6855 h 10000"/>
                <a:gd name="connsiteX45" fmla="*/ 4822 w 10000"/>
                <a:gd name="connsiteY45" fmla="*/ 7233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7839 w 10000"/>
                <a:gd name="connsiteY38" fmla="*/ 6035 h 10000"/>
                <a:gd name="connsiteX39" fmla="*/ 7747 w 10000"/>
                <a:gd name="connsiteY39" fmla="*/ 6344 h 10000"/>
                <a:gd name="connsiteX40" fmla="*/ 6889 w 10000"/>
                <a:gd name="connsiteY40" fmla="*/ 6164 h 10000"/>
                <a:gd name="connsiteX41" fmla="*/ 7381 w 10000"/>
                <a:gd name="connsiteY41" fmla="*/ 6478 h 10000"/>
                <a:gd name="connsiteX42" fmla="*/ 6138 w 10000"/>
                <a:gd name="connsiteY42" fmla="*/ 7028 h 10000"/>
                <a:gd name="connsiteX43" fmla="*/ 4232 w 10000"/>
                <a:gd name="connsiteY43" fmla="*/ 6289 h 10000"/>
                <a:gd name="connsiteX44" fmla="*/ 4232 w 10000"/>
                <a:gd name="connsiteY44" fmla="*/ 6855 h 10000"/>
                <a:gd name="connsiteX45" fmla="*/ 4822 w 10000"/>
                <a:gd name="connsiteY45" fmla="*/ 7233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7839 w 10000"/>
                <a:gd name="connsiteY38" fmla="*/ 6035 h 10000"/>
                <a:gd name="connsiteX39" fmla="*/ 7747 w 10000"/>
                <a:gd name="connsiteY39" fmla="*/ 6344 h 10000"/>
                <a:gd name="connsiteX40" fmla="*/ 6889 w 10000"/>
                <a:gd name="connsiteY40" fmla="*/ 6164 h 10000"/>
                <a:gd name="connsiteX41" fmla="*/ 7160 w 10000"/>
                <a:gd name="connsiteY41" fmla="*/ 6978 h 10000"/>
                <a:gd name="connsiteX42" fmla="*/ 6138 w 10000"/>
                <a:gd name="connsiteY42" fmla="*/ 7028 h 10000"/>
                <a:gd name="connsiteX43" fmla="*/ 4232 w 10000"/>
                <a:gd name="connsiteY43" fmla="*/ 6289 h 10000"/>
                <a:gd name="connsiteX44" fmla="*/ 4232 w 10000"/>
                <a:gd name="connsiteY44" fmla="*/ 6855 h 10000"/>
                <a:gd name="connsiteX45" fmla="*/ 4822 w 10000"/>
                <a:gd name="connsiteY45" fmla="*/ 7233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7839 w 10000"/>
                <a:gd name="connsiteY38" fmla="*/ 6035 h 10000"/>
                <a:gd name="connsiteX39" fmla="*/ 7747 w 10000"/>
                <a:gd name="connsiteY39" fmla="*/ 6344 h 10000"/>
                <a:gd name="connsiteX40" fmla="*/ 6889 w 10000"/>
                <a:gd name="connsiteY40" fmla="*/ 6164 h 10000"/>
                <a:gd name="connsiteX41" fmla="*/ 7160 w 10000"/>
                <a:gd name="connsiteY41" fmla="*/ 6978 h 10000"/>
                <a:gd name="connsiteX42" fmla="*/ 6138 w 10000"/>
                <a:gd name="connsiteY42" fmla="*/ 7028 h 10000"/>
                <a:gd name="connsiteX43" fmla="*/ 4232 w 10000"/>
                <a:gd name="connsiteY43" fmla="*/ 6289 h 10000"/>
                <a:gd name="connsiteX44" fmla="*/ 5554 w 10000"/>
                <a:gd name="connsiteY44" fmla="*/ 6993 h 10000"/>
                <a:gd name="connsiteX45" fmla="*/ 4822 w 10000"/>
                <a:gd name="connsiteY45" fmla="*/ 7233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7839 w 10000"/>
                <a:gd name="connsiteY38" fmla="*/ 6035 h 10000"/>
                <a:gd name="connsiteX39" fmla="*/ 7747 w 10000"/>
                <a:gd name="connsiteY39" fmla="*/ 6344 h 10000"/>
                <a:gd name="connsiteX40" fmla="*/ 6889 w 10000"/>
                <a:gd name="connsiteY40" fmla="*/ 6164 h 10000"/>
                <a:gd name="connsiteX41" fmla="*/ 7160 w 10000"/>
                <a:gd name="connsiteY41" fmla="*/ 6978 h 10000"/>
                <a:gd name="connsiteX42" fmla="*/ 6138 w 10000"/>
                <a:gd name="connsiteY42" fmla="*/ 7028 h 10000"/>
                <a:gd name="connsiteX43" fmla="*/ 5460 w 10000"/>
                <a:gd name="connsiteY43" fmla="*/ 6913 h 10000"/>
                <a:gd name="connsiteX44" fmla="*/ 5554 w 10000"/>
                <a:gd name="connsiteY44" fmla="*/ 6993 h 10000"/>
                <a:gd name="connsiteX45" fmla="*/ 4822 w 10000"/>
                <a:gd name="connsiteY45" fmla="*/ 7233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10000"/>
                <a:gd name="connsiteX1" fmla="*/ 4822 w 10000"/>
                <a:gd name="connsiteY1" fmla="*/ 9686 h 10000"/>
                <a:gd name="connsiteX2" fmla="*/ 2559 w 10000"/>
                <a:gd name="connsiteY2" fmla="*/ 9686 h 10000"/>
                <a:gd name="connsiteX3" fmla="*/ 1968 w 10000"/>
                <a:gd name="connsiteY3" fmla="*/ 9434 h 10000"/>
                <a:gd name="connsiteX4" fmla="*/ 1673 w 10000"/>
                <a:gd name="connsiteY4" fmla="*/ 10000 h 10000"/>
                <a:gd name="connsiteX5" fmla="*/ 787 w 10000"/>
                <a:gd name="connsiteY5" fmla="*/ 9497 h 10000"/>
                <a:gd name="connsiteX6" fmla="*/ 787 w 10000"/>
                <a:gd name="connsiteY6" fmla="*/ 8931 h 10000"/>
                <a:gd name="connsiteX7" fmla="*/ 2264 w 10000"/>
                <a:gd name="connsiteY7" fmla="*/ 8050 h 10000"/>
                <a:gd name="connsiteX8" fmla="*/ 1673 w 10000"/>
                <a:gd name="connsiteY8" fmla="*/ 7547 h 10000"/>
                <a:gd name="connsiteX9" fmla="*/ 2264 w 10000"/>
                <a:gd name="connsiteY9" fmla="*/ 7107 h 10000"/>
                <a:gd name="connsiteX10" fmla="*/ 3247 w 10000"/>
                <a:gd name="connsiteY10" fmla="*/ 7170 h 10000"/>
                <a:gd name="connsiteX11" fmla="*/ 3051 w 10000"/>
                <a:gd name="connsiteY11" fmla="*/ 6667 h 10000"/>
                <a:gd name="connsiteX12" fmla="*/ 2264 w 10000"/>
                <a:gd name="connsiteY12" fmla="*/ 6667 h 10000"/>
                <a:gd name="connsiteX13" fmla="*/ 2264 w 10000"/>
                <a:gd name="connsiteY13" fmla="*/ 6289 h 10000"/>
                <a:gd name="connsiteX14" fmla="*/ 1574 w 10000"/>
                <a:gd name="connsiteY14" fmla="*/ 6226 h 10000"/>
                <a:gd name="connsiteX15" fmla="*/ 1181 w 10000"/>
                <a:gd name="connsiteY15" fmla="*/ 6604 h 10000"/>
                <a:gd name="connsiteX16" fmla="*/ 591 w 10000"/>
                <a:gd name="connsiteY16" fmla="*/ 6352 h 10000"/>
                <a:gd name="connsiteX17" fmla="*/ 0 w 10000"/>
                <a:gd name="connsiteY17" fmla="*/ 6352 h 10000"/>
                <a:gd name="connsiteX18" fmla="*/ 1496 w 10000"/>
                <a:gd name="connsiteY18" fmla="*/ 5188 h 10000"/>
                <a:gd name="connsiteX19" fmla="*/ 1116 w 10000"/>
                <a:gd name="connsiteY19" fmla="*/ 5121 h 10000"/>
                <a:gd name="connsiteX20" fmla="*/ 807 w 10000"/>
                <a:gd name="connsiteY20" fmla="*/ 5057 h 10000"/>
                <a:gd name="connsiteX21" fmla="*/ 0 w 10000"/>
                <a:gd name="connsiteY21" fmla="*/ 4969 h 10000"/>
                <a:gd name="connsiteX22" fmla="*/ 885 w 10000"/>
                <a:gd name="connsiteY22" fmla="*/ 4214 h 10000"/>
                <a:gd name="connsiteX23" fmla="*/ 885 w 10000"/>
                <a:gd name="connsiteY23" fmla="*/ 3648 h 10000"/>
                <a:gd name="connsiteX24" fmla="*/ 1772 w 10000"/>
                <a:gd name="connsiteY24" fmla="*/ 3711 h 10000"/>
                <a:gd name="connsiteX25" fmla="*/ 1673 w 10000"/>
                <a:gd name="connsiteY25" fmla="*/ 2767 h 10000"/>
                <a:gd name="connsiteX26" fmla="*/ 985 w 10000"/>
                <a:gd name="connsiteY26" fmla="*/ 2579 h 10000"/>
                <a:gd name="connsiteX27" fmla="*/ 2066 w 10000"/>
                <a:gd name="connsiteY27" fmla="*/ 1761 h 10000"/>
                <a:gd name="connsiteX28" fmla="*/ 3346 w 10000"/>
                <a:gd name="connsiteY28" fmla="*/ 1824 h 10000"/>
                <a:gd name="connsiteX29" fmla="*/ 3346 w 10000"/>
                <a:gd name="connsiteY29" fmla="*/ 881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0 h 10000"/>
                <a:gd name="connsiteX33" fmla="*/ 7872 w 10000"/>
                <a:gd name="connsiteY33" fmla="*/ 440 h 10000"/>
                <a:gd name="connsiteX34" fmla="*/ 4625 w 10000"/>
                <a:gd name="connsiteY34" fmla="*/ 2579 h 10000"/>
                <a:gd name="connsiteX35" fmla="*/ 5215 w 10000"/>
                <a:gd name="connsiteY35" fmla="*/ 2830 h 10000"/>
                <a:gd name="connsiteX36" fmla="*/ 10000 w 10000"/>
                <a:gd name="connsiteY36" fmla="*/ 2951 h 10000"/>
                <a:gd name="connsiteX37" fmla="*/ 7971 w 10000"/>
                <a:gd name="connsiteY37" fmla="*/ 5786 h 10000"/>
                <a:gd name="connsiteX38" fmla="*/ 7839 w 10000"/>
                <a:gd name="connsiteY38" fmla="*/ 6035 h 10000"/>
                <a:gd name="connsiteX39" fmla="*/ 7747 w 10000"/>
                <a:gd name="connsiteY39" fmla="*/ 6344 h 10000"/>
                <a:gd name="connsiteX40" fmla="*/ 6889 w 10000"/>
                <a:gd name="connsiteY40" fmla="*/ 6164 h 10000"/>
                <a:gd name="connsiteX41" fmla="*/ 7160 w 10000"/>
                <a:gd name="connsiteY41" fmla="*/ 6978 h 10000"/>
                <a:gd name="connsiteX42" fmla="*/ 6138 w 10000"/>
                <a:gd name="connsiteY42" fmla="*/ 7028 h 10000"/>
                <a:gd name="connsiteX43" fmla="*/ 5460 w 10000"/>
                <a:gd name="connsiteY43" fmla="*/ 6913 h 10000"/>
                <a:gd name="connsiteX44" fmla="*/ 5554 w 10000"/>
                <a:gd name="connsiteY44" fmla="*/ 6993 h 10000"/>
                <a:gd name="connsiteX45" fmla="*/ 5401 w 10000"/>
                <a:gd name="connsiteY45" fmla="*/ 7216 h 10000"/>
                <a:gd name="connsiteX46" fmla="*/ 7381 w 10000"/>
                <a:gd name="connsiteY46" fmla="*/ 7233 h 10000"/>
                <a:gd name="connsiteX47" fmla="*/ 8070 w 10000"/>
                <a:gd name="connsiteY47" fmla="*/ 7610 h 10000"/>
                <a:gd name="connsiteX0" fmla="*/ 8070 w 10000"/>
                <a:gd name="connsiteY0" fmla="*/ 7610 h 9917"/>
                <a:gd name="connsiteX1" fmla="*/ 4822 w 10000"/>
                <a:gd name="connsiteY1" fmla="*/ 9686 h 9917"/>
                <a:gd name="connsiteX2" fmla="*/ 2559 w 10000"/>
                <a:gd name="connsiteY2" fmla="*/ 9686 h 9917"/>
                <a:gd name="connsiteX3" fmla="*/ 1968 w 10000"/>
                <a:gd name="connsiteY3" fmla="*/ 9434 h 9917"/>
                <a:gd name="connsiteX4" fmla="*/ 1139 w 10000"/>
                <a:gd name="connsiteY4" fmla="*/ 9917 h 9917"/>
                <a:gd name="connsiteX5" fmla="*/ 787 w 10000"/>
                <a:gd name="connsiteY5" fmla="*/ 9497 h 9917"/>
                <a:gd name="connsiteX6" fmla="*/ 787 w 10000"/>
                <a:gd name="connsiteY6" fmla="*/ 8931 h 9917"/>
                <a:gd name="connsiteX7" fmla="*/ 2264 w 10000"/>
                <a:gd name="connsiteY7" fmla="*/ 8050 h 9917"/>
                <a:gd name="connsiteX8" fmla="*/ 1673 w 10000"/>
                <a:gd name="connsiteY8" fmla="*/ 7547 h 9917"/>
                <a:gd name="connsiteX9" fmla="*/ 2264 w 10000"/>
                <a:gd name="connsiteY9" fmla="*/ 7107 h 9917"/>
                <a:gd name="connsiteX10" fmla="*/ 3247 w 10000"/>
                <a:gd name="connsiteY10" fmla="*/ 7170 h 9917"/>
                <a:gd name="connsiteX11" fmla="*/ 3051 w 10000"/>
                <a:gd name="connsiteY11" fmla="*/ 6667 h 9917"/>
                <a:gd name="connsiteX12" fmla="*/ 2264 w 10000"/>
                <a:gd name="connsiteY12" fmla="*/ 6667 h 9917"/>
                <a:gd name="connsiteX13" fmla="*/ 2264 w 10000"/>
                <a:gd name="connsiteY13" fmla="*/ 6289 h 9917"/>
                <a:gd name="connsiteX14" fmla="*/ 1574 w 10000"/>
                <a:gd name="connsiteY14" fmla="*/ 6226 h 9917"/>
                <a:gd name="connsiteX15" fmla="*/ 1181 w 10000"/>
                <a:gd name="connsiteY15" fmla="*/ 6604 h 9917"/>
                <a:gd name="connsiteX16" fmla="*/ 591 w 10000"/>
                <a:gd name="connsiteY16" fmla="*/ 6352 h 9917"/>
                <a:gd name="connsiteX17" fmla="*/ 0 w 10000"/>
                <a:gd name="connsiteY17" fmla="*/ 6352 h 9917"/>
                <a:gd name="connsiteX18" fmla="*/ 1496 w 10000"/>
                <a:gd name="connsiteY18" fmla="*/ 5188 h 9917"/>
                <a:gd name="connsiteX19" fmla="*/ 1116 w 10000"/>
                <a:gd name="connsiteY19" fmla="*/ 5121 h 9917"/>
                <a:gd name="connsiteX20" fmla="*/ 807 w 10000"/>
                <a:gd name="connsiteY20" fmla="*/ 5057 h 9917"/>
                <a:gd name="connsiteX21" fmla="*/ 0 w 10000"/>
                <a:gd name="connsiteY21" fmla="*/ 4969 h 9917"/>
                <a:gd name="connsiteX22" fmla="*/ 885 w 10000"/>
                <a:gd name="connsiteY22" fmla="*/ 4214 h 9917"/>
                <a:gd name="connsiteX23" fmla="*/ 885 w 10000"/>
                <a:gd name="connsiteY23" fmla="*/ 3648 h 9917"/>
                <a:gd name="connsiteX24" fmla="*/ 1772 w 10000"/>
                <a:gd name="connsiteY24" fmla="*/ 3711 h 9917"/>
                <a:gd name="connsiteX25" fmla="*/ 1673 w 10000"/>
                <a:gd name="connsiteY25" fmla="*/ 2767 h 9917"/>
                <a:gd name="connsiteX26" fmla="*/ 985 w 10000"/>
                <a:gd name="connsiteY26" fmla="*/ 2579 h 9917"/>
                <a:gd name="connsiteX27" fmla="*/ 2066 w 10000"/>
                <a:gd name="connsiteY27" fmla="*/ 1761 h 9917"/>
                <a:gd name="connsiteX28" fmla="*/ 3346 w 10000"/>
                <a:gd name="connsiteY28" fmla="*/ 1824 h 9917"/>
                <a:gd name="connsiteX29" fmla="*/ 3346 w 10000"/>
                <a:gd name="connsiteY29" fmla="*/ 881 h 9917"/>
                <a:gd name="connsiteX30" fmla="*/ 3838 w 10000"/>
                <a:gd name="connsiteY30" fmla="*/ 0 h 9917"/>
                <a:gd name="connsiteX31" fmla="*/ 4428 w 10000"/>
                <a:gd name="connsiteY31" fmla="*/ 0 h 9917"/>
                <a:gd name="connsiteX32" fmla="*/ 4428 w 10000"/>
                <a:gd name="connsiteY32" fmla="*/ 440 h 9917"/>
                <a:gd name="connsiteX33" fmla="*/ 7872 w 10000"/>
                <a:gd name="connsiteY33" fmla="*/ 440 h 9917"/>
                <a:gd name="connsiteX34" fmla="*/ 4625 w 10000"/>
                <a:gd name="connsiteY34" fmla="*/ 2579 h 9917"/>
                <a:gd name="connsiteX35" fmla="*/ 5215 w 10000"/>
                <a:gd name="connsiteY35" fmla="*/ 2830 h 9917"/>
                <a:gd name="connsiteX36" fmla="*/ 10000 w 10000"/>
                <a:gd name="connsiteY36" fmla="*/ 2951 h 9917"/>
                <a:gd name="connsiteX37" fmla="*/ 7971 w 10000"/>
                <a:gd name="connsiteY37" fmla="*/ 5786 h 9917"/>
                <a:gd name="connsiteX38" fmla="*/ 7839 w 10000"/>
                <a:gd name="connsiteY38" fmla="*/ 6035 h 9917"/>
                <a:gd name="connsiteX39" fmla="*/ 7747 w 10000"/>
                <a:gd name="connsiteY39" fmla="*/ 6344 h 9917"/>
                <a:gd name="connsiteX40" fmla="*/ 6889 w 10000"/>
                <a:gd name="connsiteY40" fmla="*/ 6164 h 9917"/>
                <a:gd name="connsiteX41" fmla="*/ 7160 w 10000"/>
                <a:gd name="connsiteY41" fmla="*/ 6978 h 9917"/>
                <a:gd name="connsiteX42" fmla="*/ 6138 w 10000"/>
                <a:gd name="connsiteY42" fmla="*/ 7028 h 9917"/>
                <a:gd name="connsiteX43" fmla="*/ 5460 w 10000"/>
                <a:gd name="connsiteY43" fmla="*/ 6913 h 9917"/>
                <a:gd name="connsiteX44" fmla="*/ 5554 w 10000"/>
                <a:gd name="connsiteY44" fmla="*/ 6993 h 9917"/>
                <a:gd name="connsiteX45" fmla="*/ 5401 w 10000"/>
                <a:gd name="connsiteY45" fmla="*/ 7216 h 9917"/>
                <a:gd name="connsiteX46" fmla="*/ 7381 w 10000"/>
                <a:gd name="connsiteY46" fmla="*/ 7233 h 9917"/>
                <a:gd name="connsiteX47" fmla="*/ 8070 w 10000"/>
                <a:gd name="connsiteY47" fmla="*/ 7610 h 9917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3051 w 10000"/>
                <a:gd name="connsiteY11" fmla="*/ 6723 h 10000"/>
                <a:gd name="connsiteX12" fmla="*/ 2264 w 10000"/>
                <a:gd name="connsiteY12" fmla="*/ 6723 h 10000"/>
                <a:gd name="connsiteX13" fmla="*/ 2264 w 10000"/>
                <a:gd name="connsiteY13" fmla="*/ 6342 h 10000"/>
                <a:gd name="connsiteX14" fmla="*/ 1574 w 10000"/>
                <a:gd name="connsiteY14" fmla="*/ 6278 h 10000"/>
                <a:gd name="connsiteX15" fmla="*/ 1181 w 10000"/>
                <a:gd name="connsiteY15" fmla="*/ 6659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4625 w 10000"/>
                <a:gd name="connsiteY34" fmla="*/ 2601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3051 w 10000"/>
                <a:gd name="connsiteY11" fmla="*/ 6723 h 10000"/>
                <a:gd name="connsiteX12" fmla="*/ 596 w 10000"/>
                <a:gd name="connsiteY12" fmla="*/ 8060 h 10000"/>
                <a:gd name="connsiteX13" fmla="*/ 2264 w 10000"/>
                <a:gd name="connsiteY13" fmla="*/ 6342 h 10000"/>
                <a:gd name="connsiteX14" fmla="*/ 1574 w 10000"/>
                <a:gd name="connsiteY14" fmla="*/ 6278 h 10000"/>
                <a:gd name="connsiteX15" fmla="*/ 1181 w 10000"/>
                <a:gd name="connsiteY15" fmla="*/ 6659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4625 w 10000"/>
                <a:gd name="connsiteY34" fmla="*/ 2601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3051 w 10000"/>
                <a:gd name="connsiteY11" fmla="*/ 6723 h 10000"/>
                <a:gd name="connsiteX12" fmla="*/ 596 w 10000"/>
                <a:gd name="connsiteY12" fmla="*/ 8060 h 10000"/>
                <a:gd name="connsiteX13" fmla="*/ 69 w 10000"/>
                <a:gd name="connsiteY13" fmla="*/ 8266 h 10000"/>
                <a:gd name="connsiteX14" fmla="*/ 1574 w 10000"/>
                <a:gd name="connsiteY14" fmla="*/ 6278 h 10000"/>
                <a:gd name="connsiteX15" fmla="*/ 1181 w 10000"/>
                <a:gd name="connsiteY15" fmla="*/ 6659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4625 w 10000"/>
                <a:gd name="connsiteY34" fmla="*/ 2601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3051 w 10000"/>
                <a:gd name="connsiteY11" fmla="*/ 6723 h 10000"/>
                <a:gd name="connsiteX12" fmla="*/ 596 w 10000"/>
                <a:gd name="connsiteY12" fmla="*/ 8060 h 10000"/>
                <a:gd name="connsiteX13" fmla="*/ 69 w 10000"/>
                <a:gd name="connsiteY13" fmla="*/ 8266 h 10000"/>
                <a:gd name="connsiteX14" fmla="*/ 301 w 10000"/>
                <a:gd name="connsiteY14" fmla="*/ 7331 h 10000"/>
                <a:gd name="connsiteX15" fmla="*/ 1181 w 10000"/>
                <a:gd name="connsiteY15" fmla="*/ 6659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4625 w 10000"/>
                <a:gd name="connsiteY34" fmla="*/ 2601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3051 w 10000"/>
                <a:gd name="connsiteY11" fmla="*/ 6723 h 10000"/>
                <a:gd name="connsiteX12" fmla="*/ 596 w 10000"/>
                <a:gd name="connsiteY12" fmla="*/ 8060 h 10000"/>
                <a:gd name="connsiteX13" fmla="*/ 69 w 10000"/>
                <a:gd name="connsiteY13" fmla="*/ 8266 h 10000"/>
                <a:gd name="connsiteX14" fmla="*/ 301 w 10000"/>
                <a:gd name="connsiteY14" fmla="*/ 7331 h 10000"/>
                <a:gd name="connsiteX15" fmla="*/ 802 w 10000"/>
                <a:gd name="connsiteY15" fmla="*/ 6701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4625 w 10000"/>
                <a:gd name="connsiteY34" fmla="*/ 2601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1711 w 10000"/>
                <a:gd name="connsiteY11" fmla="*/ 7448 h 10000"/>
                <a:gd name="connsiteX12" fmla="*/ 596 w 10000"/>
                <a:gd name="connsiteY12" fmla="*/ 8060 h 10000"/>
                <a:gd name="connsiteX13" fmla="*/ 69 w 10000"/>
                <a:gd name="connsiteY13" fmla="*/ 8266 h 10000"/>
                <a:gd name="connsiteX14" fmla="*/ 301 w 10000"/>
                <a:gd name="connsiteY14" fmla="*/ 7331 h 10000"/>
                <a:gd name="connsiteX15" fmla="*/ 802 w 10000"/>
                <a:gd name="connsiteY15" fmla="*/ 6701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4625 w 10000"/>
                <a:gd name="connsiteY34" fmla="*/ 2601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1711 w 10000"/>
                <a:gd name="connsiteY11" fmla="*/ 7448 h 10000"/>
                <a:gd name="connsiteX12" fmla="*/ 347 w 10000"/>
                <a:gd name="connsiteY12" fmla="*/ 8423 h 10000"/>
                <a:gd name="connsiteX13" fmla="*/ 69 w 10000"/>
                <a:gd name="connsiteY13" fmla="*/ 8266 h 10000"/>
                <a:gd name="connsiteX14" fmla="*/ 301 w 10000"/>
                <a:gd name="connsiteY14" fmla="*/ 7331 h 10000"/>
                <a:gd name="connsiteX15" fmla="*/ 802 w 10000"/>
                <a:gd name="connsiteY15" fmla="*/ 6701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4625 w 10000"/>
                <a:gd name="connsiteY34" fmla="*/ 2601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1711 w 10000"/>
                <a:gd name="connsiteY11" fmla="*/ 7448 h 10000"/>
                <a:gd name="connsiteX12" fmla="*/ 347 w 10000"/>
                <a:gd name="connsiteY12" fmla="*/ 8423 h 10000"/>
                <a:gd name="connsiteX13" fmla="*/ 69 w 10000"/>
                <a:gd name="connsiteY13" fmla="*/ 8266 h 10000"/>
                <a:gd name="connsiteX14" fmla="*/ 301 w 10000"/>
                <a:gd name="connsiteY14" fmla="*/ 7331 h 10000"/>
                <a:gd name="connsiteX15" fmla="*/ 802 w 10000"/>
                <a:gd name="connsiteY15" fmla="*/ 6701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7872 w 10000"/>
                <a:gd name="connsiteY33" fmla="*/ 444 h 10000"/>
                <a:gd name="connsiteX34" fmla="*/ 5115 w 10000"/>
                <a:gd name="connsiteY34" fmla="*/ 2786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1711 w 10000"/>
                <a:gd name="connsiteY11" fmla="*/ 7448 h 10000"/>
                <a:gd name="connsiteX12" fmla="*/ 347 w 10000"/>
                <a:gd name="connsiteY12" fmla="*/ 8423 h 10000"/>
                <a:gd name="connsiteX13" fmla="*/ 69 w 10000"/>
                <a:gd name="connsiteY13" fmla="*/ 8266 h 10000"/>
                <a:gd name="connsiteX14" fmla="*/ 301 w 10000"/>
                <a:gd name="connsiteY14" fmla="*/ 7331 h 10000"/>
                <a:gd name="connsiteX15" fmla="*/ 802 w 10000"/>
                <a:gd name="connsiteY15" fmla="*/ 6701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8659 w 10000"/>
                <a:gd name="connsiteY33" fmla="*/ 500 h 10000"/>
                <a:gd name="connsiteX34" fmla="*/ 5115 w 10000"/>
                <a:gd name="connsiteY34" fmla="*/ 2786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6889 w 10000"/>
                <a:gd name="connsiteY40" fmla="*/ 6216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000"/>
                <a:gd name="connsiteY0" fmla="*/ 7674 h 10000"/>
                <a:gd name="connsiteX1" fmla="*/ 4822 w 10000"/>
                <a:gd name="connsiteY1" fmla="*/ 9767 h 10000"/>
                <a:gd name="connsiteX2" fmla="*/ 2559 w 10000"/>
                <a:gd name="connsiteY2" fmla="*/ 9767 h 10000"/>
                <a:gd name="connsiteX3" fmla="*/ 1968 w 10000"/>
                <a:gd name="connsiteY3" fmla="*/ 9513 h 10000"/>
                <a:gd name="connsiteX4" fmla="*/ 1139 w 10000"/>
                <a:gd name="connsiteY4" fmla="*/ 10000 h 10000"/>
                <a:gd name="connsiteX5" fmla="*/ 787 w 10000"/>
                <a:gd name="connsiteY5" fmla="*/ 9576 h 10000"/>
                <a:gd name="connsiteX6" fmla="*/ 787 w 10000"/>
                <a:gd name="connsiteY6" fmla="*/ 9006 h 10000"/>
                <a:gd name="connsiteX7" fmla="*/ 2264 w 10000"/>
                <a:gd name="connsiteY7" fmla="*/ 8117 h 10000"/>
                <a:gd name="connsiteX8" fmla="*/ 1673 w 10000"/>
                <a:gd name="connsiteY8" fmla="*/ 7610 h 10000"/>
                <a:gd name="connsiteX9" fmla="*/ 2264 w 10000"/>
                <a:gd name="connsiteY9" fmla="*/ 7166 h 10000"/>
                <a:gd name="connsiteX10" fmla="*/ 1729 w 10000"/>
                <a:gd name="connsiteY10" fmla="*/ 7400 h 10000"/>
                <a:gd name="connsiteX11" fmla="*/ 1711 w 10000"/>
                <a:gd name="connsiteY11" fmla="*/ 7448 h 10000"/>
                <a:gd name="connsiteX12" fmla="*/ 347 w 10000"/>
                <a:gd name="connsiteY12" fmla="*/ 8423 h 10000"/>
                <a:gd name="connsiteX13" fmla="*/ 69 w 10000"/>
                <a:gd name="connsiteY13" fmla="*/ 8266 h 10000"/>
                <a:gd name="connsiteX14" fmla="*/ 301 w 10000"/>
                <a:gd name="connsiteY14" fmla="*/ 7331 h 10000"/>
                <a:gd name="connsiteX15" fmla="*/ 802 w 10000"/>
                <a:gd name="connsiteY15" fmla="*/ 6701 h 10000"/>
                <a:gd name="connsiteX16" fmla="*/ 591 w 10000"/>
                <a:gd name="connsiteY16" fmla="*/ 6405 h 10000"/>
                <a:gd name="connsiteX17" fmla="*/ 0 w 10000"/>
                <a:gd name="connsiteY17" fmla="*/ 6405 h 10000"/>
                <a:gd name="connsiteX18" fmla="*/ 1496 w 10000"/>
                <a:gd name="connsiteY18" fmla="*/ 5231 h 10000"/>
                <a:gd name="connsiteX19" fmla="*/ 1116 w 10000"/>
                <a:gd name="connsiteY19" fmla="*/ 5164 h 10000"/>
                <a:gd name="connsiteX20" fmla="*/ 807 w 10000"/>
                <a:gd name="connsiteY20" fmla="*/ 5099 h 10000"/>
                <a:gd name="connsiteX21" fmla="*/ 0 w 10000"/>
                <a:gd name="connsiteY21" fmla="*/ 5011 h 10000"/>
                <a:gd name="connsiteX22" fmla="*/ 885 w 10000"/>
                <a:gd name="connsiteY22" fmla="*/ 4249 h 10000"/>
                <a:gd name="connsiteX23" fmla="*/ 885 w 10000"/>
                <a:gd name="connsiteY23" fmla="*/ 3679 h 10000"/>
                <a:gd name="connsiteX24" fmla="*/ 1772 w 10000"/>
                <a:gd name="connsiteY24" fmla="*/ 3742 h 10000"/>
                <a:gd name="connsiteX25" fmla="*/ 1673 w 10000"/>
                <a:gd name="connsiteY25" fmla="*/ 2790 h 10000"/>
                <a:gd name="connsiteX26" fmla="*/ 985 w 10000"/>
                <a:gd name="connsiteY26" fmla="*/ 2601 h 10000"/>
                <a:gd name="connsiteX27" fmla="*/ 2066 w 10000"/>
                <a:gd name="connsiteY27" fmla="*/ 1776 h 10000"/>
                <a:gd name="connsiteX28" fmla="*/ 3346 w 10000"/>
                <a:gd name="connsiteY28" fmla="*/ 1839 h 10000"/>
                <a:gd name="connsiteX29" fmla="*/ 3346 w 10000"/>
                <a:gd name="connsiteY29" fmla="*/ 888 h 10000"/>
                <a:gd name="connsiteX30" fmla="*/ 3838 w 10000"/>
                <a:gd name="connsiteY30" fmla="*/ 0 h 10000"/>
                <a:gd name="connsiteX31" fmla="*/ 4428 w 10000"/>
                <a:gd name="connsiteY31" fmla="*/ 0 h 10000"/>
                <a:gd name="connsiteX32" fmla="*/ 4428 w 10000"/>
                <a:gd name="connsiteY32" fmla="*/ 444 h 10000"/>
                <a:gd name="connsiteX33" fmla="*/ 8659 w 10000"/>
                <a:gd name="connsiteY33" fmla="*/ 500 h 10000"/>
                <a:gd name="connsiteX34" fmla="*/ 5115 w 10000"/>
                <a:gd name="connsiteY34" fmla="*/ 2786 h 10000"/>
                <a:gd name="connsiteX35" fmla="*/ 5215 w 10000"/>
                <a:gd name="connsiteY35" fmla="*/ 2854 h 10000"/>
                <a:gd name="connsiteX36" fmla="*/ 10000 w 10000"/>
                <a:gd name="connsiteY36" fmla="*/ 2976 h 10000"/>
                <a:gd name="connsiteX37" fmla="*/ 7971 w 10000"/>
                <a:gd name="connsiteY37" fmla="*/ 5834 h 10000"/>
                <a:gd name="connsiteX38" fmla="*/ 7839 w 10000"/>
                <a:gd name="connsiteY38" fmla="*/ 6086 h 10000"/>
                <a:gd name="connsiteX39" fmla="*/ 7747 w 10000"/>
                <a:gd name="connsiteY39" fmla="*/ 6397 h 10000"/>
                <a:gd name="connsiteX40" fmla="*/ 7475 w 10000"/>
                <a:gd name="connsiteY40" fmla="*/ 6870 h 10000"/>
                <a:gd name="connsiteX41" fmla="*/ 7160 w 10000"/>
                <a:gd name="connsiteY41" fmla="*/ 7036 h 10000"/>
                <a:gd name="connsiteX42" fmla="*/ 6138 w 10000"/>
                <a:gd name="connsiteY42" fmla="*/ 7087 h 10000"/>
                <a:gd name="connsiteX43" fmla="*/ 5460 w 10000"/>
                <a:gd name="connsiteY43" fmla="*/ 6971 h 10000"/>
                <a:gd name="connsiteX44" fmla="*/ 5554 w 10000"/>
                <a:gd name="connsiteY44" fmla="*/ 7052 h 10000"/>
                <a:gd name="connsiteX45" fmla="*/ 5401 w 10000"/>
                <a:gd name="connsiteY45" fmla="*/ 7276 h 10000"/>
                <a:gd name="connsiteX46" fmla="*/ 7381 w 10000"/>
                <a:gd name="connsiteY46" fmla="*/ 7294 h 10000"/>
                <a:gd name="connsiteX47" fmla="*/ 8070 w 10000"/>
                <a:gd name="connsiteY47" fmla="*/ 7674 h 10000"/>
                <a:gd name="connsiteX0" fmla="*/ 8070 w 10155"/>
                <a:gd name="connsiteY0" fmla="*/ 7674 h 10000"/>
                <a:gd name="connsiteX1" fmla="*/ 4822 w 10155"/>
                <a:gd name="connsiteY1" fmla="*/ 9767 h 10000"/>
                <a:gd name="connsiteX2" fmla="*/ 2559 w 10155"/>
                <a:gd name="connsiteY2" fmla="*/ 9767 h 10000"/>
                <a:gd name="connsiteX3" fmla="*/ 1968 w 10155"/>
                <a:gd name="connsiteY3" fmla="*/ 9513 h 10000"/>
                <a:gd name="connsiteX4" fmla="*/ 1139 w 10155"/>
                <a:gd name="connsiteY4" fmla="*/ 10000 h 10000"/>
                <a:gd name="connsiteX5" fmla="*/ 787 w 10155"/>
                <a:gd name="connsiteY5" fmla="*/ 9576 h 10000"/>
                <a:gd name="connsiteX6" fmla="*/ 787 w 10155"/>
                <a:gd name="connsiteY6" fmla="*/ 9006 h 10000"/>
                <a:gd name="connsiteX7" fmla="*/ 2264 w 10155"/>
                <a:gd name="connsiteY7" fmla="*/ 8117 h 10000"/>
                <a:gd name="connsiteX8" fmla="*/ 1673 w 10155"/>
                <a:gd name="connsiteY8" fmla="*/ 7610 h 10000"/>
                <a:gd name="connsiteX9" fmla="*/ 2264 w 10155"/>
                <a:gd name="connsiteY9" fmla="*/ 7166 h 10000"/>
                <a:gd name="connsiteX10" fmla="*/ 1729 w 10155"/>
                <a:gd name="connsiteY10" fmla="*/ 7400 h 10000"/>
                <a:gd name="connsiteX11" fmla="*/ 1711 w 10155"/>
                <a:gd name="connsiteY11" fmla="*/ 7448 h 10000"/>
                <a:gd name="connsiteX12" fmla="*/ 347 w 10155"/>
                <a:gd name="connsiteY12" fmla="*/ 8423 h 10000"/>
                <a:gd name="connsiteX13" fmla="*/ 69 w 10155"/>
                <a:gd name="connsiteY13" fmla="*/ 8266 h 10000"/>
                <a:gd name="connsiteX14" fmla="*/ 301 w 10155"/>
                <a:gd name="connsiteY14" fmla="*/ 7331 h 10000"/>
                <a:gd name="connsiteX15" fmla="*/ 802 w 10155"/>
                <a:gd name="connsiteY15" fmla="*/ 6701 h 10000"/>
                <a:gd name="connsiteX16" fmla="*/ 591 w 10155"/>
                <a:gd name="connsiteY16" fmla="*/ 6405 h 10000"/>
                <a:gd name="connsiteX17" fmla="*/ 0 w 10155"/>
                <a:gd name="connsiteY17" fmla="*/ 6405 h 10000"/>
                <a:gd name="connsiteX18" fmla="*/ 1496 w 10155"/>
                <a:gd name="connsiteY18" fmla="*/ 5231 h 10000"/>
                <a:gd name="connsiteX19" fmla="*/ 1116 w 10155"/>
                <a:gd name="connsiteY19" fmla="*/ 5164 h 10000"/>
                <a:gd name="connsiteX20" fmla="*/ 807 w 10155"/>
                <a:gd name="connsiteY20" fmla="*/ 5099 h 10000"/>
                <a:gd name="connsiteX21" fmla="*/ 0 w 10155"/>
                <a:gd name="connsiteY21" fmla="*/ 5011 h 10000"/>
                <a:gd name="connsiteX22" fmla="*/ 885 w 10155"/>
                <a:gd name="connsiteY22" fmla="*/ 4249 h 10000"/>
                <a:gd name="connsiteX23" fmla="*/ 885 w 10155"/>
                <a:gd name="connsiteY23" fmla="*/ 3679 h 10000"/>
                <a:gd name="connsiteX24" fmla="*/ 1772 w 10155"/>
                <a:gd name="connsiteY24" fmla="*/ 3742 h 10000"/>
                <a:gd name="connsiteX25" fmla="*/ 1673 w 10155"/>
                <a:gd name="connsiteY25" fmla="*/ 2790 h 10000"/>
                <a:gd name="connsiteX26" fmla="*/ 985 w 10155"/>
                <a:gd name="connsiteY26" fmla="*/ 2601 h 10000"/>
                <a:gd name="connsiteX27" fmla="*/ 2066 w 10155"/>
                <a:gd name="connsiteY27" fmla="*/ 1776 h 10000"/>
                <a:gd name="connsiteX28" fmla="*/ 3346 w 10155"/>
                <a:gd name="connsiteY28" fmla="*/ 1839 h 10000"/>
                <a:gd name="connsiteX29" fmla="*/ 3346 w 10155"/>
                <a:gd name="connsiteY29" fmla="*/ 888 h 10000"/>
                <a:gd name="connsiteX30" fmla="*/ 3838 w 10155"/>
                <a:gd name="connsiteY30" fmla="*/ 0 h 10000"/>
                <a:gd name="connsiteX31" fmla="*/ 4428 w 10155"/>
                <a:gd name="connsiteY31" fmla="*/ 0 h 10000"/>
                <a:gd name="connsiteX32" fmla="*/ 4428 w 10155"/>
                <a:gd name="connsiteY32" fmla="*/ 444 h 10000"/>
                <a:gd name="connsiteX33" fmla="*/ 8659 w 10155"/>
                <a:gd name="connsiteY33" fmla="*/ 500 h 10000"/>
                <a:gd name="connsiteX34" fmla="*/ 5115 w 10155"/>
                <a:gd name="connsiteY34" fmla="*/ 2786 h 10000"/>
                <a:gd name="connsiteX35" fmla="*/ 5215 w 10155"/>
                <a:gd name="connsiteY35" fmla="*/ 2854 h 10000"/>
                <a:gd name="connsiteX36" fmla="*/ 10155 w 10155"/>
                <a:gd name="connsiteY36" fmla="*/ 3102 h 10000"/>
                <a:gd name="connsiteX37" fmla="*/ 7971 w 10155"/>
                <a:gd name="connsiteY37" fmla="*/ 5834 h 10000"/>
                <a:gd name="connsiteX38" fmla="*/ 7839 w 10155"/>
                <a:gd name="connsiteY38" fmla="*/ 6086 h 10000"/>
                <a:gd name="connsiteX39" fmla="*/ 7747 w 10155"/>
                <a:gd name="connsiteY39" fmla="*/ 6397 h 10000"/>
                <a:gd name="connsiteX40" fmla="*/ 7475 w 10155"/>
                <a:gd name="connsiteY40" fmla="*/ 6870 h 10000"/>
                <a:gd name="connsiteX41" fmla="*/ 7160 w 10155"/>
                <a:gd name="connsiteY41" fmla="*/ 7036 h 10000"/>
                <a:gd name="connsiteX42" fmla="*/ 6138 w 10155"/>
                <a:gd name="connsiteY42" fmla="*/ 7087 h 10000"/>
                <a:gd name="connsiteX43" fmla="*/ 5460 w 10155"/>
                <a:gd name="connsiteY43" fmla="*/ 6971 h 10000"/>
                <a:gd name="connsiteX44" fmla="*/ 5554 w 10155"/>
                <a:gd name="connsiteY44" fmla="*/ 7052 h 10000"/>
                <a:gd name="connsiteX45" fmla="*/ 5401 w 10155"/>
                <a:gd name="connsiteY45" fmla="*/ 7276 h 10000"/>
                <a:gd name="connsiteX46" fmla="*/ 7381 w 10155"/>
                <a:gd name="connsiteY46" fmla="*/ 7294 h 10000"/>
                <a:gd name="connsiteX47" fmla="*/ 8070 w 10155"/>
                <a:gd name="connsiteY47" fmla="*/ 7674 h 10000"/>
                <a:gd name="connsiteX0" fmla="*/ 8070 w 10155"/>
                <a:gd name="connsiteY0" fmla="*/ 7674 h 10000"/>
                <a:gd name="connsiteX1" fmla="*/ 4822 w 10155"/>
                <a:gd name="connsiteY1" fmla="*/ 9767 h 10000"/>
                <a:gd name="connsiteX2" fmla="*/ 2559 w 10155"/>
                <a:gd name="connsiteY2" fmla="*/ 9767 h 10000"/>
                <a:gd name="connsiteX3" fmla="*/ 1968 w 10155"/>
                <a:gd name="connsiteY3" fmla="*/ 9513 h 10000"/>
                <a:gd name="connsiteX4" fmla="*/ 1139 w 10155"/>
                <a:gd name="connsiteY4" fmla="*/ 10000 h 10000"/>
                <a:gd name="connsiteX5" fmla="*/ 787 w 10155"/>
                <a:gd name="connsiteY5" fmla="*/ 9576 h 10000"/>
                <a:gd name="connsiteX6" fmla="*/ 787 w 10155"/>
                <a:gd name="connsiteY6" fmla="*/ 9006 h 10000"/>
                <a:gd name="connsiteX7" fmla="*/ 2264 w 10155"/>
                <a:gd name="connsiteY7" fmla="*/ 8117 h 10000"/>
                <a:gd name="connsiteX8" fmla="*/ 1673 w 10155"/>
                <a:gd name="connsiteY8" fmla="*/ 7610 h 10000"/>
                <a:gd name="connsiteX9" fmla="*/ 2264 w 10155"/>
                <a:gd name="connsiteY9" fmla="*/ 7166 h 10000"/>
                <a:gd name="connsiteX10" fmla="*/ 1729 w 10155"/>
                <a:gd name="connsiteY10" fmla="*/ 7400 h 10000"/>
                <a:gd name="connsiteX11" fmla="*/ 1711 w 10155"/>
                <a:gd name="connsiteY11" fmla="*/ 7448 h 10000"/>
                <a:gd name="connsiteX12" fmla="*/ 347 w 10155"/>
                <a:gd name="connsiteY12" fmla="*/ 8423 h 10000"/>
                <a:gd name="connsiteX13" fmla="*/ 69 w 10155"/>
                <a:gd name="connsiteY13" fmla="*/ 8266 h 10000"/>
                <a:gd name="connsiteX14" fmla="*/ 301 w 10155"/>
                <a:gd name="connsiteY14" fmla="*/ 7331 h 10000"/>
                <a:gd name="connsiteX15" fmla="*/ 802 w 10155"/>
                <a:gd name="connsiteY15" fmla="*/ 6701 h 10000"/>
                <a:gd name="connsiteX16" fmla="*/ 591 w 10155"/>
                <a:gd name="connsiteY16" fmla="*/ 6405 h 10000"/>
                <a:gd name="connsiteX17" fmla="*/ 0 w 10155"/>
                <a:gd name="connsiteY17" fmla="*/ 6405 h 10000"/>
                <a:gd name="connsiteX18" fmla="*/ 1496 w 10155"/>
                <a:gd name="connsiteY18" fmla="*/ 5231 h 10000"/>
                <a:gd name="connsiteX19" fmla="*/ 1116 w 10155"/>
                <a:gd name="connsiteY19" fmla="*/ 5164 h 10000"/>
                <a:gd name="connsiteX20" fmla="*/ 807 w 10155"/>
                <a:gd name="connsiteY20" fmla="*/ 5099 h 10000"/>
                <a:gd name="connsiteX21" fmla="*/ 0 w 10155"/>
                <a:gd name="connsiteY21" fmla="*/ 5011 h 10000"/>
                <a:gd name="connsiteX22" fmla="*/ 885 w 10155"/>
                <a:gd name="connsiteY22" fmla="*/ 4249 h 10000"/>
                <a:gd name="connsiteX23" fmla="*/ 885 w 10155"/>
                <a:gd name="connsiteY23" fmla="*/ 3679 h 10000"/>
                <a:gd name="connsiteX24" fmla="*/ 1772 w 10155"/>
                <a:gd name="connsiteY24" fmla="*/ 3742 h 10000"/>
                <a:gd name="connsiteX25" fmla="*/ 1673 w 10155"/>
                <a:gd name="connsiteY25" fmla="*/ 2790 h 10000"/>
                <a:gd name="connsiteX26" fmla="*/ 985 w 10155"/>
                <a:gd name="connsiteY26" fmla="*/ 2601 h 10000"/>
                <a:gd name="connsiteX27" fmla="*/ 2066 w 10155"/>
                <a:gd name="connsiteY27" fmla="*/ 1776 h 10000"/>
                <a:gd name="connsiteX28" fmla="*/ 3346 w 10155"/>
                <a:gd name="connsiteY28" fmla="*/ 1839 h 10000"/>
                <a:gd name="connsiteX29" fmla="*/ 3346 w 10155"/>
                <a:gd name="connsiteY29" fmla="*/ 888 h 10000"/>
                <a:gd name="connsiteX30" fmla="*/ 3838 w 10155"/>
                <a:gd name="connsiteY30" fmla="*/ 0 h 10000"/>
                <a:gd name="connsiteX31" fmla="*/ 4428 w 10155"/>
                <a:gd name="connsiteY31" fmla="*/ 0 h 10000"/>
                <a:gd name="connsiteX32" fmla="*/ 4428 w 10155"/>
                <a:gd name="connsiteY32" fmla="*/ 444 h 10000"/>
                <a:gd name="connsiteX33" fmla="*/ 8659 w 10155"/>
                <a:gd name="connsiteY33" fmla="*/ 500 h 10000"/>
                <a:gd name="connsiteX34" fmla="*/ 5115 w 10155"/>
                <a:gd name="connsiteY34" fmla="*/ 2786 h 10000"/>
                <a:gd name="connsiteX35" fmla="*/ 5215 w 10155"/>
                <a:gd name="connsiteY35" fmla="*/ 2854 h 10000"/>
                <a:gd name="connsiteX36" fmla="*/ 10155 w 10155"/>
                <a:gd name="connsiteY36" fmla="*/ 3102 h 10000"/>
                <a:gd name="connsiteX37" fmla="*/ 7971 w 10155"/>
                <a:gd name="connsiteY37" fmla="*/ 5834 h 10000"/>
                <a:gd name="connsiteX38" fmla="*/ 7839 w 10155"/>
                <a:gd name="connsiteY38" fmla="*/ 6086 h 10000"/>
                <a:gd name="connsiteX39" fmla="*/ 7747 w 10155"/>
                <a:gd name="connsiteY39" fmla="*/ 6397 h 10000"/>
                <a:gd name="connsiteX40" fmla="*/ 7475 w 10155"/>
                <a:gd name="connsiteY40" fmla="*/ 6870 h 10000"/>
                <a:gd name="connsiteX41" fmla="*/ 7160 w 10155"/>
                <a:gd name="connsiteY41" fmla="*/ 7036 h 10000"/>
                <a:gd name="connsiteX42" fmla="*/ 6138 w 10155"/>
                <a:gd name="connsiteY42" fmla="*/ 7087 h 10000"/>
                <a:gd name="connsiteX43" fmla="*/ 5460 w 10155"/>
                <a:gd name="connsiteY43" fmla="*/ 6971 h 10000"/>
                <a:gd name="connsiteX44" fmla="*/ 5554 w 10155"/>
                <a:gd name="connsiteY44" fmla="*/ 7052 h 10000"/>
                <a:gd name="connsiteX45" fmla="*/ 5401 w 10155"/>
                <a:gd name="connsiteY45" fmla="*/ 7276 h 10000"/>
                <a:gd name="connsiteX46" fmla="*/ 7381 w 10155"/>
                <a:gd name="connsiteY46" fmla="*/ 7294 h 10000"/>
                <a:gd name="connsiteX47" fmla="*/ 8070 w 10155"/>
                <a:gd name="connsiteY47" fmla="*/ 7674 h 10000"/>
                <a:gd name="connsiteX0" fmla="*/ 8070 w 10155"/>
                <a:gd name="connsiteY0" fmla="*/ 7674 h 10000"/>
                <a:gd name="connsiteX1" fmla="*/ 4822 w 10155"/>
                <a:gd name="connsiteY1" fmla="*/ 9767 h 10000"/>
                <a:gd name="connsiteX2" fmla="*/ 2559 w 10155"/>
                <a:gd name="connsiteY2" fmla="*/ 9767 h 10000"/>
                <a:gd name="connsiteX3" fmla="*/ 1968 w 10155"/>
                <a:gd name="connsiteY3" fmla="*/ 9513 h 10000"/>
                <a:gd name="connsiteX4" fmla="*/ 1139 w 10155"/>
                <a:gd name="connsiteY4" fmla="*/ 10000 h 10000"/>
                <a:gd name="connsiteX5" fmla="*/ 787 w 10155"/>
                <a:gd name="connsiteY5" fmla="*/ 9576 h 10000"/>
                <a:gd name="connsiteX6" fmla="*/ 787 w 10155"/>
                <a:gd name="connsiteY6" fmla="*/ 9006 h 10000"/>
                <a:gd name="connsiteX7" fmla="*/ 2264 w 10155"/>
                <a:gd name="connsiteY7" fmla="*/ 8117 h 10000"/>
                <a:gd name="connsiteX8" fmla="*/ 1673 w 10155"/>
                <a:gd name="connsiteY8" fmla="*/ 7610 h 10000"/>
                <a:gd name="connsiteX9" fmla="*/ 2264 w 10155"/>
                <a:gd name="connsiteY9" fmla="*/ 7166 h 10000"/>
                <a:gd name="connsiteX10" fmla="*/ 1729 w 10155"/>
                <a:gd name="connsiteY10" fmla="*/ 7400 h 10000"/>
                <a:gd name="connsiteX11" fmla="*/ 1711 w 10155"/>
                <a:gd name="connsiteY11" fmla="*/ 7448 h 10000"/>
                <a:gd name="connsiteX12" fmla="*/ 347 w 10155"/>
                <a:gd name="connsiteY12" fmla="*/ 8423 h 10000"/>
                <a:gd name="connsiteX13" fmla="*/ 69 w 10155"/>
                <a:gd name="connsiteY13" fmla="*/ 8266 h 10000"/>
                <a:gd name="connsiteX14" fmla="*/ 301 w 10155"/>
                <a:gd name="connsiteY14" fmla="*/ 7331 h 10000"/>
                <a:gd name="connsiteX15" fmla="*/ 802 w 10155"/>
                <a:gd name="connsiteY15" fmla="*/ 6701 h 10000"/>
                <a:gd name="connsiteX16" fmla="*/ 591 w 10155"/>
                <a:gd name="connsiteY16" fmla="*/ 6405 h 10000"/>
                <a:gd name="connsiteX17" fmla="*/ 0 w 10155"/>
                <a:gd name="connsiteY17" fmla="*/ 6405 h 10000"/>
                <a:gd name="connsiteX18" fmla="*/ 1496 w 10155"/>
                <a:gd name="connsiteY18" fmla="*/ 5231 h 10000"/>
                <a:gd name="connsiteX19" fmla="*/ 1116 w 10155"/>
                <a:gd name="connsiteY19" fmla="*/ 5164 h 10000"/>
                <a:gd name="connsiteX20" fmla="*/ 646 w 10155"/>
                <a:gd name="connsiteY20" fmla="*/ 5261 h 10000"/>
                <a:gd name="connsiteX21" fmla="*/ 0 w 10155"/>
                <a:gd name="connsiteY21" fmla="*/ 5011 h 10000"/>
                <a:gd name="connsiteX22" fmla="*/ 885 w 10155"/>
                <a:gd name="connsiteY22" fmla="*/ 4249 h 10000"/>
                <a:gd name="connsiteX23" fmla="*/ 885 w 10155"/>
                <a:gd name="connsiteY23" fmla="*/ 3679 h 10000"/>
                <a:gd name="connsiteX24" fmla="*/ 1772 w 10155"/>
                <a:gd name="connsiteY24" fmla="*/ 3742 h 10000"/>
                <a:gd name="connsiteX25" fmla="*/ 1673 w 10155"/>
                <a:gd name="connsiteY25" fmla="*/ 2790 h 10000"/>
                <a:gd name="connsiteX26" fmla="*/ 985 w 10155"/>
                <a:gd name="connsiteY26" fmla="*/ 2601 h 10000"/>
                <a:gd name="connsiteX27" fmla="*/ 2066 w 10155"/>
                <a:gd name="connsiteY27" fmla="*/ 1776 h 10000"/>
                <a:gd name="connsiteX28" fmla="*/ 3346 w 10155"/>
                <a:gd name="connsiteY28" fmla="*/ 1839 h 10000"/>
                <a:gd name="connsiteX29" fmla="*/ 3346 w 10155"/>
                <a:gd name="connsiteY29" fmla="*/ 888 h 10000"/>
                <a:gd name="connsiteX30" fmla="*/ 3838 w 10155"/>
                <a:gd name="connsiteY30" fmla="*/ 0 h 10000"/>
                <a:gd name="connsiteX31" fmla="*/ 4428 w 10155"/>
                <a:gd name="connsiteY31" fmla="*/ 0 h 10000"/>
                <a:gd name="connsiteX32" fmla="*/ 4428 w 10155"/>
                <a:gd name="connsiteY32" fmla="*/ 444 h 10000"/>
                <a:gd name="connsiteX33" fmla="*/ 8659 w 10155"/>
                <a:gd name="connsiteY33" fmla="*/ 500 h 10000"/>
                <a:gd name="connsiteX34" fmla="*/ 5115 w 10155"/>
                <a:gd name="connsiteY34" fmla="*/ 2786 h 10000"/>
                <a:gd name="connsiteX35" fmla="*/ 5215 w 10155"/>
                <a:gd name="connsiteY35" fmla="*/ 2854 h 10000"/>
                <a:gd name="connsiteX36" fmla="*/ 10155 w 10155"/>
                <a:gd name="connsiteY36" fmla="*/ 3102 h 10000"/>
                <a:gd name="connsiteX37" fmla="*/ 7971 w 10155"/>
                <a:gd name="connsiteY37" fmla="*/ 5834 h 10000"/>
                <a:gd name="connsiteX38" fmla="*/ 7839 w 10155"/>
                <a:gd name="connsiteY38" fmla="*/ 6086 h 10000"/>
                <a:gd name="connsiteX39" fmla="*/ 7747 w 10155"/>
                <a:gd name="connsiteY39" fmla="*/ 6397 h 10000"/>
                <a:gd name="connsiteX40" fmla="*/ 7475 w 10155"/>
                <a:gd name="connsiteY40" fmla="*/ 6870 h 10000"/>
                <a:gd name="connsiteX41" fmla="*/ 7160 w 10155"/>
                <a:gd name="connsiteY41" fmla="*/ 7036 h 10000"/>
                <a:gd name="connsiteX42" fmla="*/ 6138 w 10155"/>
                <a:gd name="connsiteY42" fmla="*/ 7087 h 10000"/>
                <a:gd name="connsiteX43" fmla="*/ 5460 w 10155"/>
                <a:gd name="connsiteY43" fmla="*/ 6971 h 10000"/>
                <a:gd name="connsiteX44" fmla="*/ 5554 w 10155"/>
                <a:gd name="connsiteY44" fmla="*/ 7052 h 10000"/>
                <a:gd name="connsiteX45" fmla="*/ 5401 w 10155"/>
                <a:gd name="connsiteY45" fmla="*/ 7276 h 10000"/>
                <a:gd name="connsiteX46" fmla="*/ 7381 w 10155"/>
                <a:gd name="connsiteY46" fmla="*/ 7294 h 10000"/>
                <a:gd name="connsiteX47" fmla="*/ 8070 w 10155"/>
                <a:gd name="connsiteY47" fmla="*/ 767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0155" h="10000">
                  <a:moveTo>
                    <a:pt x="8070" y="7674"/>
                  </a:moveTo>
                  <a:lnTo>
                    <a:pt x="4822" y="9767"/>
                  </a:lnTo>
                  <a:lnTo>
                    <a:pt x="2559" y="9767"/>
                  </a:lnTo>
                  <a:lnTo>
                    <a:pt x="1968" y="9513"/>
                  </a:lnTo>
                  <a:lnTo>
                    <a:pt x="1139" y="10000"/>
                  </a:lnTo>
                  <a:lnTo>
                    <a:pt x="787" y="9576"/>
                  </a:lnTo>
                  <a:lnTo>
                    <a:pt x="787" y="9006"/>
                  </a:lnTo>
                  <a:lnTo>
                    <a:pt x="2264" y="8117"/>
                  </a:lnTo>
                  <a:lnTo>
                    <a:pt x="1673" y="7610"/>
                  </a:lnTo>
                  <a:lnTo>
                    <a:pt x="2264" y="7166"/>
                  </a:lnTo>
                  <a:lnTo>
                    <a:pt x="1729" y="7400"/>
                  </a:lnTo>
                  <a:cubicBezTo>
                    <a:pt x="1664" y="7231"/>
                    <a:pt x="1776" y="7617"/>
                    <a:pt x="1711" y="7448"/>
                  </a:cubicBezTo>
                  <a:lnTo>
                    <a:pt x="347" y="8423"/>
                  </a:lnTo>
                  <a:lnTo>
                    <a:pt x="69" y="8266"/>
                  </a:lnTo>
                  <a:cubicBezTo>
                    <a:pt x="146" y="7954"/>
                    <a:pt x="224" y="7643"/>
                    <a:pt x="301" y="7331"/>
                  </a:cubicBezTo>
                  <a:lnTo>
                    <a:pt x="802" y="6701"/>
                  </a:lnTo>
                  <a:cubicBezTo>
                    <a:pt x="732" y="6602"/>
                    <a:pt x="661" y="6504"/>
                    <a:pt x="591" y="6405"/>
                  </a:cubicBezTo>
                  <a:lnTo>
                    <a:pt x="0" y="6405"/>
                  </a:lnTo>
                  <a:lnTo>
                    <a:pt x="1496" y="5231"/>
                  </a:lnTo>
                  <a:cubicBezTo>
                    <a:pt x="1710" y="4979"/>
                    <a:pt x="902" y="5416"/>
                    <a:pt x="1116" y="5164"/>
                  </a:cubicBezTo>
                  <a:lnTo>
                    <a:pt x="646" y="5261"/>
                  </a:lnTo>
                  <a:lnTo>
                    <a:pt x="0" y="5011"/>
                  </a:lnTo>
                  <a:lnTo>
                    <a:pt x="885" y="4249"/>
                  </a:lnTo>
                  <a:lnTo>
                    <a:pt x="885" y="3679"/>
                  </a:lnTo>
                  <a:lnTo>
                    <a:pt x="1772" y="3742"/>
                  </a:lnTo>
                  <a:cubicBezTo>
                    <a:pt x="1739" y="3424"/>
                    <a:pt x="1706" y="3108"/>
                    <a:pt x="1673" y="2790"/>
                  </a:cubicBezTo>
                  <a:lnTo>
                    <a:pt x="985" y="2601"/>
                  </a:lnTo>
                  <a:lnTo>
                    <a:pt x="2066" y="1776"/>
                  </a:lnTo>
                  <a:lnTo>
                    <a:pt x="3346" y="1839"/>
                  </a:lnTo>
                  <a:lnTo>
                    <a:pt x="3346" y="888"/>
                  </a:lnTo>
                  <a:lnTo>
                    <a:pt x="3838" y="0"/>
                  </a:lnTo>
                  <a:lnTo>
                    <a:pt x="4428" y="0"/>
                  </a:lnTo>
                  <a:lnTo>
                    <a:pt x="4428" y="444"/>
                  </a:lnTo>
                  <a:lnTo>
                    <a:pt x="8659" y="500"/>
                  </a:lnTo>
                  <a:lnTo>
                    <a:pt x="5115" y="2786"/>
                  </a:lnTo>
                  <a:cubicBezTo>
                    <a:pt x="5148" y="2809"/>
                    <a:pt x="5182" y="2831"/>
                    <a:pt x="5215" y="2854"/>
                  </a:cubicBezTo>
                  <a:lnTo>
                    <a:pt x="10155" y="3102"/>
                  </a:lnTo>
                  <a:cubicBezTo>
                    <a:pt x="9174" y="5096"/>
                    <a:pt x="8647" y="4882"/>
                    <a:pt x="7971" y="5834"/>
                  </a:cubicBezTo>
                  <a:lnTo>
                    <a:pt x="7839" y="6086"/>
                  </a:lnTo>
                  <a:cubicBezTo>
                    <a:pt x="7808" y="6189"/>
                    <a:pt x="7778" y="6293"/>
                    <a:pt x="7747" y="6397"/>
                  </a:cubicBezTo>
                  <a:lnTo>
                    <a:pt x="7475" y="6870"/>
                  </a:lnTo>
                  <a:lnTo>
                    <a:pt x="7160" y="7036"/>
                  </a:lnTo>
                  <a:lnTo>
                    <a:pt x="6138" y="7087"/>
                  </a:lnTo>
                  <a:lnTo>
                    <a:pt x="5460" y="6971"/>
                  </a:lnTo>
                  <a:cubicBezTo>
                    <a:pt x="5491" y="6998"/>
                    <a:pt x="5523" y="7024"/>
                    <a:pt x="5554" y="7052"/>
                  </a:cubicBezTo>
                  <a:lnTo>
                    <a:pt x="5401" y="7276"/>
                  </a:lnTo>
                  <a:lnTo>
                    <a:pt x="7381" y="7294"/>
                  </a:lnTo>
                  <a:lnTo>
                    <a:pt x="8070" y="7674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sp>
          <p:nvSpPr>
            <p:cNvPr id="46" name="TT"/>
            <p:cNvSpPr>
              <a:spLocks/>
            </p:cNvSpPr>
            <p:nvPr/>
          </p:nvSpPr>
          <p:spPr bwMode="auto">
            <a:xfrm rot="460133">
              <a:off x="5499100" y="3176588"/>
              <a:ext cx="739775" cy="1141412"/>
            </a:xfrm>
            <a:custGeom>
              <a:avLst/>
              <a:gdLst>
                <a:gd name="T0" fmla="*/ 2147483647 w 213"/>
                <a:gd name="T1" fmla="*/ 2147483647 h 335"/>
                <a:gd name="T2" fmla="*/ 2147483647 w 213"/>
                <a:gd name="T3" fmla="*/ 2147483647 h 335"/>
                <a:gd name="T4" fmla="*/ 2147483647 w 213"/>
                <a:gd name="T5" fmla="*/ 2147483647 h 335"/>
                <a:gd name="T6" fmla="*/ 2147483647 w 213"/>
                <a:gd name="T7" fmla="*/ 2147483647 h 335"/>
                <a:gd name="T8" fmla="*/ 2147483647 w 213"/>
                <a:gd name="T9" fmla="*/ 2147483647 h 335"/>
                <a:gd name="T10" fmla="*/ 2147483647 w 213"/>
                <a:gd name="T11" fmla="*/ 2147483647 h 335"/>
                <a:gd name="T12" fmla="*/ 2147483647 w 213"/>
                <a:gd name="T13" fmla="*/ 2147483647 h 335"/>
                <a:gd name="T14" fmla="*/ 2147483647 w 213"/>
                <a:gd name="T15" fmla="*/ 2147483647 h 335"/>
                <a:gd name="T16" fmla="*/ 2147483647 w 213"/>
                <a:gd name="T17" fmla="*/ 2147483647 h 335"/>
                <a:gd name="T18" fmla="*/ 2147483647 w 213"/>
                <a:gd name="T19" fmla="*/ 2147483647 h 335"/>
                <a:gd name="T20" fmla="*/ 2147483647 w 213"/>
                <a:gd name="T21" fmla="*/ 2147483647 h 335"/>
                <a:gd name="T22" fmla="*/ 2147483647 w 213"/>
                <a:gd name="T23" fmla="*/ 2147483647 h 335"/>
                <a:gd name="T24" fmla="*/ 2147483647 w 213"/>
                <a:gd name="T25" fmla="*/ 2147483647 h 335"/>
                <a:gd name="T26" fmla="*/ 2147483647 w 213"/>
                <a:gd name="T27" fmla="*/ 2147483647 h 335"/>
                <a:gd name="T28" fmla="*/ 2147483647 w 213"/>
                <a:gd name="T29" fmla="*/ 2147483647 h 335"/>
                <a:gd name="T30" fmla="*/ 2147483647 w 213"/>
                <a:gd name="T31" fmla="*/ 2147483647 h 335"/>
                <a:gd name="T32" fmla="*/ 2147483647 w 213"/>
                <a:gd name="T33" fmla="*/ 2147483647 h 335"/>
                <a:gd name="T34" fmla="*/ 2147483647 w 213"/>
                <a:gd name="T35" fmla="*/ 2147483647 h 335"/>
                <a:gd name="T36" fmla="*/ 2147483647 w 213"/>
                <a:gd name="T37" fmla="*/ 2147483647 h 335"/>
                <a:gd name="T38" fmla="*/ 2147483647 w 213"/>
                <a:gd name="T39" fmla="*/ 2147483647 h 335"/>
                <a:gd name="T40" fmla="*/ 2147483647 w 213"/>
                <a:gd name="T41" fmla="*/ 2147483647 h 335"/>
                <a:gd name="T42" fmla="*/ 2147483647 w 213"/>
                <a:gd name="T43" fmla="*/ 2147483647 h 335"/>
                <a:gd name="T44" fmla="*/ 2147483647 w 213"/>
                <a:gd name="T45" fmla="*/ 2147483647 h 335"/>
                <a:gd name="T46" fmla="*/ 2147483647 w 213"/>
                <a:gd name="T47" fmla="*/ 2147483647 h 335"/>
                <a:gd name="T48" fmla="*/ 2147483647 w 213"/>
                <a:gd name="T49" fmla="*/ 2147483647 h 335"/>
                <a:gd name="T50" fmla="*/ 2147483647 w 213"/>
                <a:gd name="T51" fmla="*/ 2147483647 h 335"/>
                <a:gd name="T52" fmla="*/ 2147483647 w 213"/>
                <a:gd name="T53" fmla="*/ 2147483647 h 335"/>
                <a:gd name="T54" fmla="*/ 2147483647 w 213"/>
                <a:gd name="T55" fmla="*/ 2147483647 h 335"/>
                <a:gd name="T56" fmla="*/ 2147483647 w 213"/>
                <a:gd name="T57" fmla="*/ 2147483647 h 335"/>
                <a:gd name="T58" fmla="*/ 2147483647 w 213"/>
                <a:gd name="T59" fmla="*/ 2147483647 h 335"/>
                <a:gd name="T60" fmla="*/ 2147483647 w 213"/>
                <a:gd name="T61" fmla="*/ 2147483647 h 335"/>
                <a:gd name="T62" fmla="*/ 2147483647 w 213"/>
                <a:gd name="T63" fmla="*/ 2147483647 h 335"/>
                <a:gd name="T64" fmla="*/ 2147483647 w 213"/>
                <a:gd name="T65" fmla="*/ 2147483647 h 335"/>
                <a:gd name="T66" fmla="*/ 2147483647 w 213"/>
                <a:gd name="T67" fmla="*/ 2147483647 h 335"/>
                <a:gd name="T68" fmla="*/ 2147483647 w 213"/>
                <a:gd name="T69" fmla="*/ 2147483647 h 335"/>
                <a:gd name="T70" fmla="*/ 2147483647 w 213"/>
                <a:gd name="T71" fmla="*/ 2147483647 h 335"/>
                <a:gd name="T72" fmla="*/ 2147483647 w 213"/>
                <a:gd name="T73" fmla="*/ 2147483647 h 335"/>
                <a:gd name="T74" fmla="*/ 2147483647 w 213"/>
                <a:gd name="T75" fmla="*/ 2147483647 h 335"/>
                <a:gd name="T76" fmla="*/ 2147483647 w 213"/>
                <a:gd name="T77" fmla="*/ 2147483647 h 335"/>
                <a:gd name="T78" fmla="*/ 2147483647 w 213"/>
                <a:gd name="T79" fmla="*/ 2147483647 h 335"/>
                <a:gd name="T80" fmla="*/ 2147483647 w 213"/>
                <a:gd name="T81" fmla="*/ 2147483647 h 335"/>
                <a:gd name="T82" fmla="*/ 2147483647 w 213"/>
                <a:gd name="T83" fmla="*/ 2147483647 h 335"/>
                <a:gd name="T84" fmla="*/ 2147483647 w 213"/>
                <a:gd name="T85" fmla="*/ 2147483647 h 335"/>
                <a:gd name="T86" fmla="*/ 2147483647 w 213"/>
                <a:gd name="T87" fmla="*/ 2147483647 h 335"/>
                <a:gd name="T88" fmla="*/ 2147483647 w 213"/>
                <a:gd name="T89" fmla="*/ 2147483647 h 335"/>
                <a:gd name="T90" fmla="*/ 2147483647 w 213"/>
                <a:gd name="T91" fmla="*/ 2147483647 h 33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13"/>
                <a:gd name="T139" fmla="*/ 0 h 335"/>
                <a:gd name="T140" fmla="*/ 213 w 213"/>
                <a:gd name="T141" fmla="*/ 335 h 335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2629 w 10000"/>
                <a:gd name="connsiteY42" fmla="*/ 2411 h 10441"/>
                <a:gd name="connsiteX43" fmla="*/ 2770 w 10000"/>
                <a:gd name="connsiteY43" fmla="*/ 2023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474 w 10000"/>
                <a:gd name="connsiteY54" fmla="*/ 59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4930 w 10000"/>
                <a:gd name="connsiteY58" fmla="*/ 1187 h 10441"/>
                <a:gd name="connsiteX59" fmla="*/ 5634 w 10000"/>
                <a:gd name="connsiteY59" fmla="*/ 1426 h 10441"/>
                <a:gd name="connsiteX60" fmla="*/ 5915 w 10000"/>
                <a:gd name="connsiteY60" fmla="*/ 1277 h 10441"/>
                <a:gd name="connsiteX61" fmla="*/ 6103 w 10000"/>
                <a:gd name="connsiteY61" fmla="*/ 1605 h 10441"/>
                <a:gd name="connsiteX62" fmla="*/ 5681 w 10000"/>
                <a:gd name="connsiteY62" fmla="*/ 1844 h 10441"/>
                <a:gd name="connsiteX63" fmla="*/ 6009 w 10000"/>
                <a:gd name="connsiteY63" fmla="*/ 1963 h 10441"/>
                <a:gd name="connsiteX64" fmla="*/ 5915 w 10000"/>
                <a:gd name="connsiteY64" fmla="*/ 2381 h 10441"/>
                <a:gd name="connsiteX65" fmla="*/ 5446 w 10000"/>
                <a:gd name="connsiteY65" fmla="*/ 2710 h 10441"/>
                <a:gd name="connsiteX66" fmla="*/ 7042 w 10000"/>
                <a:gd name="connsiteY66" fmla="*/ 3247 h 10441"/>
                <a:gd name="connsiteX67" fmla="*/ 6620 w 10000"/>
                <a:gd name="connsiteY67" fmla="*/ 3486 h 10441"/>
                <a:gd name="connsiteX68" fmla="*/ 6103 w 10000"/>
                <a:gd name="connsiteY68" fmla="*/ 3396 h 10441"/>
                <a:gd name="connsiteX69" fmla="*/ 5634 w 10000"/>
                <a:gd name="connsiteY69" fmla="*/ 3486 h 10441"/>
                <a:gd name="connsiteX70" fmla="*/ 5728 w 10000"/>
                <a:gd name="connsiteY70" fmla="*/ 3754 h 10441"/>
                <a:gd name="connsiteX71" fmla="*/ 6056 w 10000"/>
                <a:gd name="connsiteY71" fmla="*/ 3874 h 10441"/>
                <a:gd name="connsiteX72" fmla="*/ 6150 w 10000"/>
                <a:gd name="connsiteY72" fmla="*/ 4590 h 10441"/>
                <a:gd name="connsiteX73" fmla="*/ 5540 w 10000"/>
                <a:gd name="connsiteY73" fmla="*/ 4620 h 10441"/>
                <a:gd name="connsiteX74" fmla="*/ 5540 w 10000"/>
                <a:gd name="connsiteY74" fmla="*/ 5038 h 10441"/>
                <a:gd name="connsiteX75" fmla="*/ 4601 w 10000"/>
                <a:gd name="connsiteY75" fmla="*/ 5456 h 10441"/>
                <a:gd name="connsiteX76" fmla="*/ 4883 w 10000"/>
                <a:gd name="connsiteY76" fmla="*/ 5844 h 10441"/>
                <a:gd name="connsiteX77" fmla="*/ 4648 w 10000"/>
                <a:gd name="connsiteY77" fmla="*/ 6202 h 10441"/>
                <a:gd name="connsiteX78" fmla="*/ 5446 w 10000"/>
                <a:gd name="connsiteY78" fmla="*/ 6889 h 10441"/>
                <a:gd name="connsiteX79" fmla="*/ 6573 w 10000"/>
                <a:gd name="connsiteY79" fmla="*/ 6889 h 10441"/>
                <a:gd name="connsiteX80" fmla="*/ 7230 w 10000"/>
                <a:gd name="connsiteY80" fmla="*/ 6769 h 10441"/>
                <a:gd name="connsiteX81" fmla="*/ 7793 w 10000"/>
                <a:gd name="connsiteY81" fmla="*/ 6919 h 10441"/>
                <a:gd name="connsiteX82" fmla="*/ 8263 w 10000"/>
                <a:gd name="connsiteY82" fmla="*/ 7307 h 10441"/>
                <a:gd name="connsiteX83" fmla="*/ 8638 w 10000"/>
                <a:gd name="connsiteY83" fmla="*/ 8053 h 10441"/>
                <a:gd name="connsiteX84" fmla="*/ 9014 w 10000"/>
                <a:gd name="connsiteY84" fmla="*/ 8023 h 10441"/>
                <a:gd name="connsiteX85" fmla="*/ 10000 w 10000"/>
                <a:gd name="connsiteY85" fmla="*/ 8769 h 10441"/>
                <a:gd name="connsiteX86" fmla="*/ 8826 w 10000"/>
                <a:gd name="connsiteY86" fmla="*/ 9575 h 10441"/>
                <a:gd name="connsiteX87" fmla="*/ 9296 w 10000"/>
                <a:gd name="connsiteY87" fmla="*/ 10172 h 10441"/>
                <a:gd name="connsiteX88" fmla="*/ 9108 w 10000"/>
                <a:gd name="connsiteY88" fmla="*/ 10411 h 10441"/>
                <a:gd name="connsiteX89" fmla="*/ 8826 w 10000"/>
                <a:gd name="connsiteY89" fmla="*/ 10172 h 10441"/>
                <a:gd name="connsiteX90" fmla="*/ 6948 w 10000"/>
                <a:gd name="connsiteY90" fmla="*/ 10142 h 10441"/>
                <a:gd name="connsiteX91" fmla="*/ 6620 w 10000"/>
                <a:gd name="connsiteY91" fmla="*/ 10441 h 10441"/>
                <a:gd name="connsiteX92" fmla="*/ 6056 w 10000"/>
                <a:gd name="connsiteY92" fmla="*/ 10411 h 10441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2629 w 10000"/>
                <a:gd name="connsiteY42" fmla="*/ 2411 h 10441"/>
                <a:gd name="connsiteX43" fmla="*/ 2770 w 10000"/>
                <a:gd name="connsiteY43" fmla="*/ 2023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549 w 10000"/>
                <a:gd name="connsiteY54" fmla="*/ 13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4930 w 10000"/>
                <a:gd name="connsiteY58" fmla="*/ 1187 h 10441"/>
                <a:gd name="connsiteX59" fmla="*/ 5634 w 10000"/>
                <a:gd name="connsiteY59" fmla="*/ 1426 h 10441"/>
                <a:gd name="connsiteX60" fmla="*/ 5915 w 10000"/>
                <a:gd name="connsiteY60" fmla="*/ 1277 h 10441"/>
                <a:gd name="connsiteX61" fmla="*/ 6103 w 10000"/>
                <a:gd name="connsiteY61" fmla="*/ 1605 h 10441"/>
                <a:gd name="connsiteX62" fmla="*/ 5681 w 10000"/>
                <a:gd name="connsiteY62" fmla="*/ 1844 h 10441"/>
                <a:gd name="connsiteX63" fmla="*/ 6009 w 10000"/>
                <a:gd name="connsiteY63" fmla="*/ 1963 h 10441"/>
                <a:gd name="connsiteX64" fmla="*/ 5915 w 10000"/>
                <a:gd name="connsiteY64" fmla="*/ 2381 h 10441"/>
                <a:gd name="connsiteX65" fmla="*/ 5446 w 10000"/>
                <a:gd name="connsiteY65" fmla="*/ 2710 h 10441"/>
                <a:gd name="connsiteX66" fmla="*/ 7042 w 10000"/>
                <a:gd name="connsiteY66" fmla="*/ 3247 h 10441"/>
                <a:gd name="connsiteX67" fmla="*/ 6620 w 10000"/>
                <a:gd name="connsiteY67" fmla="*/ 3486 h 10441"/>
                <a:gd name="connsiteX68" fmla="*/ 6103 w 10000"/>
                <a:gd name="connsiteY68" fmla="*/ 3396 h 10441"/>
                <a:gd name="connsiteX69" fmla="*/ 5634 w 10000"/>
                <a:gd name="connsiteY69" fmla="*/ 3486 h 10441"/>
                <a:gd name="connsiteX70" fmla="*/ 5728 w 10000"/>
                <a:gd name="connsiteY70" fmla="*/ 3754 h 10441"/>
                <a:gd name="connsiteX71" fmla="*/ 6056 w 10000"/>
                <a:gd name="connsiteY71" fmla="*/ 3874 h 10441"/>
                <a:gd name="connsiteX72" fmla="*/ 6150 w 10000"/>
                <a:gd name="connsiteY72" fmla="*/ 4590 h 10441"/>
                <a:gd name="connsiteX73" fmla="*/ 5540 w 10000"/>
                <a:gd name="connsiteY73" fmla="*/ 4620 h 10441"/>
                <a:gd name="connsiteX74" fmla="*/ 5540 w 10000"/>
                <a:gd name="connsiteY74" fmla="*/ 5038 h 10441"/>
                <a:gd name="connsiteX75" fmla="*/ 4601 w 10000"/>
                <a:gd name="connsiteY75" fmla="*/ 5456 h 10441"/>
                <a:gd name="connsiteX76" fmla="*/ 4883 w 10000"/>
                <a:gd name="connsiteY76" fmla="*/ 5844 h 10441"/>
                <a:gd name="connsiteX77" fmla="*/ 4648 w 10000"/>
                <a:gd name="connsiteY77" fmla="*/ 6202 h 10441"/>
                <a:gd name="connsiteX78" fmla="*/ 5446 w 10000"/>
                <a:gd name="connsiteY78" fmla="*/ 6889 h 10441"/>
                <a:gd name="connsiteX79" fmla="*/ 6573 w 10000"/>
                <a:gd name="connsiteY79" fmla="*/ 6889 h 10441"/>
                <a:gd name="connsiteX80" fmla="*/ 7230 w 10000"/>
                <a:gd name="connsiteY80" fmla="*/ 6769 h 10441"/>
                <a:gd name="connsiteX81" fmla="*/ 7793 w 10000"/>
                <a:gd name="connsiteY81" fmla="*/ 6919 h 10441"/>
                <a:gd name="connsiteX82" fmla="*/ 8263 w 10000"/>
                <a:gd name="connsiteY82" fmla="*/ 7307 h 10441"/>
                <a:gd name="connsiteX83" fmla="*/ 8638 w 10000"/>
                <a:gd name="connsiteY83" fmla="*/ 8053 h 10441"/>
                <a:gd name="connsiteX84" fmla="*/ 9014 w 10000"/>
                <a:gd name="connsiteY84" fmla="*/ 8023 h 10441"/>
                <a:gd name="connsiteX85" fmla="*/ 10000 w 10000"/>
                <a:gd name="connsiteY85" fmla="*/ 8769 h 10441"/>
                <a:gd name="connsiteX86" fmla="*/ 8826 w 10000"/>
                <a:gd name="connsiteY86" fmla="*/ 9575 h 10441"/>
                <a:gd name="connsiteX87" fmla="*/ 9296 w 10000"/>
                <a:gd name="connsiteY87" fmla="*/ 10172 h 10441"/>
                <a:gd name="connsiteX88" fmla="*/ 9108 w 10000"/>
                <a:gd name="connsiteY88" fmla="*/ 10411 h 10441"/>
                <a:gd name="connsiteX89" fmla="*/ 8826 w 10000"/>
                <a:gd name="connsiteY89" fmla="*/ 10172 h 10441"/>
                <a:gd name="connsiteX90" fmla="*/ 6948 w 10000"/>
                <a:gd name="connsiteY90" fmla="*/ 10142 h 10441"/>
                <a:gd name="connsiteX91" fmla="*/ 6620 w 10000"/>
                <a:gd name="connsiteY91" fmla="*/ 10441 h 10441"/>
                <a:gd name="connsiteX92" fmla="*/ 6056 w 10000"/>
                <a:gd name="connsiteY92" fmla="*/ 10411 h 10441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2629 w 10000"/>
                <a:gd name="connsiteY42" fmla="*/ 2411 h 10441"/>
                <a:gd name="connsiteX43" fmla="*/ 2770 w 10000"/>
                <a:gd name="connsiteY43" fmla="*/ 2023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549 w 10000"/>
                <a:gd name="connsiteY54" fmla="*/ 13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5562 w 10000"/>
                <a:gd name="connsiteY58" fmla="*/ 1016 h 10441"/>
                <a:gd name="connsiteX59" fmla="*/ 5634 w 10000"/>
                <a:gd name="connsiteY59" fmla="*/ 1426 h 10441"/>
                <a:gd name="connsiteX60" fmla="*/ 5915 w 10000"/>
                <a:gd name="connsiteY60" fmla="*/ 1277 h 10441"/>
                <a:gd name="connsiteX61" fmla="*/ 6103 w 10000"/>
                <a:gd name="connsiteY61" fmla="*/ 1605 h 10441"/>
                <a:gd name="connsiteX62" fmla="*/ 5681 w 10000"/>
                <a:gd name="connsiteY62" fmla="*/ 1844 h 10441"/>
                <a:gd name="connsiteX63" fmla="*/ 6009 w 10000"/>
                <a:gd name="connsiteY63" fmla="*/ 1963 h 10441"/>
                <a:gd name="connsiteX64" fmla="*/ 5915 w 10000"/>
                <a:gd name="connsiteY64" fmla="*/ 2381 h 10441"/>
                <a:gd name="connsiteX65" fmla="*/ 5446 w 10000"/>
                <a:gd name="connsiteY65" fmla="*/ 2710 h 10441"/>
                <a:gd name="connsiteX66" fmla="*/ 7042 w 10000"/>
                <a:gd name="connsiteY66" fmla="*/ 3247 h 10441"/>
                <a:gd name="connsiteX67" fmla="*/ 6620 w 10000"/>
                <a:gd name="connsiteY67" fmla="*/ 3486 h 10441"/>
                <a:gd name="connsiteX68" fmla="*/ 6103 w 10000"/>
                <a:gd name="connsiteY68" fmla="*/ 3396 h 10441"/>
                <a:gd name="connsiteX69" fmla="*/ 5634 w 10000"/>
                <a:gd name="connsiteY69" fmla="*/ 3486 h 10441"/>
                <a:gd name="connsiteX70" fmla="*/ 5728 w 10000"/>
                <a:gd name="connsiteY70" fmla="*/ 3754 h 10441"/>
                <a:gd name="connsiteX71" fmla="*/ 6056 w 10000"/>
                <a:gd name="connsiteY71" fmla="*/ 3874 h 10441"/>
                <a:gd name="connsiteX72" fmla="*/ 6150 w 10000"/>
                <a:gd name="connsiteY72" fmla="*/ 4590 h 10441"/>
                <a:gd name="connsiteX73" fmla="*/ 5540 w 10000"/>
                <a:gd name="connsiteY73" fmla="*/ 4620 h 10441"/>
                <a:gd name="connsiteX74" fmla="*/ 5540 w 10000"/>
                <a:gd name="connsiteY74" fmla="*/ 5038 h 10441"/>
                <a:gd name="connsiteX75" fmla="*/ 4601 w 10000"/>
                <a:gd name="connsiteY75" fmla="*/ 5456 h 10441"/>
                <a:gd name="connsiteX76" fmla="*/ 4883 w 10000"/>
                <a:gd name="connsiteY76" fmla="*/ 5844 h 10441"/>
                <a:gd name="connsiteX77" fmla="*/ 4648 w 10000"/>
                <a:gd name="connsiteY77" fmla="*/ 6202 h 10441"/>
                <a:gd name="connsiteX78" fmla="*/ 5446 w 10000"/>
                <a:gd name="connsiteY78" fmla="*/ 6889 h 10441"/>
                <a:gd name="connsiteX79" fmla="*/ 6573 w 10000"/>
                <a:gd name="connsiteY79" fmla="*/ 6889 h 10441"/>
                <a:gd name="connsiteX80" fmla="*/ 7230 w 10000"/>
                <a:gd name="connsiteY80" fmla="*/ 6769 h 10441"/>
                <a:gd name="connsiteX81" fmla="*/ 7793 w 10000"/>
                <a:gd name="connsiteY81" fmla="*/ 6919 h 10441"/>
                <a:gd name="connsiteX82" fmla="*/ 8263 w 10000"/>
                <a:gd name="connsiteY82" fmla="*/ 7307 h 10441"/>
                <a:gd name="connsiteX83" fmla="*/ 8638 w 10000"/>
                <a:gd name="connsiteY83" fmla="*/ 8053 h 10441"/>
                <a:gd name="connsiteX84" fmla="*/ 9014 w 10000"/>
                <a:gd name="connsiteY84" fmla="*/ 8023 h 10441"/>
                <a:gd name="connsiteX85" fmla="*/ 10000 w 10000"/>
                <a:gd name="connsiteY85" fmla="*/ 8769 h 10441"/>
                <a:gd name="connsiteX86" fmla="*/ 8826 w 10000"/>
                <a:gd name="connsiteY86" fmla="*/ 9575 h 10441"/>
                <a:gd name="connsiteX87" fmla="*/ 9296 w 10000"/>
                <a:gd name="connsiteY87" fmla="*/ 10172 h 10441"/>
                <a:gd name="connsiteX88" fmla="*/ 9108 w 10000"/>
                <a:gd name="connsiteY88" fmla="*/ 10411 h 10441"/>
                <a:gd name="connsiteX89" fmla="*/ 8826 w 10000"/>
                <a:gd name="connsiteY89" fmla="*/ 10172 h 10441"/>
                <a:gd name="connsiteX90" fmla="*/ 6948 w 10000"/>
                <a:gd name="connsiteY90" fmla="*/ 10142 h 10441"/>
                <a:gd name="connsiteX91" fmla="*/ 6620 w 10000"/>
                <a:gd name="connsiteY91" fmla="*/ 10441 h 10441"/>
                <a:gd name="connsiteX92" fmla="*/ 6056 w 10000"/>
                <a:gd name="connsiteY92" fmla="*/ 10411 h 10441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2629 w 10000"/>
                <a:gd name="connsiteY42" fmla="*/ 2411 h 10441"/>
                <a:gd name="connsiteX43" fmla="*/ 2770 w 10000"/>
                <a:gd name="connsiteY43" fmla="*/ 2023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549 w 10000"/>
                <a:gd name="connsiteY54" fmla="*/ 13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5562 w 10000"/>
                <a:gd name="connsiteY58" fmla="*/ 1016 h 10441"/>
                <a:gd name="connsiteX59" fmla="*/ 5634 w 10000"/>
                <a:gd name="connsiteY59" fmla="*/ 1426 h 10441"/>
                <a:gd name="connsiteX60" fmla="*/ 5915 w 10000"/>
                <a:gd name="connsiteY60" fmla="*/ 1277 h 10441"/>
                <a:gd name="connsiteX61" fmla="*/ 6103 w 10000"/>
                <a:gd name="connsiteY61" fmla="*/ 1605 h 10441"/>
                <a:gd name="connsiteX62" fmla="*/ 5681 w 10000"/>
                <a:gd name="connsiteY62" fmla="*/ 1844 h 10441"/>
                <a:gd name="connsiteX63" fmla="*/ 6009 w 10000"/>
                <a:gd name="connsiteY63" fmla="*/ 1963 h 10441"/>
                <a:gd name="connsiteX64" fmla="*/ 5915 w 10000"/>
                <a:gd name="connsiteY64" fmla="*/ 2381 h 10441"/>
                <a:gd name="connsiteX65" fmla="*/ 6553 w 10000"/>
                <a:gd name="connsiteY65" fmla="*/ 2835 h 10441"/>
                <a:gd name="connsiteX66" fmla="*/ 7042 w 10000"/>
                <a:gd name="connsiteY66" fmla="*/ 3247 h 10441"/>
                <a:gd name="connsiteX67" fmla="*/ 6620 w 10000"/>
                <a:gd name="connsiteY67" fmla="*/ 3486 h 10441"/>
                <a:gd name="connsiteX68" fmla="*/ 6103 w 10000"/>
                <a:gd name="connsiteY68" fmla="*/ 3396 h 10441"/>
                <a:gd name="connsiteX69" fmla="*/ 5634 w 10000"/>
                <a:gd name="connsiteY69" fmla="*/ 3486 h 10441"/>
                <a:gd name="connsiteX70" fmla="*/ 5728 w 10000"/>
                <a:gd name="connsiteY70" fmla="*/ 3754 h 10441"/>
                <a:gd name="connsiteX71" fmla="*/ 6056 w 10000"/>
                <a:gd name="connsiteY71" fmla="*/ 3874 h 10441"/>
                <a:gd name="connsiteX72" fmla="*/ 6150 w 10000"/>
                <a:gd name="connsiteY72" fmla="*/ 4590 h 10441"/>
                <a:gd name="connsiteX73" fmla="*/ 5540 w 10000"/>
                <a:gd name="connsiteY73" fmla="*/ 4620 h 10441"/>
                <a:gd name="connsiteX74" fmla="*/ 5540 w 10000"/>
                <a:gd name="connsiteY74" fmla="*/ 5038 h 10441"/>
                <a:gd name="connsiteX75" fmla="*/ 4601 w 10000"/>
                <a:gd name="connsiteY75" fmla="*/ 5456 h 10441"/>
                <a:gd name="connsiteX76" fmla="*/ 4883 w 10000"/>
                <a:gd name="connsiteY76" fmla="*/ 5844 h 10441"/>
                <a:gd name="connsiteX77" fmla="*/ 4648 w 10000"/>
                <a:gd name="connsiteY77" fmla="*/ 6202 h 10441"/>
                <a:gd name="connsiteX78" fmla="*/ 5446 w 10000"/>
                <a:gd name="connsiteY78" fmla="*/ 6889 h 10441"/>
                <a:gd name="connsiteX79" fmla="*/ 6573 w 10000"/>
                <a:gd name="connsiteY79" fmla="*/ 6889 h 10441"/>
                <a:gd name="connsiteX80" fmla="*/ 7230 w 10000"/>
                <a:gd name="connsiteY80" fmla="*/ 6769 h 10441"/>
                <a:gd name="connsiteX81" fmla="*/ 7793 w 10000"/>
                <a:gd name="connsiteY81" fmla="*/ 6919 h 10441"/>
                <a:gd name="connsiteX82" fmla="*/ 8263 w 10000"/>
                <a:gd name="connsiteY82" fmla="*/ 7307 h 10441"/>
                <a:gd name="connsiteX83" fmla="*/ 8638 w 10000"/>
                <a:gd name="connsiteY83" fmla="*/ 8053 h 10441"/>
                <a:gd name="connsiteX84" fmla="*/ 9014 w 10000"/>
                <a:gd name="connsiteY84" fmla="*/ 8023 h 10441"/>
                <a:gd name="connsiteX85" fmla="*/ 10000 w 10000"/>
                <a:gd name="connsiteY85" fmla="*/ 8769 h 10441"/>
                <a:gd name="connsiteX86" fmla="*/ 8826 w 10000"/>
                <a:gd name="connsiteY86" fmla="*/ 9575 h 10441"/>
                <a:gd name="connsiteX87" fmla="*/ 9296 w 10000"/>
                <a:gd name="connsiteY87" fmla="*/ 10172 h 10441"/>
                <a:gd name="connsiteX88" fmla="*/ 9108 w 10000"/>
                <a:gd name="connsiteY88" fmla="*/ 10411 h 10441"/>
                <a:gd name="connsiteX89" fmla="*/ 8826 w 10000"/>
                <a:gd name="connsiteY89" fmla="*/ 10172 h 10441"/>
                <a:gd name="connsiteX90" fmla="*/ 6948 w 10000"/>
                <a:gd name="connsiteY90" fmla="*/ 10142 h 10441"/>
                <a:gd name="connsiteX91" fmla="*/ 6620 w 10000"/>
                <a:gd name="connsiteY91" fmla="*/ 10441 h 10441"/>
                <a:gd name="connsiteX92" fmla="*/ 6056 w 10000"/>
                <a:gd name="connsiteY92" fmla="*/ 10411 h 10441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1854 w 10000"/>
                <a:gd name="connsiteY42" fmla="*/ 1859 h 10441"/>
                <a:gd name="connsiteX43" fmla="*/ 2770 w 10000"/>
                <a:gd name="connsiteY43" fmla="*/ 2023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549 w 10000"/>
                <a:gd name="connsiteY54" fmla="*/ 13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5562 w 10000"/>
                <a:gd name="connsiteY58" fmla="*/ 1016 h 10441"/>
                <a:gd name="connsiteX59" fmla="*/ 5634 w 10000"/>
                <a:gd name="connsiteY59" fmla="*/ 1426 h 10441"/>
                <a:gd name="connsiteX60" fmla="*/ 5915 w 10000"/>
                <a:gd name="connsiteY60" fmla="*/ 1277 h 10441"/>
                <a:gd name="connsiteX61" fmla="*/ 6103 w 10000"/>
                <a:gd name="connsiteY61" fmla="*/ 1605 h 10441"/>
                <a:gd name="connsiteX62" fmla="*/ 5681 w 10000"/>
                <a:gd name="connsiteY62" fmla="*/ 1844 h 10441"/>
                <a:gd name="connsiteX63" fmla="*/ 6009 w 10000"/>
                <a:gd name="connsiteY63" fmla="*/ 1963 h 10441"/>
                <a:gd name="connsiteX64" fmla="*/ 5915 w 10000"/>
                <a:gd name="connsiteY64" fmla="*/ 2381 h 10441"/>
                <a:gd name="connsiteX65" fmla="*/ 6553 w 10000"/>
                <a:gd name="connsiteY65" fmla="*/ 2835 h 10441"/>
                <a:gd name="connsiteX66" fmla="*/ 7042 w 10000"/>
                <a:gd name="connsiteY66" fmla="*/ 3247 h 10441"/>
                <a:gd name="connsiteX67" fmla="*/ 6620 w 10000"/>
                <a:gd name="connsiteY67" fmla="*/ 3486 h 10441"/>
                <a:gd name="connsiteX68" fmla="*/ 6103 w 10000"/>
                <a:gd name="connsiteY68" fmla="*/ 3396 h 10441"/>
                <a:gd name="connsiteX69" fmla="*/ 5634 w 10000"/>
                <a:gd name="connsiteY69" fmla="*/ 3486 h 10441"/>
                <a:gd name="connsiteX70" fmla="*/ 5728 w 10000"/>
                <a:gd name="connsiteY70" fmla="*/ 3754 h 10441"/>
                <a:gd name="connsiteX71" fmla="*/ 6056 w 10000"/>
                <a:gd name="connsiteY71" fmla="*/ 3874 h 10441"/>
                <a:gd name="connsiteX72" fmla="*/ 6150 w 10000"/>
                <a:gd name="connsiteY72" fmla="*/ 4590 h 10441"/>
                <a:gd name="connsiteX73" fmla="*/ 5540 w 10000"/>
                <a:gd name="connsiteY73" fmla="*/ 4620 h 10441"/>
                <a:gd name="connsiteX74" fmla="*/ 5540 w 10000"/>
                <a:gd name="connsiteY74" fmla="*/ 5038 h 10441"/>
                <a:gd name="connsiteX75" fmla="*/ 4601 w 10000"/>
                <a:gd name="connsiteY75" fmla="*/ 5456 h 10441"/>
                <a:gd name="connsiteX76" fmla="*/ 4883 w 10000"/>
                <a:gd name="connsiteY76" fmla="*/ 5844 h 10441"/>
                <a:gd name="connsiteX77" fmla="*/ 4648 w 10000"/>
                <a:gd name="connsiteY77" fmla="*/ 6202 h 10441"/>
                <a:gd name="connsiteX78" fmla="*/ 5446 w 10000"/>
                <a:gd name="connsiteY78" fmla="*/ 6889 h 10441"/>
                <a:gd name="connsiteX79" fmla="*/ 6573 w 10000"/>
                <a:gd name="connsiteY79" fmla="*/ 6889 h 10441"/>
                <a:gd name="connsiteX80" fmla="*/ 7230 w 10000"/>
                <a:gd name="connsiteY80" fmla="*/ 6769 h 10441"/>
                <a:gd name="connsiteX81" fmla="*/ 7793 w 10000"/>
                <a:gd name="connsiteY81" fmla="*/ 6919 h 10441"/>
                <a:gd name="connsiteX82" fmla="*/ 8263 w 10000"/>
                <a:gd name="connsiteY82" fmla="*/ 7307 h 10441"/>
                <a:gd name="connsiteX83" fmla="*/ 8638 w 10000"/>
                <a:gd name="connsiteY83" fmla="*/ 8053 h 10441"/>
                <a:gd name="connsiteX84" fmla="*/ 9014 w 10000"/>
                <a:gd name="connsiteY84" fmla="*/ 8023 h 10441"/>
                <a:gd name="connsiteX85" fmla="*/ 10000 w 10000"/>
                <a:gd name="connsiteY85" fmla="*/ 8769 h 10441"/>
                <a:gd name="connsiteX86" fmla="*/ 8826 w 10000"/>
                <a:gd name="connsiteY86" fmla="*/ 9575 h 10441"/>
                <a:gd name="connsiteX87" fmla="*/ 9296 w 10000"/>
                <a:gd name="connsiteY87" fmla="*/ 10172 h 10441"/>
                <a:gd name="connsiteX88" fmla="*/ 9108 w 10000"/>
                <a:gd name="connsiteY88" fmla="*/ 10411 h 10441"/>
                <a:gd name="connsiteX89" fmla="*/ 8826 w 10000"/>
                <a:gd name="connsiteY89" fmla="*/ 10172 h 10441"/>
                <a:gd name="connsiteX90" fmla="*/ 6948 w 10000"/>
                <a:gd name="connsiteY90" fmla="*/ 10142 h 10441"/>
                <a:gd name="connsiteX91" fmla="*/ 6620 w 10000"/>
                <a:gd name="connsiteY91" fmla="*/ 10441 h 10441"/>
                <a:gd name="connsiteX92" fmla="*/ 6056 w 10000"/>
                <a:gd name="connsiteY92" fmla="*/ 10411 h 10441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1854 w 10000"/>
                <a:gd name="connsiteY42" fmla="*/ 1859 h 10441"/>
                <a:gd name="connsiteX43" fmla="*/ 2180 w 10000"/>
                <a:gd name="connsiteY43" fmla="*/ 1567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549 w 10000"/>
                <a:gd name="connsiteY54" fmla="*/ 13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5562 w 10000"/>
                <a:gd name="connsiteY58" fmla="*/ 1016 h 10441"/>
                <a:gd name="connsiteX59" fmla="*/ 5634 w 10000"/>
                <a:gd name="connsiteY59" fmla="*/ 1426 h 10441"/>
                <a:gd name="connsiteX60" fmla="*/ 5915 w 10000"/>
                <a:gd name="connsiteY60" fmla="*/ 1277 h 10441"/>
                <a:gd name="connsiteX61" fmla="*/ 6103 w 10000"/>
                <a:gd name="connsiteY61" fmla="*/ 1605 h 10441"/>
                <a:gd name="connsiteX62" fmla="*/ 5681 w 10000"/>
                <a:gd name="connsiteY62" fmla="*/ 1844 h 10441"/>
                <a:gd name="connsiteX63" fmla="*/ 6009 w 10000"/>
                <a:gd name="connsiteY63" fmla="*/ 1963 h 10441"/>
                <a:gd name="connsiteX64" fmla="*/ 5915 w 10000"/>
                <a:gd name="connsiteY64" fmla="*/ 2381 h 10441"/>
                <a:gd name="connsiteX65" fmla="*/ 6553 w 10000"/>
                <a:gd name="connsiteY65" fmla="*/ 2835 h 10441"/>
                <a:gd name="connsiteX66" fmla="*/ 7042 w 10000"/>
                <a:gd name="connsiteY66" fmla="*/ 3247 h 10441"/>
                <a:gd name="connsiteX67" fmla="*/ 6620 w 10000"/>
                <a:gd name="connsiteY67" fmla="*/ 3486 h 10441"/>
                <a:gd name="connsiteX68" fmla="*/ 6103 w 10000"/>
                <a:gd name="connsiteY68" fmla="*/ 3396 h 10441"/>
                <a:gd name="connsiteX69" fmla="*/ 5634 w 10000"/>
                <a:gd name="connsiteY69" fmla="*/ 3486 h 10441"/>
                <a:gd name="connsiteX70" fmla="*/ 5728 w 10000"/>
                <a:gd name="connsiteY70" fmla="*/ 3754 h 10441"/>
                <a:gd name="connsiteX71" fmla="*/ 6056 w 10000"/>
                <a:gd name="connsiteY71" fmla="*/ 3874 h 10441"/>
                <a:gd name="connsiteX72" fmla="*/ 6150 w 10000"/>
                <a:gd name="connsiteY72" fmla="*/ 4590 h 10441"/>
                <a:gd name="connsiteX73" fmla="*/ 5540 w 10000"/>
                <a:gd name="connsiteY73" fmla="*/ 4620 h 10441"/>
                <a:gd name="connsiteX74" fmla="*/ 5540 w 10000"/>
                <a:gd name="connsiteY74" fmla="*/ 5038 h 10441"/>
                <a:gd name="connsiteX75" fmla="*/ 4601 w 10000"/>
                <a:gd name="connsiteY75" fmla="*/ 5456 h 10441"/>
                <a:gd name="connsiteX76" fmla="*/ 4883 w 10000"/>
                <a:gd name="connsiteY76" fmla="*/ 5844 h 10441"/>
                <a:gd name="connsiteX77" fmla="*/ 4648 w 10000"/>
                <a:gd name="connsiteY77" fmla="*/ 6202 h 10441"/>
                <a:gd name="connsiteX78" fmla="*/ 5446 w 10000"/>
                <a:gd name="connsiteY78" fmla="*/ 6889 h 10441"/>
                <a:gd name="connsiteX79" fmla="*/ 6573 w 10000"/>
                <a:gd name="connsiteY79" fmla="*/ 6889 h 10441"/>
                <a:gd name="connsiteX80" fmla="*/ 7230 w 10000"/>
                <a:gd name="connsiteY80" fmla="*/ 6769 h 10441"/>
                <a:gd name="connsiteX81" fmla="*/ 7793 w 10000"/>
                <a:gd name="connsiteY81" fmla="*/ 6919 h 10441"/>
                <a:gd name="connsiteX82" fmla="*/ 8263 w 10000"/>
                <a:gd name="connsiteY82" fmla="*/ 7307 h 10441"/>
                <a:gd name="connsiteX83" fmla="*/ 8638 w 10000"/>
                <a:gd name="connsiteY83" fmla="*/ 8053 h 10441"/>
                <a:gd name="connsiteX84" fmla="*/ 9014 w 10000"/>
                <a:gd name="connsiteY84" fmla="*/ 8023 h 10441"/>
                <a:gd name="connsiteX85" fmla="*/ 10000 w 10000"/>
                <a:gd name="connsiteY85" fmla="*/ 8769 h 10441"/>
                <a:gd name="connsiteX86" fmla="*/ 8826 w 10000"/>
                <a:gd name="connsiteY86" fmla="*/ 9575 h 10441"/>
                <a:gd name="connsiteX87" fmla="*/ 9296 w 10000"/>
                <a:gd name="connsiteY87" fmla="*/ 10172 h 10441"/>
                <a:gd name="connsiteX88" fmla="*/ 9108 w 10000"/>
                <a:gd name="connsiteY88" fmla="*/ 10411 h 10441"/>
                <a:gd name="connsiteX89" fmla="*/ 8826 w 10000"/>
                <a:gd name="connsiteY89" fmla="*/ 10172 h 10441"/>
                <a:gd name="connsiteX90" fmla="*/ 6948 w 10000"/>
                <a:gd name="connsiteY90" fmla="*/ 10142 h 10441"/>
                <a:gd name="connsiteX91" fmla="*/ 6620 w 10000"/>
                <a:gd name="connsiteY91" fmla="*/ 10441 h 10441"/>
                <a:gd name="connsiteX92" fmla="*/ 6056 w 10000"/>
                <a:gd name="connsiteY92" fmla="*/ 10411 h 10441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1854 w 10000"/>
                <a:gd name="connsiteY42" fmla="*/ 1859 h 10441"/>
                <a:gd name="connsiteX43" fmla="*/ 2180 w 10000"/>
                <a:gd name="connsiteY43" fmla="*/ 1567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549 w 10000"/>
                <a:gd name="connsiteY54" fmla="*/ 13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5143 w 10000"/>
                <a:gd name="connsiteY58" fmla="*/ 981 h 10441"/>
                <a:gd name="connsiteX59" fmla="*/ 5562 w 10000"/>
                <a:gd name="connsiteY59" fmla="*/ 1016 h 10441"/>
                <a:gd name="connsiteX60" fmla="*/ 5634 w 10000"/>
                <a:gd name="connsiteY60" fmla="*/ 1426 h 10441"/>
                <a:gd name="connsiteX61" fmla="*/ 5915 w 10000"/>
                <a:gd name="connsiteY61" fmla="*/ 1277 h 10441"/>
                <a:gd name="connsiteX62" fmla="*/ 6103 w 10000"/>
                <a:gd name="connsiteY62" fmla="*/ 1605 h 10441"/>
                <a:gd name="connsiteX63" fmla="*/ 5681 w 10000"/>
                <a:gd name="connsiteY63" fmla="*/ 1844 h 10441"/>
                <a:gd name="connsiteX64" fmla="*/ 6009 w 10000"/>
                <a:gd name="connsiteY64" fmla="*/ 1963 h 10441"/>
                <a:gd name="connsiteX65" fmla="*/ 5915 w 10000"/>
                <a:gd name="connsiteY65" fmla="*/ 2381 h 10441"/>
                <a:gd name="connsiteX66" fmla="*/ 6553 w 10000"/>
                <a:gd name="connsiteY66" fmla="*/ 2835 h 10441"/>
                <a:gd name="connsiteX67" fmla="*/ 7042 w 10000"/>
                <a:gd name="connsiteY67" fmla="*/ 3247 h 10441"/>
                <a:gd name="connsiteX68" fmla="*/ 6620 w 10000"/>
                <a:gd name="connsiteY68" fmla="*/ 3486 h 10441"/>
                <a:gd name="connsiteX69" fmla="*/ 6103 w 10000"/>
                <a:gd name="connsiteY69" fmla="*/ 3396 h 10441"/>
                <a:gd name="connsiteX70" fmla="*/ 5634 w 10000"/>
                <a:gd name="connsiteY70" fmla="*/ 3486 h 10441"/>
                <a:gd name="connsiteX71" fmla="*/ 5728 w 10000"/>
                <a:gd name="connsiteY71" fmla="*/ 3754 h 10441"/>
                <a:gd name="connsiteX72" fmla="*/ 6056 w 10000"/>
                <a:gd name="connsiteY72" fmla="*/ 3874 h 10441"/>
                <a:gd name="connsiteX73" fmla="*/ 6150 w 10000"/>
                <a:gd name="connsiteY73" fmla="*/ 4590 h 10441"/>
                <a:gd name="connsiteX74" fmla="*/ 5540 w 10000"/>
                <a:gd name="connsiteY74" fmla="*/ 4620 h 10441"/>
                <a:gd name="connsiteX75" fmla="*/ 5540 w 10000"/>
                <a:gd name="connsiteY75" fmla="*/ 5038 h 10441"/>
                <a:gd name="connsiteX76" fmla="*/ 4601 w 10000"/>
                <a:gd name="connsiteY76" fmla="*/ 5456 h 10441"/>
                <a:gd name="connsiteX77" fmla="*/ 4883 w 10000"/>
                <a:gd name="connsiteY77" fmla="*/ 5844 h 10441"/>
                <a:gd name="connsiteX78" fmla="*/ 4648 w 10000"/>
                <a:gd name="connsiteY78" fmla="*/ 6202 h 10441"/>
                <a:gd name="connsiteX79" fmla="*/ 5446 w 10000"/>
                <a:gd name="connsiteY79" fmla="*/ 6889 h 10441"/>
                <a:gd name="connsiteX80" fmla="*/ 6573 w 10000"/>
                <a:gd name="connsiteY80" fmla="*/ 6889 h 10441"/>
                <a:gd name="connsiteX81" fmla="*/ 7230 w 10000"/>
                <a:gd name="connsiteY81" fmla="*/ 6769 h 10441"/>
                <a:gd name="connsiteX82" fmla="*/ 7793 w 10000"/>
                <a:gd name="connsiteY82" fmla="*/ 6919 h 10441"/>
                <a:gd name="connsiteX83" fmla="*/ 8263 w 10000"/>
                <a:gd name="connsiteY83" fmla="*/ 7307 h 10441"/>
                <a:gd name="connsiteX84" fmla="*/ 8638 w 10000"/>
                <a:gd name="connsiteY84" fmla="*/ 8053 h 10441"/>
                <a:gd name="connsiteX85" fmla="*/ 9014 w 10000"/>
                <a:gd name="connsiteY85" fmla="*/ 8023 h 10441"/>
                <a:gd name="connsiteX86" fmla="*/ 10000 w 10000"/>
                <a:gd name="connsiteY86" fmla="*/ 8769 h 10441"/>
                <a:gd name="connsiteX87" fmla="*/ 8826 w 10000"/>
                <a:gd name="connsiteY87" fmla="*/ 9575 h 10441"/>
                <a:gd name="connsiteX88" fmla="*/ 9296 w 10000"/>
                <a:gd name="connsiteY88" fmla="*/ 10172 h 10441"/>
                <a:gd name="connsiteX89" fmla="*/ 9108 w 10000"/>
                <a:gd name="connsiteY89" fmla="*/ 10411 h 10441"/>
                <a:gd name="connsiteX90" fmla="*/ 8826 w 10000"/>
                <a:gd name="connsiteY90" fmla="*/ 10172 h 10441"/>
                <a:gd name="connsiteX91" fmla="*/ 6948 w 10000"/>
                <a:gd name="connsiteY91" fmla="*/ 10142 h 10441"/>
                <a:gd name="connsiteX92" fmla="*/ 6620 w 10000"/>
                <a:gd name="connsiteY92" fmla="*/ 10441 h 10441"/>
                <a:gd name="connsiteX93" fmla="*/ 6056 w 10000"/>
                <a:gd name="connsiteY93" fmla="*/ 10411 h 10441"/>
                <a:gd name="connsiteX0" fmla="*/ 6056 w 10000"/>
                <a:gd name="connsiteY0" fmla="*/ 10411 h 10441"/>
                <a:gd name="connsiteX1" fmla="*/ 6150 w 10000"/>
                <a:gd name="connsiteY1" fmla="*/ 9575 h 10441"/>
                <a:gd name="connsiteX2" fmla="*/ 6432 w 10000"/>
                <a:gd name="connsiteY2" fmla="*/ 8769 h 10441"/>
                <a:gd name="connsiteX3" fmla="*/ 5634 w 10000"/>
                <a:gd name="connsiteY3" fmla="*/ 8590 h 10441"/>
                <a:gd name="connsiteX4" fmla="*/ 5399 w 10000"/>
                <a:gd name="connsiteY4" fmla="*/ 8411 h 10441"/>
                <a:gd name="connsiteX5" fmla="*/ 5023 w 10000"/>
                <a:gd name="connsiteY5" fmla="*/ 8501 h 10441"/>
                <a:gd name="connsiteX6" fmla="*/ 4695 w 10000"/>
                <a:gd name="connsiteY6" fmla="*/ 7934 h 10441"/>
                <a:gd name="connsiteX7" fmla="*/ 4131 w 10000"/>
                <a:gd name="connsiteY7" fmla="*/ 7575 h 10441"/>
                <a:gd name="connsiteX8" fmla="*/ 3709 w 10000"/>
                <a:gd name="connsiteY8" fmla="*/ 7605 h 10441"/>
                <a:gd name="connsiteX9" fmla="*/ 3803 w 10000"/>
                <a:gd name="connsiteY9" fmla="*/ 7784 h 10441"/>
                <a:gd name="connsiteX10" fmla="*/ 3333 w 10000"/>
                <a:gd name="connsiteY10" fmla="*/ 7814 h 10441"/>
                <a:gd name="connsiteX11" fmla="*/ 3286 w 10000"/>
                <a:gd name="connsiteY11" fmla="*/ 7128 h 10441"/>
                <a:gd name="connsiteX12" fmla="*/ 2535 w 10000"/>
                <a:gd name="connsiteY12" fmla="*/ 7098 h 10441"/>
                <a:gd name="connsiteX13" fmla="*/ 2629 w 10000"/>
                <a:gd name="connsiteY13" fmla="*/ 6799 h 10441"/>
                <a:gd name="connsiteX14" fmla="*/ 2300 w 10000"/>
                <a:gd name="connsiteY14" fmla="*/ 6710 h 10441"/>
                <a:gd name="connsiteX15" fmla="*/ 2113 w 10000"/>
                <a:gd name="connsiteY15" fmla="*/ 6202 h 10441"/>
                <a:gd name="connsiteX16" fmla="*/ 2441 w 10000"/>
                <a:gd name="connsiteY16" fmla="*/ 6053 h 10441"/>
                <a:gd name="connsiteX17" fmla="*/ 2911 w 10000"/>
                <a:gd name="connsiteY17" fmla="*/ 5665 h 10441"/>
                <a:gd name="connsiteX18" fmla="*/ 2629 w 10000"/>
                <a:gd name="connsiteY18" fmla="*/ 5456 h 10441"/>
                <a:gd name="connsiteX19" fmla="*/ 3192 w 10000"/>
                <a:gd name="connsiteY19" fmla="*/ 5128 h 10441"/>
                <a:gd name="connsiteX20" fmla="*/ 2629 w 10000"/>
                <a:gd name="connsiteY20" fmla="*/ 5128 h 10441"/>
                <a:gd name="connsiteX21" fmla="*/ 2629 w 10000"/>
                <a:gd name="connsiteY21" fmla="*/ 4769 h 10441"/>
                <a:gd name="connsiteX22" fmla="*/ 2817 w 10000"/>
                <a:gd name="connsiteY22" fmla="*/ 4202 h 10441"/>
                <a:gd name="connsiteX23" fmla="*/ 2582 w 10000"/>
                <a:gd name="connsiteY23" fmla="*/ 3725 h 10441"/>
                <a:gd name="connsiteX24" fmla="*/ 2019 w 10000"/>
                <a:gd name="connsiteY24" fmla="*/ 3993 h 10441"/>
                <a:gd name="connsiteX25" fmla="*/ 1643 w 10000"/>
                <a:gd name="connsiteY25" fmla="*/ 3725 h 10441"/>
                <a:gd name="connsiteX26" fmla="*/ 1315 w 10000"/>
                <a:gd name="connsiteY26" fmla="*/ 3725 h 10441"/>
                <a:gd name="connsiteX27" fmla="*/ 1925 w 10000"/>
                <a:gd name="connsiteY27" fmla="*/ 3038 h 10441"/>
                <a:gd name="connsiteX28" fmla="*/ 1831 w 10000"/>
                <a:gd name="connsiteY28" fmla="*/ 2799 h 10441"/>
                <a:gd name="connsiteX29" fmla="*/ 1315 w 10000"/>
                <a:gd name="connsiteY29" fmla="*/ 2799 h 10441"/>
                <a:gd name="connsiteX30" fmla="*/ 939 w 10000"/>
                <a:gd name="connsiteY30" fmla="*/ 2620 h 10441"/>
                <a:gd name="connsiteX31" fmla="*/ 610 w 10000"/>
                <a:gd name="connsiteY31" fmla="*/ 2590 h 10441"/>
                <a:gd name="connsiteX32" fmla="*/ 798 w 10000"/>
                <a:gd name="connsiteY32" fmla="*/ 2292 h 10441"/>
                <a:gd name="connsiteX33" fmla="*/ 188 w 10000"/>
                <a:gd name="connsiteY33" fmla="*/ 2501 h 10441"/>
                <a:gd name="connsiteX34" fmla="*/ 0 w 10000"/>
                <a:gd name="connsiteY34" fmla="*/ 2471 h 10441"/>
                <a:gd name="connsiteX35" fmla="*/ 751 w 10000"/>
                <a:gd name="connsiteY35" fmla="*/ 2142 h 10441"/>
                <a:gd name="connsiteX36" fmla="*/ 986 w 10000"/>
                <a:gd name="connsiteY36" fmla="*/ 2142 h 10441"/>
                <a:gd name="connsiteX37" fmla="*/ 1784 w 10000"/>
                <a:gd name="connsiteY37" fmla="*/ 2142 h 10441"/>
                <a:gd name="connsiteX38" fmla="*/ 1033 w 10000"/>
                <a:gd name="connsiteY38" fmla="*/ 2202 h 10441"/>
                <a:gd name="connsiteX39" fmla="*/ 986 w 10000"/>
                <a:gd name="connsiteY39" fmla="*/ 2292 h 10441"/>
                <a:gd name="connsiteX40" fmla="*/ 1878 w 10000"/>
                <a:gd name="connsiteY40" fmla="*/ 2262 h 10441"/>
                <a:gd name="connsiteX41" fmla="*/ 2066 w 10000"/>
                <a:gd name="connsiteY41" fmla="*/ 2501 h 10441"/>
                <a:gd name="connsiteX42" fmla="*/ 1854 w 10000"/>
                <a:gd name="connsiteY42" fmla="*/ 1859 h 10441"/>
                <a:gd name="connsiteX43" fmla="*/ 2180 w 10000"/>
                <a:gd name="connsiteY43" fmla="*/ 1567 h 10441"/>
                <a:gd name="connsiteX44" fmla="*/ 3146 w 10000"/>
                <a:gd name="connsiteY44" fmla="*/ 1754 h 10441"/>
                <a:gd name="connsiteX45" fmla="*/ 3005 w 10000"/>
                <a:gd name="connsiteY45" fmla="*/ 1486 h 10441"/>
                <a:gd name="connsiteX46" fmla="*/ 2723 w 10000"/>
                <a:gd name="connsiteY46" fmla="*/ 1516 h 10441"/>
                <a:gd name="connsiteX47" fmla="*/ 2535 w 10000"/>
                <a:gd name="connsiteY47" fmla="*/ 1277 h 10441"/>
                <a:gd name="connsiteX48" fmla="*/ 3146 w 10000"/>
                <a:gd name="connsiteY48" fmla="*/ 1187 h 10441"/>
                <a:gd name="connsiteX49" fmla="*/ 2676 w 10000"/>
                <a:gd name="connsiteY49" fmla="*/ 680 h 10441"/>
                <a:gd name="connsiteX50" fmla="*/ 2300 w 10000"/>
                <a:gd name="connsiteY50" fmla="*/ 740 h 10441"/>
                <a:gd name="connsiteX51" fmla="*/ 2254 w 10000"/>
                <a:gd name="connsiteY51" fmla="*/ 560 h 10441"/>
                <a:gd name="connsiteX52" fmla="*/ 2629 w 10000"/>
                <a:gd name="connsiteY52" fmla="*/ 441 h 10441"/>
                <a:gd name="connsiteX53" fmla="*/ 2497 w 10000"/>
                <a:gd name="connsiteY53" fmla="*/ 0 h 10441"/>
                <a:gd name="connsiteX54" fmla="*/ 3876 w 10000"/>
                <a:gd name="connsiteY54" fmla="*/ 100 h 10441"/>
                <a:gd name="connsiteX55" fmla="*/ 4601 w 10000"/>
                <a:gd name="connsiteY55" fmla="*/ 769 h 10441"/>
                <a:gd name="connsiteX56" fmla="*/ 4695 w 10000"/>
                <a:gd name="connsiteY56" fmla="*/ 1068 h 10441"/>
                <a:gd name="connsiteX57" fmla="*/ 4413 w 10000"/>
                <a:gd name="connsiteY57" fmla="*/ 1307 h 10441"/>
                <a:gd name="connsiteX58" fmla="*/ 5143 w 10000"/>
                <a:gd name="connsiteY58" fmla="*/ 981 h 10441"/>
                <a:gd name="connsiteX59" fmla="*/ 5562 w 10000"/>
                <a:gd name="connsiteY59" fmla="*/ 1016 h 10441"/>
                <a:gd name="connsiteX60" fmla="*/ 5634 w 10000"/>
                <a:gd name="connsiteY60" fmla="*/ 1426 h 10441"/>
                <a:gd name="connsiteX61" fmla="*/ 5915 w 10000"/>
                <a:gd name="connsiteY61" fmla="*/ 1277 h 10441"/>
                <a:gd name="connsiteX62" fmla="*/ 6103 w 10000"/>
                <a:gd name="connsiteY62" fmla="*/ 1605 h 10441"/>
                <a:gd name="connsiteX63" fmla="*/ 5681 w 10000"/>
                <a:gd name="connsiteY63" fmla="*/ 1844 h 10441"/>
                <a:gd name="connsiteX64" fmla="*/ 6009 w 10000"/>
                <a:gd name="connsiteY64" fmla="*/ 1963 h 10441"/>
                <a:gd name="connsiteX65" fmla="*/ 5915 w 10000"/>
                <a:gd name="connsiteY65" fmla="*/ 2381 h 10441"/>
                <a:gd name="connsiteX66" fmla="*/ 6553 w 10000"/>
                <a:gd name="connsiteY66" fmla="*/ 2835 h 10441"/>
                <a:gd name="connsiteX67" fmla="*/ 7042 w 10000"/>
                <a:gd name="connsiteY67" fmla="*/ 3247 h 10441"/>
                <a:gd name="connsiteX68" fmla="*/ 6620 w 10000"/>
                <a:gd name="connsiteY68" fmla="*/ 3486 h 10441"/>
                <a:gd name="connsiteX69" fmla="*/ 6103 w 10000"/>
                <a:gd name="connsiteY69" fmla="*/ 3396 h 10441"/>
                <a:gd name="connsiteX70" fmla="*/ 5634 w 10000"/>
                <a:gd name="connsiteY70" fmla="*/ 3486 h 10441"/>
                <a:gd name="connsiteX71" fmla="*/ 5728 w 10000"/>
                <a:gd name="connsiteY71" fmla="*/ 3754 h 10441"/>
                <a:gd name="connsiteX72" fmla="*/ 6056 w 10000"/>
                <a:gd name="connsiteY72" fmla="*/ 3874 h 10441"/>
                <a:gd name="connsiteX73" fmla="*/ 6150 w 10000"/>
                <a:gd name="connsiteY73" fmla="*/ 4590 h 10441"/>
                <a:gd name="connsiteX74" fmla="*/ 5540 w 10000"/>
                <a:gd name="connsiteY74" fmla="*/ 4620 h 10441"/>
                <a:gd name="connsiteX75" fmla="*/ 5540 w 10000"/>
                <a:gd name="connsiteY75" fmla="*/ 5038 h 10441"/>
                <a:gd name="connsiteX76" fmla="*/ 4601 w 10000"/>
                <a:gd name="connsiteY76" fmla="*/ 5456 h 10441"/>
                <a:gd name="connsiteX77" fmla="*/ 4883 w 10000"/>
                <a:gd name="connsiteY77" fmla="*/ 5844 h 10441"/>
                <a:gd name="connsiteX78" fmla="*/ 4648 w 10000"/>
                <a:gd name="connsiteY78" fmla="*/ 6202 h 10441"/>
                <a:gd name="connsiteX79" fmla="*/ 5446 w 10000"/>
                <a:gd name="connsiteY79" fmla="*/ 6889 h 10441"/>
                <a:gd name="connsiteX80" fmla="*/ 6573 w 10000"/>
                <a:gd name="connsiteY80" fmla="*/ 6889 h 10441"/>
                <a:gd name="connsiteX81" fmla="*/ 7230 w 10000"/>
                <a:gd name="connsiteY81" fmla="*/ 6769 h 10441"/>
                <a:gd name="connsiteX82" fmla="*/ 7793 w 10000"/>
                <a:gd name="connsiteY82" fmla="*/ 6919 h 10441"/>
                <a:gd name="connsiteX83" fmla="*/ 8263 w 10000"/>
                <a:gd name="connsiteY83" fmla="*/ 7307 h 10441"/>
                <a:gd name="connsiteX84" fmla="*/ 8638 w 10000"/>
                <a:gd name="connsiteY84" fmla="*/ 8053 h 10441"/>
                <a:gd name="connsiteX85" fmla="*/ 9014 w 10000"/>
                <a:gd name="connsiteY85" fmla="*/ 8023 h 10441"/>
                <a:gd name="connsiteX86" fmla="*/ 10000 w 10000"/>
                <a:gd name="connsiteY86" fmla="*/ 8769 h 10441"/>
                <a:gd name="connsiteX87" fmla="*/ 8826 w 10000"/>
                <a:gd name="connsiteY87" fmla="*/ 9575 h 10441"/>
                <a:gd name="connsiteX88" fmla="*/ 9296 w 10000"/>
                <a:gd name="connsiteY88" fmla="*/ 10172 h 10441"/>
                <a:gd name="connsiteX89" fmla="*/ 9108 w 10000"/>
                <a:gd name="connsiteY89" fmla="*/ 10411 h 10441"/>
                <a:gd name="connsiteX90" fmla="*/ 8826 w 10000"/>
                <a:gd name="connsiteY90" fmla="*/ 10172 h 10441"/>
                <a:gd name="connsiteX91" fmla="*/ 6948 w 10000"/>
                <a:gd name="connsiteY91" fmla="*/ 10142 h 10441"/>
                <a:gd name="connsiteX92" fmla="*/ 6620 w 10000"/>
                <a:gd name="connsiteY92" fmla="*/ 10441 h 10441"/>
                <a:gd name="connsiteX93" fmla="*/ 6056 w 10000"/>
                <a:gd name="connsiteY93" fmla="*/ 10411 h 10441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3146 w 10000"/>
                <a:gd name="connsiteY48" fmla="*/ 1506 h 10760"/>
                <a:gd name="connsiteX49" fmla="*/ 2676 w 10000"/>
                <a:gd name="connsiteY49" fmla="*/ 99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629 w 10000"/>
                <a:gd name="connsiteY52" fmla="*/ 760 h 10760"/>
                <a:gd name="connsiteX53" fmla="*/ 2267 w 10000"/>
                <a:gd name="connsiteY53" fmla="*/ 0 h 10760"/>
                <a:gd name="connsiteX54" fmla="*/ 3876 w 10000"/>
                <a:gd name="connsiteY54" fmla="*/ 419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413 w 10000"/>
                <a:gd name="connsiteY57" fmla="*/ 1626 h 10760"/>
                <a:gd name="connsiteX58" fmla="*/ 5143 w 10000"/>
                <a:gd name="connsiteY58" fmla="*/ 1300 h 10760"/>
                <a:gd name="connsiteX59" fmla="*/ 5562 w 10000"/>
                <a:gd name="connsiteY59" fmla="*/ 1335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3146 w 10000"/>
                <a:gd name="connsiteY48" fmla="*/ 1506 h 10760"/>
                <a:gd name="connsiteX49" fmla="*/ 2676 w 10000"/>
                <a:gd name="connsiteY49" fmla="*/ 99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629 w 10000"/>
                <a:gd name="connsiteY52" fmla="*/ 760 h 10760"/>
                <a:gd name="connsiteX53" fmla="*/ 2267 w 10000"/>
                <a:gd name="connsiteY53" fmla="*/ 0 h 10760"/>
                <a:gd name="connsiteX54" fmla="*/ 3423 w 10000"/>
                <a:gd name="connsiteY54" fmla="*/ 234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413 w 10000"/>
                <a:gd name="connsiteY57" fmla="*/ 1626 h 10760"/>
                <a:gd name="connsiteX58" fmla="*/ 5143 w 10000"/>
                <a:gd name="connsiteY58" fmla="*/ 1300 h 10760"/>
                <a:gd name="connsiteX59" fmla="*/ 5562 w 10000"/>
                <a:gd name="connsiteY59" fmla="*/ 1335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676 w 10000"/>
                <a:gd name="connsiteY49" fmla="*/ 99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629 w 10000"/>
                <a:gd name="connsiteY52" fmla="*/ 760 h 10760"/>
                <a:gd name="connsiteX53" fmla="*/ 2267 w 10000"/>
                <a:gd name="connsiteY53" fmla="*/ 0 h 10760"/>
                <a:gd name="connsiteX54" fmla="*/ 3423 w 10000"/>
                <a:gd name="connsiteY54" fmla="*/ 234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413 w 10000"/>
                <a:gd name="connsiteY57" fmla="*/ 1626 h 10760"/>
                <a:gd name="connsiteX58" fmla="*/ 5143 w 10000"/>
                <a:gd name="connsiteY58" fmla="*/ 1300 h 10760"/>
                <a:gd name="connsiteX59" fmla="*/ 5562 w 10000"/>
                <a:gd name="connsiteY59" fmla="*/ 1335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629 w 10000"/>
                <a:gd name="connsiteY52" fmla="*/ 760 h 10760"/>
                <a:gd name="connsiteX53" fmla="*/ 2267 w 10000"/>
                <a:gd name="connsiteY53" fmla="*/ 0 h 10760"/>
                <a:gd name="connsiteX54" fmla="*/ 3423 w 10000"/>
                <a:gd name="connsiteY54" fmla="*/ 234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413 w 10000"/>
                <a:gd name="connsiteY57" fmla="*/ 1626 h 10760"/>
                <a:gd name="connsiteX58" fmla="*/ 5143 w 10000"/>
                <a:gd name="connsiteY58" fmla="*/ 1300 h 10760"/>
                <a:gd name="connsiteX59" fmla="*/ 5562 w 10000"/>
                <a:gd name="connsiteY59" fmla="*/ 1335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423 w 10000"/>
                <a:gd name="connsiteY54" fmla="*/ 234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413 w 10000"/>
                <a:gd name="connsiteY57" fmla="*/ 1626 h 10760"/>
                <a:gd name="connsiteX58" fmla="*/ 5143 w 10000"/>
                <a:gd name="connsiteY58" fmla="*/ 1300 h 10760"/>
                <a:gd name="connsiteX59" fmla="*/ 5562 w 10000"/>
                <a:gd name="connsiteY59" fmla="*/ 1335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413 w 10000"/>
                <a:gd name="connsiteY57" fmla="*/ 1626 h 10760"/>
                <a:gd name="connsiteX58" fmla="*/ 5143 w 10000"/>
                <a:gd name="connsiteY58" fmla="*/ 1300 h 10760"/>
                <a:gd name="connsiteX59" fmla="*/ 5562 w 10000"/>
                <a:gd name="connsiteY59" fmla="*/ 1335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62 w 10000"/>
                <a:gd name="connsiteY59" fmla="*/ 1335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695 w 10000"/>
                <a:gd name="connsiteY56" fmla="*/ 1387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553 w 10000"/>
                <a:gd name="connsiteY66" fmla="*/ 3154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7042 w 10000"/>
                <a:gd name="connsiteY67" fmla="*/ 3566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6620 w 10000"/>
                <a:gd name="connsiteY68" fmla="*/ 3805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6056 w 10000"/>
                <a:gd name="connsiteY72" fmla="*/ 4193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728 w 10000"/>
                <a:gd name="connsiteY71" fmla="*/ 4073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2019 w 10000"/>
                <a:gd name="connsiteY24" fmla="*/ 431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1643 w 10000"/>
                <a:gd name="connsiteY25" fmla="*/ 4044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1315 w 10000"/>
                <a:gd name="connsiteY26" fmla="*/ 4044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831 w 10000"/>
                <a:gd name="connsiteY28" fmla="*/ 3118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610 w 10000"/>
                <a:gd name="connsiteY31" fmla="*/ 2909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798 w 10000"/>
                <a:gd name="connsiteY32" fmla="*/ 2611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751 w 10000"/>
                <a:gd name="connsiteY35" fmla="*/ 2461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358 w 10000"/>
                <a:gd name="connsiteY35" fmla="*/ 1986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986 w 10000"/>
                <a:gd name="connsiteY39" fmla="*/ 261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358 w 10000"/>
                <a:gd name="connsiteY35" fmla="*/ 1986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1033 w 10000"/>
                <a:gd name="connsiteY38" fmla="*/ 2521 h 10760"/>
                <a:gd name="connsiteX39" fmla="*/ 1019 w 10000"/>
                <a:gd name="connsiteY39" fmla="*/ 202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358 w 10000"/>
                <a:gd name="connsiteY35" fmla="*/ 1986 h 10760"/>
                <a:gd name="connsiteX36" fmla="*/ 986 w 10000"/>
                <a:gd name="connsiteY36" fmla="*/ 2461 h 10760"/>
                <a:gd name="connsiteX37" fmla="*/ 1784 w 10000"/>
                <a:gd name="connsiteY37" fmla="*/ 2461 h 10760"/>
                <a:gd name="connsiteX38" fmla="*/ 708 w 10000"/>
                <a:gd name="connsiteY38" fmla="*/ 2015 h 10760"/>
                <a:gd name="connsiteX39" fmla="*/ 1019 w 10000"/>
                <a:gd name="connsiteY39" fmla="*/ 202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358 w 10000"/>
                <a:gd name="connsiteY35" fmla="*/ 1986 h 10760"/>
                <a:gd name="connsiteX36" fmla="*/ 1007 w 10000"/>
                <a:gd name="connsiteY36" fmla="*/ 1999 h 10760"/>
                <a:gd name="connsiteX37" fmla="*/ 1784 w 10000"/>
                <a:gd name="connsiteY37" fmla="*/ 2461 h 10760"/>
                <a:gd name="connsiteX38" fmla="*/ 708 w 10000"/>
                <a:gd name="connsiteY38" fmla="*/ 2015 h 10760"/>
                <a:gd name="connsiteX39" fmla="*/ 1019 w 10000"/>
                <a:gd name="connsiteY39" fmla="*/ 202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358 w 10000"/>
                <a:gd name="connsiteY35" fmla="*/ 1986 h 10760"/>
                <a:gd name="connsiteX36" fmla="*/ 1007 w 10000"/>
                <a:gd name="connsiteY36" fmla="*/ 1999 h 10760"/>
                <a:gd name="connsiteX37" fmla="*/ 1784 w 10000"/>
                <a:gd name="connsiteY37" fmla="*/ 2461 h 10760"/>
                <a:gd name="connsiteX38" fmla="*/ 708 w 10000"/>
                <a:gd name="connsiteY38" fmla="*/ 2015 h 10760"/>
                <a:gd name="connsiteX39" fmla="*/ 1019 w 10000"/>
                <a:gd name="connsiteY39" fmla="*/ 202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3146 w 10000"/>
                <a:gd name="connsiteY44" fmla="*/ 207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358 w 10000"/>
                <a:gd name="connsiteY35" fmla="*/ 1986 h 10760"/>
                <a:gd name="connsiteX36" fmla="*/ 1007 w 10000"/>
                <a:gd name="connsiteY36" fmla="*/ 1999 h 10760"/>
                <a:gd name="connsiteX37" fmla="*/ 1784 w 10000"/>
                <a:gd name="connsiteY37" fmla="*/ 2461 h 10760"/>
                <a:gd name="connsiteX38" fmla="*/ 708 w 10000"/>
                <a:gd name="connsiteY38" fmla="*/ 2015 h 10760"/>
                <a:gd name="connsiteX39" fmla="*/ 1019 w 10000"/>
                <a:gd name="connsiteY39" fmla="*/ 2021 h 10760"/>
                <a:gd name="connsiteX40" fmla="*/ 1878 w 10000"/>
                <a:gd name="connsiteY40" fmla="*/ 2581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2305 w 10000"/>
                <a:gd name="connsiteY44" fmla="*/ 179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056 w 10000"/>
                <a:gd name="connsiteY0" fmla="*/ 10730 h 10760"/>
                <a:gd name="connsiteX1" fmla="*/ 6150 w 10000"/>
                <a:gd name="connsiteY1" fmla="*/ 9894 h 10760"/>
                <a:gd name="connsiteX2" fmla="*/ 6432 w 10000"/>
                <a:gd name="connsiteY2" fmla="*/ 9088 h 10760"/>
                <a:gd name="connsiteX3" fmla="*/ 5634 w 10000"/>
                <a:gd name="connsiteY3" fmla="*/ 8909 h 10760"/>
                <a:gd name="connsiteX4" fmla="*/ 5399 w 10000"/>
                <a:gd name="connsiteY4" fmla="*/ 8730 h 10760"/>
                <a:gd name="connsiteX5" fmla="*/ 5023 w 10000"/>
                <a:gd name="connsiteY5" fmla="*/ 8820 h 10760"/>
                <a:gd name="connsiteX6" fmla="*/ 4695 w 10000"/>
                <a:gd name="connsiteY6" fmla="*/ 8253 h 10760"/>
                <a:gd name="connsiteX7" fmla="*/ 4131 w 10000"/>
                <a:gd name="connsiteY7" fmla="*/ 7894 h 10760"/>
                <a:gd name="connsiteX8" fmla="*/ 3709 w 10000"/>
                <a:gd name="connsiteY8" fmla="*/ 7924 h 10760"/>
                <a:gd name="connsiteX9" fmla="*/ 3803 w 10000"/>
                <a:gd name="connsiteY9" fmla="*/ 8103 h 10760"/>
                <a:gd name="connsiteX10" fmla="*/ 3333 w 10000"/>
                <a:gd name="connsiteY10" fmla="*/ 8133 h 10760"/>
                <a:gd name="connsiteX11" fmla="*/ 3286 w 10000"/>
                <a:gd name="connsiteY11" fmla="*/ 7447 h 10760"/>
                <a:gd name="connsiteX12" fmla="*/ 2535 w 10000"/>
                <a:gd name="connsiteY12" fmla="*/ 7417 h 10760"/>
                <a:gd name="connsiteX13" fmla="*/ 2629 w 10000"/>
                <a:gd name="connsiteY13" fmla="*/ 7118 h 10760"/>
                <a:gd name="connsiteX14" fmla="*/ 2300 w 10000"/>
                <a:gd name="connsiteY14" fmla="*/ 7029 h 10760"/>
                <a:gd name="connsiteX15" fmla="*/ 2113 w 10000"/>
                <a:gd name="connsiteY15" fmla="*/ 6521 h 10760"/>
                <a:gd name="connsiteX16" fmla="*/ 2441 w 10000"/>
                <a:gd name="connsiteY16" fmla="*/ 6372 h 10760"/>
                <a:gd name="connsiteX17" fmla="*/ 2911 w 10000"/>
                <a:gd name="connsiteY17" fmla="*/ 5984 h 10760"/>
                <a:gd name="connsiteX18" fmla="*/ 2629 w 10000"/>
                <a:gd name="connsiteY18" fmla="*/ 5775 h 10760"/>
                <a:gd name="connsiteX19" fmla="*/ 3192 w 10000"/>
                <a:gd name="connsiteY19" fmla="*/ 5447 h 10760"/>
                <a:gd name="connsiteX20" fmla="*/ 2629 w 10000"/>
                <a:gd name="connsiteY20" fmla="*/ 5447 h 10760"/>
                <a:gd name="connsiteX21" fmla="*/ 2629 w 10000"/>
                <a:gd name="connsiteY21" fmla="*/ 5088 h 10760"/>
                <a:gd name="connsiteX22" fmla="*/ 2817 w 10000"/>
                <a:gd name="connsiteY22" fmla="*/ 4521 h 10760"/>
                <a:gd name="connsiteX23" fmla="*/ 2582 w 10000"/>
                <a:gd name="connsiteY23" fmla="*/ 4044 h 10760"/>
                <a:gd name="connsiteX24" fmla="*/ 3288 w 10000"/>
                <a:gd name="connsiteY24" fmla="*/ 3532 h 10760"/>
                <a:gd name="connsiteX25" fmla="*/ 2890 w 10000"/>
                <a:gd name="connsiteY25" fmla="*/ 3342 h 10760"/>
                <a:gd name="connsiteX26" fmla="*/ 2620 w 10000"/>
                <a:gd name="connsiteY26" fmla="*/ 3260 h 10760"/>
                <a:gd name="connsiteX27" fmla="*/ 1925 w 10000"/>
                <a:gd name="connsiteY27" fmla="*/ 3357 h 10760"/>
                <a:gd name="connsiteX28" fmla="*/ 1687 w 10000"/>
                <a:gd name="connsiteY28" fmla="*/ 3336 h 10760"/>
                <a:gd name="connsiteX29" fmla="*/ 1315 w 10000"/>
                <a:gd name="connsiteY29" fmla="*/ 3118 h 10760"/>
                <a:gd name="connsiteX30" fmla="*/ 939 w 10000"/>
                <a:gd name="connsiteY30" fmla="*/ 2939 h 10760"/>
                <a:gd name="connsiteX31" fmla="*/ 169 w 10000"/>
                <a:gd name="connsiteY31" fmla="*/ 2950 h 10760"/>
                <a:gd name="connsiteX32" fmla="*/ 135 w 10000"/>
                <a:gd name="connsiteY32" fmla="*/ 2289 h 10760"/>
                <a:gd name="connsiteX33" fmla="*/ 188 w 10000"/>
                <a:gd name="connsiteY33" fmla="*/ 2820 h 10760"/>
                <a:gd name="connsiteX34" fmla="*/ 0 w 10000"/>
                <a:gd name="connsiteY34" fmla="*/ 2790 h 10760"/>
                <a:gd name="connsiteX35" fmla="*/ 358 w 10000"/>
                <a:gd name="connsiteY35" fmla="*/ 1986 h 10760"/>
                <a:gd name="connsiteX36" fmla="*/ 1007 w 10000"/>
                <a:gd name="connsiteY36" fmla="*/ 1999 h 10760"/>
                <a:gd name="connsiteX37" fmla="*/ 1784 w 10000"/>
                <a:gd name="connsiteY37" fmla="*/ 2461 h 10760"/>
                <a:gd name="connsiteX38" fmla="*/ 708 w 10000"/>
                <a:gd name="connsiteY38" fmla="*/ 2015 h 10760"/>
                <a:gd name="connsiteX39" fmla="*/ 1019 w 10000"/>
                <a:gd name="connsiteY39" fmla="*/ 2021 h 10760"/>
                <a:gd name="connsiteX40" fmla="*/ 1181 w 10000"/>
                <a:gd name="connsiteY40" fmla="*/ 2083 h 10760"/>
                <a:gd name="connsiteX41" fmla="*/ 2066 w 10000"/>
                <a:gd name="connsiteY41" fmla="*/ 2820 h 10760"/>
                <a:gd name="connsiteX42" fmla="*/ 1854 w 10000"/>
                <a:gd name="connsiteY42" fmla="*/ 2178 h 10760"/>
                <a:gd name="connsiteX43" fmla="*/ 2180 w 10000"/>
                <a:gd name="connsiteY43" fmla="*/ 1886 h 10760"/>
                <a:gd name="connsiteX44" fmla="*/ 2305 w 10000"/>
                <a:gd name="connsiteY44" fmla="*/ 1793 h 10760"/>
                <a:gd name="connsiteX45" fmla="*/ 3005 w 10000"/>
                <a:gd name="connsiteY45" fmla="*/ 1805 h 10760"/>
                <a:gd name="connsiteX46" fmla="*/ 2723 w 10000"/>
                <a:gd name="connsiteY46" fmla="*/ 1835 h 10760"/>
                <a:gd name="connsiteX47" fmla="*/ 2535 w 10000"/>
                <a:gd name="connsiteY47" fmla="*/ 1596 h 10760"/>
                <a:gd name="connsiteX48" fmla="*/ 2518 w 10000"/>
                <a:gd name="connsiteY48" fmla="*/ 1359 h 10760"/>
                <a:gd name="connsiteX49" fmla="*/ 2566 w 10000"/>
                <a:gd name="connsiteY49" fmla="*/ 1009 h 10760"/>
                <a:gd name="connsiteX50" fmla="*/ 2300 w 10000"/>
                <a:gd name="connsiteY50" fmla="*/ 1059 h 10760"/>
                <a:gd name="connsiteX51" fmla="*/ 2254 w 10000"/>
                <a:gd name="connsiteY51" fmla="*/ 879 h 10760"/>
                <a:gd name="connsiteX52" fmla="*/ 2369 w 10000"/>
                <a:gd name="connsiteY52" fmla="*/ 580 h 10760"/>
                <a:gd name="connsiteX53" fmla="*/ 2267 w 10000"/>
                <a:gd name="connsiteY53" fmla="*/ 0 h 10760"/>
                <a:gd name="connsiteX54" fmla="*/ 3565 w 10000"/>
                <a:gd name="connsiteY54" fmla="*/ 195 h 10760"/>
                <a:gd name="connsiteX55" fmla="*/ 4601 w 10000"/>
                <a:gd name="connsiteY55" fmla="*/ 1088 h 10760"/>
                <a:gd name="connsiteX56" fmla="*/ 4861 w 10000"/>
                <a:gd name="connsiteY56" fmla="*/ 1091 h 10760"/>
                <a:gd name="connsiteX57" fmla="*/ 4927 w 10000"/>
                <a:gd name="connsiteY57" fmla="*/ 1196 h 10760"/>
                <a:gd name="connsiteX58" fmla="*/ 5143 w 10000"/>
                <a:gd name="connsiteY58" fmla="*/ 1300 h 10760"/>
                <a:gd name="connsiteX59" fmla="*/ 5584 w 10000"/>
                <a:gd name="connsiteY59" fmla="*/ 1256 h 10760"/>
                <a:gd name="connsiteX60" fmla="*/ 5634 w 10000"/>
                <a:gd name="connsiteY60" fmla="*/ 1745 h 10760"/>
                <a:gd name="connsiteX61" fmla="*/ 5915 w 10000"/>
                <a:gd name="connsiteY61" fmla="*/ 1596 h 10760"/>
                <a:gd name="connsiteX62" fmla="*/ 6103 w 10000"/>
                <a:gd name="connsiteY62" fmla="*/ 1924 h 10760"/>
                <a:gd name="connsiteX63" fmla="*/ 5681 w 10000"/>
                <a:gd name="connsiteY63" fmla="*/ 2163 h 10760"/>
                <a:gd name="connsiteX64" fmla="*/ 6009 w 10000"/>
                <a:gd name="connsiteY64" fmla="*/ 2282 h 10760"/>
                <a:gd name="connsiteX65" fmla="*/ 5915 w 10000"/>
                <a:gd name="connsiteY65" fmla="*/ 2700 h 10760"/>
                <a:gd name="connsiteX66" fmla="*/ 6810 w 10000"/>
                <a:gd name="connsiteY66" fmla="*/ 3130 h 10760"/>
                <a:gd name="connsiteX67" fmla="*/ 5423 w 10000"/>
                <a:gd name="connsiteY67" fmla="*/ 3332 h 10760"/>
                <a:gd name="connsiteX68" fmla="*/ 5676 w 10000"/>
                <a:gd name="connsiteY68" fmla="*/ 3764 h 10760"/>
                <a:gd name="connsiteX69" fmla="*/ 6103 w 10000"/>
                <a:gd name="connsiteY69" fmla="*/ 3715 h 10760"/>
                <a:gd name="connsiteX70" fmla="*/ 5634 w 10000"/>
                <a:gd name="connsiteY70" fmla="*/ 3805 h 10760"/>
                <a:gd name="connsiteX71" fmla="*/ 5966 w 10000"/>
                <a:gd name="connsiteY71" fmla="*/ 3949 h 10760"/>
                <a:gd name="connsiteX72" fmla="*/ 5867 w 10000"/>
                <a:gd name="connsiteY72" fmla="*/ 4185 h 10760"/>
                <a:gd name="connsiteX73" fmla="*/ 6150 w 10000"/>
                <a:gd name="connsiteY73" fmla="*/ 4909 h 10760"/>
                <a:gd name="connsiteX74" fmla="*/ 5540 w 10000"/>
                <a:gd name="connsiteY74" fmla="*/ 4939 h 10760"/>
                <a:gd name="connsiteX75" fmla="*/ 5540 w 10000"/>
                <a:gd name="connsiteY75" fmla="*/ 5357 h 10760"/>
                <a:gd name="connsiteX76" fmla="*/ 4601 w 10000"/>
                <a:gd name="connsiteY76" fmla="*/ 5775 h 10760"/>
                <a:gd name="connsiteX77" fmla="*/ 4883 w 10000"/>
                <a:gd name="connsiteY77" fmla="*/ 6163 h 10760"/>
                <a:gd name="connsiteX78" fmla="*/ 4648 w 10000"/>
                <a:gd name="connsiteY78" fmla="*/ 6521 h 10760"/>
                <a:gd name="connsiteX79" fmla="*/ 5446 w 10000"/>
                <a:gd name="connsiteY79" fmla="*/ 7208 h 10760"/>
                <a:gd name="connsiteX80" fmla="*/ 6573 w 10000"/>
                <a:gd name="connsiteY80" fmla="*/ 7208 h 10760"/>
                <a:gd name="connsiteX81" fmla="*/ 7230 w 10000"/>
                <a:gd name="connsiteY81" fmla="*/ 7088 h 10760"/>
                <a:gd name="connsiteX82" fmla="*/ 7793 w 10000"/>
                <a:gd name="connsiteY82" fmla="*/ 7238 h 10760"/>
                <a:gd name="connsiteX83" fmla="*/ 8263 w 10000"/>
                <a:gd name="connsiteY83" fmla="*/ 7626 h 10760"/>
                <a:gd name="connsiteX84" fmla="*/ 8638 w 10000"/>
                <a:gd name="connsiteY84" fmla="*/ 8372 h 10760"/>
                <a:gd name="connsiteX85" fmla="*/ 9014 w 10000"/>
                <a:gd name="connsiteY85" fmla="*/ 8342 h 10760"/>
                <a:gd name="connsiteX86" fmla="*/ 10000 w 10000"/>
                <a:gd name="connsiteY86" fmla="*/ 9088 h 10760"/>
                <a:gd name="connsiteX87" fmla="*/ 8826 w 10000"/>
                <a:gd name="connsiteY87" fmla="*/ 9894 h 10760"/>
                <a:gd name="connsiteX88" fmla="*/ 9296 w 10000"/>
                <a:gd name="connsiteY88" fmla="*/ 10491 h 10760"/>
                <a:gd name="connsiteX89" fmla="*/ 9108 w 10000"/>
                <a:gd name="connsiteY89" fmla="*/ 10730 h 10760"/>
                <a:gd name="connsiteX90" fmla="*/ 8826 w 10000"/>
                <a:gd name="connsiteY90" fmla="*/ 10491 h 10760"/>
                <a:gd name="connsiteX91" fmla="*/ 6948 w 10000"/>
                <a:gd name="connsiteY91" fmla="*/ 10461 h 10760"/>
                <a:gd name="connsiteX92" fmla="*/ 6620 w 10000"/>
                <a:gd name="connsiteY92" fmla="*/ 10760 h 10760"/>
                <a:gd name="connsiteX93" fmla="*/ 6056 w 10000"/>
                <a:gd name="connsiteY93" fmla="*/ 10730 h 10760"/>
                <a:gd name="connsiteX0" fmla="*/ 6112 w 10056"/>
                <a:gd name="connsiteY0" fmla="*/ 10730 h 10760"/>
                <a:gd name="connsiteX1" fmla="*/ 6206 w 10056"/>
                <a:gd name="connsiteY1" fmla="*/ 9894 h 10760"/>
                <a:gd name="connsiteX2" fmla="*/ 6488 w 10056"/>
                <a:gd name="connsiteY2" fmla="*/ 9088 h 10760"/>
                <a:gd name="connsiteX3" fmla="*/ 5690 w 10056"/>
                <a:gd name="connsiteY3" fmla="*/ 8909 h 10760"/>
                <a:gd name="connsiteX4" fmla="*/ 5455 w 10056"/>
                <a:gd name="connsiteY4" fmla="*/ 8730 h 10760"/>
                <a:gd name="connsiteX5" fmla="*/ 5079 w 10056"/>
                <a:gd name="connsiteY5" fmla="*/ 8820 h 10760"/>
                <a:gd name="connsiteX6" fmla="*/ 4751 w 10056"/>
                <a:gd name="connsiteY6" fmla="*/ 8253 h 10760"/>
                <a:gd name="connsiteX7" fmla="*/ 4187 w 10056"/>
                <a:gd name="connsiteY7" fmla="*/ 7894 h 10760"/>
                <a:gd name="connsiteX8" fmla="*/ 3765 w 10056"/>
                <a:gd name="connsiteY8" fmla="*/ 7924 h 10760"/>
                <a:gd name="connsiteX9" fmla="*/ 3859 w 10056"/>
                <a:gd name="connsiteY9" fmla="*/ 8103 h 10760"/>
                <a:gd name="connsiteX10" fmla="*/ 3389 w 10056"/>
                <a:gd name="connsiteY10" fmla="*/ 8133 h 10760"/>
                <a:gd name="connsiteX11" fmla="*/ 3342 w 10056"/>
                <a:gd name="connsiteY11" fmla="*/ 7447 h 10760"/>
                <a:gd name="connsiteX12" fmla="*/ 2591 w 10056"/>
                <a:gd name="connsiteY12" fmla="*/ 7417 h 10760"/>
                <a:gd name="connsiteX13" fmla="*/ 2685 w 10056"/>
                <a:gd name="connsiteY13" fmla="*/ 7118 h 10760"/>
                <a:gd name="connsiteX14" fmla="*/ 2356 w 10056"/>
                <a:gd name="connsiteY14" fmla="*/ 7029 h 10760"/>
                <a:gd name="connsiteX15" fmla="*/ 2169 w 10056"/>
                <a:gd name="connsiteY15" fmla="*/ 6521 h 10760"/>
                <a:gd name="connsiteX16" fmla="*/ 2497 w 10056"/>
                <a:gd name="connsiteY16" fmla="*/ 6372 h 10760"/>
                <a:gd name="connsiteX17" fmla="*/ 2967 w 10056"/>
                <a:gd name="connsiteY17" fmla="*/ 5984 h 10760"/>
                <a:gd name="connsiteX18" fmla="*/ 2685 w 10056"/>
                <a:gd name="connsiteY18" fmla="*/ 5775 h 10760"/>
                <a:gd name="connsiteX19" fmla="*/ 3248 w 10056"/>
                <a:gd name="connsiteY19" fmla="*/ 5447 h 10760"/>
                <a:gd name="connsiteX20" fmla="*/ 2685 w 10056"/>
                <a:gd name="connsiteY20" fmla="*/ 5447 h 10760"/>
                <a:gd name="connsiteX21" fmla="*/ 2685 w 10056"/>
                <a:gd name="connsiteY21" fmla="*/ 5088 h 10760"/>
                <a:gd name="connsiteX22" fmla="*/ 2873 w 10056"/>
                <a:gd name="connsiteY22" fmla="*/ 4521 h 10760"/>
                <a:gd name="connsiteX23" fmla="*/ 2638 w 10056"/>
                <a:gd name="connsiteY23" fmla="*/ 4044 h 10760"/>
                <a:gd name="connsiteX24" fmla="*/ 3344 w 10056"/>
                <a:gd name="connsiteY24" fmla="*/ 3532 h 10760"/>
                <a:gd name="connsiteX25" fmla="*/ 2946 w 10056"/>
                <a:gd name="connsiteY25" fmla="*/ 3342 h 10760"/>
                <a:gd name="connsiteX26" fmla="*/ 2676 w 10056"/>
                <a:gd name="connsiteY26" fmla="*/ 3260 h 10760"/>
                <a:gd name="connsiteX27" fmla="*/ 1981 w 10056"/>
                <a:gd name="connsiteY27" fmla="*/ 3357 h 10760"/>
                <a:gd name="connsiteX28" fmla="*/ 1743 w 10056"/>
                <a:gd name="connsiteY28" fmla="*/ 3336 h 10760"/>
                <a:gd name="connsiteX29" fmla="*/ 1371 w 10056"/>
                <a:gd name="connsiteY29" fmla="*/ 3118 h 10760"/>
                <a:gd name="connsiteX30" fmla="*/ 995 w 10056"/>
                <a:gd name="connsiteY30" fmla="*/ 2939 h 10760"/>
                <a:gd name="connsiteX31" fmla="*/ 225 w 10056"/>
                <a:gd name="connsiteY31" fmla="*/ 2950 h 10760"/>
                <a:gd name="connsiteX32" fmla="*/ 7 w 10056"/>
                <a:gd name="connsiteY32" fmla="*/ 2306 h 10760"/>
                <a:gd name="connsiteX33" fmla="*/ 244 w 10056"/>
                <a:gd name="connsiteY33" fmla="*/ 2820 h 10760"/>
                <a:gd name="connsiteX34" fmla="*/ 56 w 10056"/>
                <a:gd name="connsiteY34" fmla="*/ 2790 h 10760"/>
                <a:gd name="connsiteX35" fmla="*/ 414 w 10056"/>
                <a:gd name="connsiteY35" fmla="*/ 1986 h 10760"/>
                <a:gd name="connsiteX36" fmla="*/ 1063 w 10056"/>
                <a:gd name="connsiteY36" fmla="*/ 1999 h 10760"/>
                <a:gd name="connsiteX37" fmla="*/ 1840 w 10056"/>
                <a:gd name="connsiteY37" fmla="*/ 2461 h 10760"/>
                <a:gd name="connsiteX38" fmla="*/ 764 w 10056"/>
                <a:gd name="connsiteY38" fmla="*/ 2015 h 10760"/>
                <a:gd name="connsiteX39" fmla="*/ 1075 w 10056"/>
                <a:gd name="connsiteY39" fmla="*/ 2021 h 10760"/>
                <a:gd name="connsiteX40" fmla="*/ 1237 w 10056"/>
                <a:gd name="connsiteY40" fmla="*/ 2083 h 10760"/>
                <a:gd name="connsiteX41" fmla="*/ 2122 w 10056"/>
                <a:gd name="connsiteY41" fmla="*/ 2820 h 10760"/>
                <a:gd name="connsiteX42" fmla="*/ 1910 w 10056"/>
                <a:gd name="connsiteY42" fmla="*/ 2178 h 10760"/>
                <a:gd name="connsiteX43" fmla="*/ 2236 w 10056"/>
                <a:gd name="connsiteY43" fmla="*/ 1886 h 10760"/>
                <a:gd name="connsiteX44" fmla="*/ 2361 w 10056"/>
                <a:gd name="connsiteY44" fmla="*/ 1793 h 10760"/>
                <a:gd name="connsiteX45" fmla="*/ 3061 w 10056"/>
                <a:gd name="connsiteY45" fmla="*/ 1805 h 10760"/>
                <a:gd name="connsiteX46" fmla="*/ 2779 w 10056"/>
                <a:gd name="connsiteY46" fmla="*/ 1835 h 10760"/>
                <a:gd name="connsiteX47" fmla="*/ 2591 w 10056"/>
                <a:gd name="connsiteY47" fmla="*/ 1596 h 10760"/>
                <a:gd name="connsiteX48" fmla="*/ 2574 w 10056"/>
                <a:gd name="connsiteY48" fmla="*/ 1359 h 10760"/>
                <a:gd name="connsiteX49" fmla="*/ 2622 w 10056"/>
                <a:gd name="connsiteY49" fmla="*/ 1009 h 10760"/>
                <a:gd name="connsiteX50" fmla="*/ 2356 w 10056"/>
                <a:gd name="connsiteY50" fmla="*/ 1059 h 10760"/>
                <a:gd name="connsiteX51" fmla="*/ 2310 w 10056"/>
                <a:gd name="connsiteY51" fmla="*/ 879 h 10760"/>
                <a:gd name="connsiteX52" fmla="*/ 2425 w 10056"/>
                <a:gd name="connsiteY52" fmla="*/ 580 h 10760"/>
                <a:gd name="connsiteX53" fmla="*/ 2323 w 10056"/>
                <a:gd name="connsiteY53" fmla="*/ 0 h 10760"/>
                <a:gd name="connsiteX54" fmla="*/ 3621 w 10056"/>
                <a:gd name="connsiteY54" fmla="*/ 195 h 10760"/>
                <a:gd name="connsiteX55" fmla="*/ 4657 w 10056"/>
                <a:gd name="connsiteY55" fmla="*/ 1088 h 10760"/>
                <a:gd name="connsiteX56" fmla="*/ 4917 w 10056"/>
                <a:gd name="connsiteY56" fmla="*/ 1091 h 10760"/>
                <a:gd name="connsiteX57" fmla="*/ 4983 w 10056"/>
                <a:gd name="connsiteY57" fmla="*/ 1196 h 10760"/>
                <a:gd name="connsiteX58" fmla="*/ 5199 w 10056"/>
                <a:gd name="connsiteY58" fmla="*/ 1300 h 10760"/>
                <a:gd name="connsiteX59" fmla="*/ 5640 w 10056"/>
                <a:gd name="connsiteY59" fmla="*/ 1256 h 10760"/>
                <a:gd name="connsiteX60" fmla="*/ 5690 w 10056"/>
                <a:gd name="connsiteY60" fmla="*/ 1745 h 10760"/>
                <a:gd name="connsiteX61" fmla="*/ 5971 w 10056"/>
                <a:gd name="connsiteY61" fmla="*/ 1596 h 10760"/>
                <a:gd name="connsiteX62" fmla="*/ 6159 w 10056"/>
                <a:gd name="connsiteY62" fmla="*/ 1924 h 10760"/>
                <a:gd name="connsiteX63" fmla="*/ 5737 w 10056"/>
                <a:gd name="connsiteY63" fmla="*/ 2163 h 10760"/>
                <a:gd name="connsiteX64" fmla="*/ 6065 w 10056"/>
                <a:gd name="connsiteY64" fmla="*/ 2282 h 10760"/>
                <a:gd name="connsiteX65" fmla="*/ 5971 w 10056"/>
                <a:gd name="connsiteY65" fmla="*/ 2700 h 10760"/>
                <a:gd name="connsiteX66" fmla="*/ 6866 w 10056"/>
                <a:gd name="connsiteY66" fmla="*/ 3130 h 10760"/>
                <a:gd name="connsiteX67" fmla="*/ 5479 w 10056"/>
                <a:gd name="connsiteY67" fmla="*/ 3332 h 10760"/>
                <a:gd name="connsiteX68" fmla="*/ 5732 w 10056"/>
                <a:gd name="connsiteY68" fmla="*/ 3764 h 10760"/>
                <a:gd name="connsiteX69" fmla="*/ 6159 w 10056"/>
                <a:gd name="connsiteY69" fmla="*/ 3715 h 10760"/>
                <a:gd name="connsiteX70" fmla="*/ 5690 w 10056"/>
                <a:gd name="connsiteY70" fmla="*/ 3805 h 10760"/>
                <a:gd name="connsiteX71" fmla="*/ 6022 w 10056"/>
                <a:gd name="connsiteY71" fmla="*/ 3949 h 10760"/>
                <a:gd name="connsiteX72" fmla="*/ 5923 w 10056"/>
                <a:gd name="connsiteY72" fmla="*/ 4185 h 10760"/>
                <a:gd name="connsiteX73" fmla="*/ 6206 w 10056"/>
                <a:gd name="connsiteY73" fmla="*/ 4909 h 10760"/>
                <a:gd name="connsiteX74" fmla="*/ 5596 w 10056"/>
                <a:gd name="connsiteY74" fmla="*/ 4939 h 10760"/>
                <a:gd name="connsiteX75" fmla="*/ 5596 w 10056"/>
                <a:gd name="connsiteY75" fmla="*/ 5357 h 10760"/>
                <a:gd name="connsiteX76" fmla="*/ 4657 w 10056"/>
                <a:gd name="connsiteY76" fmla="*/ 5775 h 10760"/>
                <a:gd name="connsiteX77" fmla="*/ 4939 w 10056"/>
                <a:gd name="connsiteY77" fmla="*/ 6163 h 10760"/>
                <a:gd name="connsiteX78" fmla="*/ 4704 w 10056"/>
                <a:gd name="connsiteY78" fmla="*/ 6521 h 10760"/>
                <a:gd name="connsiteX79" fmla="*/ 5502 w 10056"/>
                <a:gd name="connsiteY79" fmla="*/ 7208 h 10760"/>
                <a:gd name="connsiteX80" fmla="*/ 6629 w 10056"/>
                <a:gd name="connsiteY80" fmla="*/ 7208 h 10760"/>
                <a:gd name="connsiteX81" fmla="*/ 7286 w 10056"/>
                <a:gd name="connsiteY81" fmla="*/ 7088 h 10760"/>
                <a:gd name="connsiteX82" fmla="*/ 7849 w 10056"/>
                <a:gd name="connsiteY82" fmla="*/ 7238 h 10760"/>
                <a:gd name="connsiteX83" fmla="*/ 8319 w 10056"/>
                <a:gd name="connsiteY83" fmla="*/ 7626 h 10760"/>
                <a:gd name="connsiteX84" fmla="*/ 8694 w 10056"/>
                <a:gd name="connsiteY84" fmla="*/ 8372 h 10760"/>
                <a:gd name="connsiteX85" fmla="*/ 9070 w 10056"/>
                <a:gd name="connsiteY85" fmla="*/ 8342 h 10760"/>
                <a:gd name="connsiteX86" fmla="*/ 10056 w 10056"/>
                <a:gd name="connsiteY86" fmla="*/ 9088 h 10760"/>
                <a:gd name="connsiteX87" fmla="*/ 8882 w 10056"/>
                <a:gd name="connsiteY87" fmla="*/ 9894 h 10760"/>
                <a:gd name="connsiteX88" fmla="*/ 9352 w 10056"/>
                <a:gd name="connsiteY88" fmla="*/ 10491 h 10760"/>
                <a:gd name="connsiteX89" fmla="*/ 9164 w 10056"/>
                <a:gd name="connsiteY89" fmla="*/ 10730 h 10760"/>
                <a:gd name="connsiteX90" fmla="*/ 8882 w 10056"/>
                <a:gd name="connsiteY90" fmla="*/ 10491 h 10760"/>
                <a:gd name="connsiteX91" fmla="*/ 7004 w 10056"/>
                <a:gd name="connsiteY91" fmla="*/ 10461 h 10760"/>
                <a:gd name="connsiteX92" fmla="*/ 6676 w 10056"/>
                <a:gd name="connsiteY92" fmla="*/ 10760 h 10760"/>
                <a:gd name="connsiteX93" fmla="*/ 6112 w 10056"/>
                <a:gd name="connsiteY93" fmla="*/ 10730 h 10760"/>
                <a:gd name="connsiteX0" fmla="*/ 6221 w 10165"/>
                <a:gd name="connsiteY0" fmla="*/ 10730 h 10760"/>
                <a:gd name="connsiteX1" fmla="*/ 6315 w 10165"/>
                <a:gd name="connsiteY1" fmla="*/ 9894 h 10760"/>
                <a:gd name="connsiteX2" fmla="*/ 6597 w 10165"/>
                <a:gd name="connsiteY2" fmla="*/ 9088 h 10760"/>
                <a:gd name="connsiteX3" fmla="*/ 5799 w 10165"/>
                <a:gd name="connsiteY3" fmla="*/ 8909 h 10760"/>
                <a:gd name="connsiteX4" fmla="*/ 5564 w 10165"/>
                <a:gd name="connsiteY4" fmla="*/ 8730 h 10760"/>
                <a:gd name="connsiteX5" fmla="*/ 5188 w 10165"/>
                <a:gd name="connsiteY5" fmla="*/ 8820 h 10760"/>
                <a:gd name="connsiteX6" fmla="*/ 4860 w 10165"/>
                <a:gd name="connsiteY6" fmla="*/ 8253 h 10760"/>
                <a:gd name="connsiteX7" fmla="*/ 4296 w 10165"/>
                <a:gd name="connsiteY7" fmla="*/ 7894 h 10760"/>
                <a:gd name="connsiteX8" fmla="*/ 3874 w 10165"/>
                <a:gd name="connsiteY8" fmla="*/ 7924 h 10760"/>
                <a:gd name="connsiteX9" fmla="*/ 3968 w 10165"/>
                <a:gd name="connsiteY9" fmla="*/ 8103 h 10760"/>
                <a:gd name="connsiteX10" fmla="*/ 3498 w 10165"/>
                <a:gd name="connsiteY10" fmla="*/ 8133 h 10760"/>
                <a:gd name="connsiteX11" fmla="*/ 3451 w 10165"/>
                <a:gd name="connsiteY11" fmla="*/ 7447 h 10760"/>
                <a:gd name="connsiteX12" fmla="*/ 2700 w 10165"/>
                <a:gd name="connsiteY12" fmla="*/ 7417 h 10760"/>
                <a:gd name="connsiteX13" fmla="*/ 2794 w 10165"/>
                <a:gd name="connsiteY13" fmla="*/ 7118 h 10760"/>
                <a:gd name="connsiteX14" fmla="*/ 2465 w 10165"/>
                <a:gd name="connsiteY14" fmla="*/ 7029 h 10760"/>
                <a:gd name="connsiteX15" fmla="*/ 2278 w 10165"/>
                <a:gd name="connsiteY15" fmla="*/ 6521 h 10760"/>
                <a:gd name="connsiteX16" fmla="*/ 2606 w 10165"/>
                <a:gd name="connsiteY16" fmla="*/ 6372 h 10760"/>
                <a:gd name="connsiteX17" fmla="*/ 3076 w 10165"/>
                <a:gd name="connsiteY17" fmla="*/ 5984 h 10760"/>
                <a:gd name="connsiteX18" fmla="*/ 2794 w 10165"/>
                <a:gd name="connsiteY18" fmla="*/ 5775 h 10760"/>
                <a:gd name="connsiteX19" fmla="*/ 3357 w 10165"/>
                <a:gd name="connsiteY19" fmla="*/ 5447 h 10760"/>
                <a:gd name="connsiteX20" fmla="*/ 2794 w 10165"/>
                <a:gd name="connsiteY20" fmla="*/ 5447 h 10760"/>
                <a:gd name="connsiteX21" fmla="*/ 2794 w 10165"/>
                <a:gd name="connsiteY21" fmla="*/ 5088 h 10760"/>
                <a:gd name="connsiteX22" fmla="*/ 2982 w 10165"/>
                <a:gd name="connsiteY22" fmla="*/ 4521 h 10760"/>
                <a:gd name="connsiteX23" fmla="*/ 2747 w 10165"/>
                <a:gd name="connsiteY23" fmla="*/ 4044 h 10760"/>
                <a:gd name="connsiteX24" fmla="*/ 3453 w 10165"/>
                <a:gd name="connsiteY24" fmla="*/ 3532 h 10760"/>
                <a:gd name="connsiteX25" fmla="*/ 3055 w 10165"/>
                <a:gd name="connsiteY25" fmla="*/ 3342 h 10760"/>
                <a:gd name="connsiteX26" fmla="*/ 2785 w 10165"/>
                <a:gd name="connsiteY26" fmla="*/ 3260 h 10760"/>
                <a:gd name="connsiteX27" fmla="*/ 2090 w 10165"/>
                <a:gd name="connsiteY27" fmla="*/ 3357 h 10760"/>
                <a:gd name="connsiteX28" fmla="*/ 1852 w 10165"/>
                <a:gd name="connsiteY28" fmla="*/ 3336 h 10760"/>
                <a:gd name="connsiteX29" fmla="*/ 1480 w 10165"/>
                <a:gd name="connsiteY29" fmla="*/ 3118 h 10760"/>
                <a:gd name="connsiteX30" fmla="*/ 1104 w 10165"/>
                <a:gd name="connsiteY30" fmla="*/ 2939 h 10760"/>
                <a:gd name="connsiteX31" fmla="*/ 334 w 10165"/>
                <a:gd name="connsiteY31" fmla="*/ 2950 h 10760"/>
                <a:gd name="connsiteX32" fmla="*/ 6 w 10165"/>
                <a:gd name="connsiteY32" fmla="*/ 2316 h 10760"/>
                <a:gd name="connsiteX33" fmla="*/ 353 w 10165"/>
                <a:gd name="connsiteY33" fmla="*/ 2820 h 10760"/>
                <a:gd name="connsiteX34" fmla="*/ 165 w 10165"/>
                <a:gd name="connsiteY34" fmla="*/ 2790 h 10760"/>
                <a:gd name="connsiteX35" fmla="*/ 523 w 10165"/>
                <a:gd name="connsiteY35" fmla="*/ 1986 h 10760"/>
                <a:gd name="connsiteX36" fmla="*/ 1172 w 10165"/>
                <a:gd name="connsiteY36" fmla="*/ 1999 h 10760"/>
                <a:gd name="connsiteX37" fmla="*/ 1949 w 10165"/>
                <a:gd name="connsiteY37" fmla="*/ 2461 h 10760"/>
                <a:gd name="connsiteX38" fmla="*/ 873 w 10165"/>
                <a:gd name="connsiteY38" fmla="*/ 2015 h 10760"/>
                <a:gd name="connsiteX39" fmla="*/ 1184 w 10165"/>
                <a:gd name="connsiteY39" fmla="*/ 2021 h 10760"/>
                <a:gd name="connsiteX40" fmla="*/ 1346 w 10165"/>
                <a:gd name="connsiteY40" fmla="*/ 2083 h 10760"/>
                <a:gd name="connsiteX41" fmla="*/ 2231 w 10165"/>
                <a:gd name="connsiteY41" fmla="*/ 2820 h 10760"/>
                <a:gd name="connsiteX42" fmla="*/ 2019 w 10165"/>
                <a:gd name="connsiteY42" fmla="*/ 2178 h 10760"/>
                <a:gd name="connsiteX43" fmla="*/ 2345 w 10165"/>
                <a:gd name="connsiteY43" fmla="*/ 1886 h 10760"/>
                <a:gd name="connsiteX44" fmla="*/ 2470 w 10165"/>
                <a:gd name="connsiteY44" fmla="*/ 1793 h 10760"/>
                <a:gd name="connsiteX45" fmla="*/ 3170 w 10165"/>
                <a:gd name="connsiteY45" fmla="*/ 1805 h 10760"/>
                <a:gd name="connsiteX46" fmla="*/ 2888 w 10165"/>
                <a:gd name="connsiteY46" fmla="*/ 1835 h 10760"/>
                <a:gd name="connsiteX47" fmla="*/ 2700 w 10165"/>
                <a:gd name="connsiteY47" fmla="*/ 1596 h 10760"/>
                <a:gd name="connsiteX48" fmla="*/ 2683 w 10165"/>
                <a:gd name="connsiteY48" fmla="*/ 1359 h 10760"/>
                <a:gd name="connsiteX49" fmla="*/ 2731 w 10165"/>
                <a:gd name="connsiteY49" fmla="*/ 1009 h 10760"/>
                <a:gd name="connsiteX50" fmla="*/ 2465 w 10165"/>
                <a:gd name="connsiteY50" fmla="*/ 1059 h 10760"/>
                <a:gd name="connsiteX51" fmla="*/ 2419 w 10165"/>
                <a:gd name="connsiteY51" fmla="*/ 879 h 10760"/>
                <a:gd name="connsiteX52" fmla="*/ 2534 w 10165"/>
                <a:gd name="connsiteY52" fmla="*/ 580 h 10760"/>
                <a:gd name="connsiteX53" fmla="*/ 2432 w 10165"/>
                <a:gd name="connsiteY53" fmla="*/ 0 h 10760"/>
                <a:gd name="connsiteX54" fmla="*/ 3730 w 10165"/>
                <a:gd name="connsiteY54" fmla="*/ 195 h 10760"/>
                <a:gd name="connsiteX55" fmla="*/ 4766 w 10165"/>
                <a:gd name="connsiteY55" fmla="*/ 1088 h 10760"/>
                <a:gd name="connsiteX56" fmla="*/ 5026 w 10165"/>
                <a:gd name="connsiteY56" fmla="*/ 1091 h 10760"/>
                <a:gd name="connsiteX57" fmla="*/ 5092 w 10165"/>
                <a:gd name="connsiteY57" fmla="*/ 1196 h 10760"/>
                <a:gd name="connsiteX58" fmla="*/ 5308 w 10165"/>
                <a:gd name="connsiteY58" fmla="*/ 1300 h 10760"/>
                <a:gd name="connsiteX59" fmla="*/ 5749 w 10165"/>
                <a:gd name="connsiteY59" fmla="*/ 1256 h 10760"/>
                <a:gd name="connsiteX60" fmla="*/ 5799 w 10165"/>
                <a:gd name="connsiteY60" fmla="*/ 1745 h 10760"/>
                <a:gd name="connsiteX61" fmla="*/ 6080 w 10165"/>
                <a:gd name="connsiteY61" fmla="*/ 1596 h 10760"/>
                <a:gd name="connsiteX62" fmla="*/ 6268 w 10165"/>
                <a:gd name="connsiteY62" fmla="*/ 1924 h 10760"/>
                <a:gd name="connsiteX63" fmla="*/ 5846 w 10165"/>
                <a:gd name="connsiteY63" fmla="*/ 2163 h 10760"/>
                <a:gd name="connsiteX64" fmla="*/ 6174 w 10165"/>
                <a:gd name="connsiteY64" fmla="*/ 2282 h 10760"/>
                <a:gd name="connsiteX65" fmla="*/ 6080 w 10165"/>
                <a:gd name="connsiteY65" fmla="*/ 2700 h 10760"/>
                <a:gd name="connsiteX66" fmla="*/ 6975 w 10165"/>
                <a:gd name="connsiteY66" fmla="*/ 3130 h 10760"/>
                <a:gd name="connsiteX67" fmla="*/ 5588 w 10165"/>
                <a:gd name="connsiteY67" fmla="*/ 3332 h 10760"/>
                <a:gd name="connsiteX68" fmla="*/ 5841 w 10165"/>
                <a:gd name="connsiteY68" fmla="*/ 3764 h 10760"/>
                <a:gd name="connsiteX69" fmla="*/ 6268 w 10165"/>
                <a:gd name="connsiteY69" fmla="*/ 3715 h 10760"/>
                <a:gd name="connsiteX70" fmla="*/ 5799 w 10165"/>
                <a:gd name="connsiteY70" fmla="*/ 3805 h 10760"/>
                <a:gd name="connsiteX71" fmla="*/ 6131 w 10165"/>
                <a:gd name="connsiteY71" fmla="*/ 3949 h 10760"/>
                <a:gd name="connsiteX72" fmla="*/ 6032 w 10165"/>
                <a:gd name="connsiteY72" fmla="*/ 4185 h 10760"/>
                <a:gd name="connsiteX73" fmla="*/ 6315 w 10165"/>
                <a:gd name="connsiteY73" fmla="*/ 4909 h 10760"/>
                <a:gd name="connsiteX74" fmla="*/ 5705 w 10165"/>
                <a:gd name="connsiteY74" fmla="*/ 4939 h 10760"/>
                <a:gd name="connsiteX75" fmla="*/ 5705 w 10165"/>
                <a:gd name="connsiteY75" fmla="*/ 5357 h 10760"/>
                <a:gd name="connsiteX76" fmla="*/ 4766 w 10165"/>
                <a:gd name="connsiteY76" fmla="*/ 5775 h 10760"/>
                <a:gd name="connsiteX77" fmla="*/ 5048 w 10165"/>
                <a:gd name="connsiteY77" fmla="*/ 6163 h 10760"/>
                <a:gd name="connsiteX78" fmla="*/ 4813 w 10165"/>
                <a:gd name="connsiteY78" fmla="*/ 6521 h 10760"/>
                <a:gd name="connsiteX79" fmla="*/ 5611 w 10165"/>
                <a:gd name="connsiteY79" fmla="*/ 7208 h 10760"/>
                <a:gd name="connsiteX80" fmla="*/ 6738 w 10165"/>
                <a:gd name="connsiteY80" fmla="*/ 7208 h 10760"/>
                <a:gd name="connsiteX81" fmla="*/ 7395 w 10165"/>
                <a:gd name="connsiteY81" fmla="*/ 7088 h 10760"/>
                <a:gd name="connsiteX82" fmla="*/ 7958 w 10165"/>
                <a:gd name="connsiteY82" fmla="*/ 7238 h 10760"/>
                <a:gd name="connsiteX83" fmla="*/ 8428 w 10165"/>
                <a:gd name="connsiteY83" fmla="*/ 7626 h 10760"/>
                <a:gd name="connsiteX84" fmla="*/ 8803 w 10165"/>
                <a:gd name="connsiteY84" fmla="*/ 8372 h 10760"/>
                <a:gd name="connsiteX85" fmla="*/ 9179 w 10165"/>
                <a:gd name="connsiteY85" fmla="*/ 8342 h 10760"/>
                <a:gd name="connsiteX86" fmla="*/ 10165 w 10165"/>
                <a:gd name="connsiteY86" fmla="*/ 9088 h 10760"/>
                <a:gd name="connsiteX87" fmla="*/ 8991 w 10165"/>
                <a:gd name="connsiteY87" fmla="*/ 9894 h 10760"/>
                <a:gd name="connsiteX88" fmla="*/ 9461 w 10165"/>
                <a:gd name="connsiteY88" fmla="*/ 10491 h 10760"/>
                <a:gd name="connsiteX89" fmla="*/ 9273 w 10165"/>
                <a:gd name="connsiteY89" fmla="*/ 10730 h 10760"/>
                <a:gd name="connsiteX90" fmla="*/ 8991 w 10165"/>
                <a:gd name="connsiteY90" fmla="*/ 10491 h 10760"/>
                <a:gd name="connsiteX91" fmla="*/ 7113 w 10165"/>
                <a:gd name="connsiteY91" fmla="*/ 10461 h 10760"/>
                <a:gd name="connsiteX92" fmla="*/ 6785 w 10165"/>
                <a:gd name="connsiteY92" fmla="*/ 10760 h 10760"/>
                <a:gd name="connsiteX93" fmla="*/ 6221 w 10165"/>
                <a:gd name="connsiteY93" fmla="*/ 10730 h 10760"/>
                <a:gd name="connsiteX0" fmla="*/ 6221 w 10165"/>
                <a:gd name="connsiteY0" fmla="*/ 10730 h 10760"/>
                <a:gd name="connsiteX1" fmla="*/ 6315 w 10165"/>
                <a:gd name="connsiteY1" fmla="*/ 9894 h 10760"/>
                <a:gd name="connsiteX2" fmla="*/ 6597 w 10165"/>
                <a:gd name="connsiteY2" fmla="*/ 9088 h 10760"/>
                <a:gd name="connsiteX3" fmla="*/ 5799 w 10165"/>
                <a:gd name="connsiteY3" fmla="*/ 8909 h 10760"/>
                <a:gd name="connsiteX4" fmla="*/ 5564 w 10165"/>
                <a:gd name="connsiteY4" fmla="*/ 8730 h 10760"/>
                <a:gd name="connsiteX5" fmla="*/ 5188 w 10165"/>
                <a:gd name="connsiteY5" fmla="*/ 8820 h 10760"/>
                <a:gd name="connsiteX6" fmla="*/ 4860 w 10165"/>
                <a:gd name="connsiteY6" fmla="*/ 8253 h 10760"/>
                <a:gd name="connsiteX7" fmla="*/ 4296 w 10165"/>
                <a:gd name="connsiteY7" fmla="*/ 7894 h 10760"/>
                <a:gd name="connsiteX8" fmla="*/ 3874 w 10165"/>
                <a:gd name="connsiteY8" fmla="*/ 7924 h 10760"/>
                <a:gd name="connsiteX9" fmla="*/ 3968 w 10165"/>
                <a:gd name="connsiteY9" fmla="*/ 8103 h 10760"/>
                <a:gd name="connsiteX10" fmla="*/ 3498 w 10165"/>
                <a:gd name="connsiteY10" fmla="*/ 8133 h 10760"/>
                <a:gd name="connsiteX11" fmla="*/ 3451 w 10165"/>
                <a:gd name="connsiteY11" fmla="*/ 7447 h 10760"/>
                <a:gd name="connsiteX12" fmla="*/ 2700 w 10165"/>
                <a:gd name="connsiteY12" fmla="*/ 7417 h 10760"/>
                <a:gd name="connsiteX13" fmla="*/ 2794 w 10165"/>
                <a:gd name="connsiteY13" fmla="*/ 7118 h 10760"/>
                <a:gd name="connsiteX14" fmla="*/ 2465 w 10165"/>
                <a:gd name="connsiteY14" fmla="*/ 7029 h 10760"/>
                <a:gd name="connsiteX15" fmla="*/ 2278 w 10165"/>
                <a:gd name="connsiteY15" fmla="*/ 6521 h 10760"/>
                <a:gd name="connsiteX16" fmla="*/ 2606 w 10165"/>
                <a:gd name="connsiteY16" fmla="*/ 6372 h 10760"/>
                <a:gd name="connsiteX17" fmla="*/ 3076 w 10165"/>
                <a:gd name="connsiteY17" fmla="*/ 5984 h 10760"/>
                <a:gd name="connsiteX18" fmla="*/ 2794 w 10165"/>
                <a:gd name="connsiteY18" fmla="*/ 5775 h 10760"/>
                <a:gd name="connsiteX19" fmla="*/ 3357 w 10165"/>
                <a:gd name="connsiteY19" fmla="*/ 5447 h 10760"/>
                <a:gd name="connsiteX20" fmla="*/ 2794 w 10165"/>
                <a:gd name="connsiteY20" fmla="*/ 5447 h 10760"/>
                <a:gd name="connsiteX21" fmla="*/ 2794 w 10165"/>
                <a:gd name="connsiteY21" fmla="*/ 5088 h 10760"/>
                <a:gd name="connsiteX22" fmla="*/ 2982 w 10165"/>
                <a:gd name="connsiteY22" fmla="*/ 4521 h 10760"/>
                <a:gd name="connsiteX23" fmla="*/ 2747 w 10165"/>
                <a:gd name="connsiteY23" fmla="*/ 4044 h 10760"/>
                <a:gd name="connsiteX24" fmla="*/ 3453 w 10165"/>
                <a:gd name="connsiteY24" fmla="*/ 3532 h 10760"/>
                <a:gd name="connsiteX25" fmla="*/ 3055 w 10165"/>
                <a:gd name="connsiteY25" fmla="*/ 3342 h 10760"/>
                <a:gd name="connsiteX26" fmla="*/ 2785 w 10165"/>
                <a:gd name="connsiteY26" fmla="*/ 3260 h 10760"/>
                <a:gd name="connsiteX27" fmla="*/ 2090 w 10165"/>
                <a:gd name="connsiteY27" fmla="*/ 3357 h 10760"/>
                <a:gd name="connsiteX28" fmla="*/ 1852 w 10165"/>
                <a:gd name="connsiteY28" fmla="*/ 3336 h 10760"/>
                <a:gd name="connsiteX29" fmla="*/ 1480 w 10165"/>
                <a:gd name="connsiteY29" fmla="*/ 3118 h 10760"/>
                <a:gd name="connsiteX30" fmla="*/ 1104 w 10165"/>
                <a:gd name="connsiteY30" fmla="*/ 2939 h 10760"/>
                <a:gd name="connsiteX31" fmla="*/ 334 w 10165"/>
                <a:gd name="connsiteY31" fmla="*/ 2950 h 10760"/>
                <a:gd name="connsiteX32" fmla="*/ 6 w 10165"/>
                <a:gd name="connsiteY32" fmla="*/ 2316 h 10760"/>
                <a:gd name="connsiteX33" fmla="*/ 353 w 10165"/>
                <a:gd name="connsiteY33" fmla="*/ 2820 h 10760"/>
                <a:gd name="connsiteX34" fmla="*/ 165 w 10165"/>
                <a:gd name="connsiteY34" fmla="*/ 2790 h 10760"/>
                <a:gd name="connsiteX35" fmla="*/ 523 w 10165"/>
                <a:gd name="connsiteY35" fmla="*/ 1986 h 10760"/>
                <a:gd name="connsiteX36" fmla="*/ 1172 w 10165"/>
                <a:gd name="connsiteY36" fmla="*/ 1999 h 10760"/>
                <a:gd name="connsiteX37" fmla="*/ 1949 w 10165"/>
                <a:gd name="connsiteY37" fmla="*/ 2461 h 10760"/>
                <a:gd name="connsiteX38" fmla="*/ 873 w 10165"/>
                <a:gd name="connsiteY38" fmla="*/ 2015 h 10760"/>
                <a:gd name="connsiteX39" fmla="*/ 1184 w 10165"/>
                <a:gd name="connsiteY39" fmla="*/ 2021 h 10760"/>
                <a:gd name="connsiteX40" fmla="*/ 1346 w 10165"/>
                <a:gd name="connsiteY40" fmla="*/ 2083 h 10760"/>
                <a:gd name="connsiteX41" fmla="*/ 1821 w 10165"/>
                <a:gd name="connsiteY41" fmla="*/ 2449 h 10760"/>
                <a:gd name="connsiteX42" fmla="*/ 2019 w 10165"/>
                <a:gd name="connsiteY42" fmla="*/ 2178 h 10760"/>
                <a:gd name="connsiteX43" fmla="*/ 2345 w 10165"/>
                <a:gd name="connsiteY43" fmla="*/ 1886 h 10760"/>
                <a:gd name="connsiteX44" fmla="*/ 2470 w 10165"/>
                <a:gd name="connsiteY44" fmla="*/ 1793 h 10760"/>
                <a:gd name="connsiteX45" fmla="*/ 3170 w 10165"/>
                <a:gd name="connsiteY45" fmla="*/ 1805 h 10760"/>
                <a:gd name="connsiteX46" fmla="*/ 2888 w 10165"/>
                <a:gd name="connsiteY46" fmla="*/ 1835 h 10760"/>
                <a:gd name="connsiteX47" fmla="*/ 2700 w 10165"/>
                <a:gd name="connsiteY47" fmla="*/ 1596 h 10760"/>
                <a:gd name="connsiteX48" fmla="*/ 2683 w 10165"/>
                <a:gd name="connsiteY48" fmla="*/ 1359 h 10760"/>
                <a:gd name="connsiteX49" fmla="*/ 2731 w 10165"/>
                <a:gd name="connsiteY49" fmla="*/ 1009 h 10760"/>
                <a:gd name="connsiteX50" fmla="*/ 2465 w 10165"/>
                <a:gd name="connsiteY50" fmla="*/ 1059 h 10760"/>
                <a:gd name="connsiteX51" fmla="*/ 2419 w 10165"/>
                <a:gd name="connsiteY51" fmla="*/ 879 h 10760"/>
                <a:gd name="connsiteX52" fmla="*/ 2534 w 10165"/>
                <a:gd name="connsiteY52" fmla="*/ 580 h 10760"/>
                <a:gd name="connsiteX53" fmla="*/ 2432 w 10165"/>
                <a:gd name="connsiteY53" fmla="*/ 0 h 10760"/>
                <a:gd name="connsiteX54" fmla="*/ 3730 w 10165"/>
                <a:gd name="connsiteY54" fmla="*/ 195 h 10760"/>
                <a:gd name="connsiteX55" fmla="*/ 4766 w 10165"/>
                <a:gd name="connsiteY55" fmla="*/ 1088 h 10760"/>
                <a:gd name="connsiteX56" fmla="*/ 5026 w 10165"/>
                <a:gd name="connsiteY56" fmla="*/ 1091 h 10760"/>
                <a:gd name="connsiteX57" fmla="*/ 5092 w 10165"/>
                <a:gd name="connsiteY57" fmla="*/ 1196 h 10760"/>
                <a:gd name="connsiteX58" fmla="*/ 5308 w 10165"/>
                <a:gd name="connsiteY58" fmla="*/ 1300 h 10760"/>
                <a:gd name="connsiteX59" fmla="*/ 5749 w 10165"/>
                <a:gd name="connsiteY59" fmla="*/ 1256 h 10760"/>
                <a:gd name="connsiteX60" fmla="*/ 5799 w 10165"/>
                <a:gd name="connsiteY60" fmla="*/ 1745 h 10760"/>
                <a:gd name="connsiteX61" fmla="*/ 6080 w 10165"/>
                <a:gd name="connsiteY61" fmla="*/ 1596 h 10760"/>
                <a:gd name="connsiteX62" fmla="*/ 6268 w 10165"/>
                <a:gd name="connsiteY62" fmla="*/ 1924 h 10760"/>
                <a:gd name="connsiteX63" fmla="*/ 5846 w 10165"/>
                <a:gd name="connsiteY63" fmla="*/ 2163 h 10760"/>
                <a:gd name="connsiteX64" fmla="*/ 6174 w 10165"/>
                <a:gd name="connsiteY64" fmla="*/ 2282 h 10760"/>
                <a:gd name="connsiteX65" fmla="*/ 6080 w 10165"/>
                <a:gd name="connsiteY65" fmla="*/ 2700 h 10760"/>
                <a:gd name="connsiteX66" fmla="*/ 6975 w 10165"/>
                <a:gd name="connsiteY66" fmla="*/ 3130 h 10760"/>
                <a:gd name="connsiteX67" fmla="*/ 5588 w 10165"/>
                <a:gd name="connsiteY67" fmla="*/ 3332 h 10760"/>
                <a:gd name="connsiteX68" fmla="*/ 5841 w 10165"/>
                <a:gd name="connsiteY68" fmla="*/ 3764 h 10760"/>
                <a:gd name="connsiteX69" fmla="*/ 6268 w 10165"/>
                <a:gd name="connsiteY69" fmla="*/ 3715 h 10760"/>
                <a:gd name="connsiteX70" fmla="*/ 5799 w 10165"/>
                <a:gd name="connsiteY70" fmla="*/ 3805 h 10760"/>
                <a:gd name="connsiteX71" fmla="*/ 6131 w 10165"/>
                <a:gd name="connsiteY71" fmla="*/ 3949 h 10760"/>
                <a:gd name="connsiteX72" fmla="*/ 6032 w 10165"/>
                <a:gd name="connsiteY72" fmla="*/ 4185 h 10760"/>
                <a:gd name="connsiteX73" fmla="*/ 6315 w 10165"/>
                <a:gd name="connsiteY73" fmla="*/ 4909 h 10760"/>
                <a:gd name="connsiteX74" fmla="*/ 5705 w 10165"/>
                <a:gd name="connsiteY74" fmla="*/ 4939 h 10760"/>
                <a:gd name="connsiteX75" fmla="*/ 5705 w 10165"/>
                <a:gd name="connsiteY75" fmla="*/ 5357 h 10760"/>
                <a:gd name="connsiteX76" fmla="*/ 4766 w 10165"/>
                <a:gd name="connsiteY76" fmla="*/ 5775 h 10760"/>
                <a:gd name="connsiteX77" fmla="*/ 5048 w 10165"/>
                <a:gd name="connsiteY77" fmla="*/ 6163 h 10760"/>
                <a:gd name="connsiteX78" fmla="*/ 4813 w 10165"/>
                <a:gd name="connsiteY78" fmla="*/ 6521 h 10760"/>
                <a:gd name="connsiteX79" fmla="*/ 5611 w 10165"/>
                <a:gd name="connsiteY79" fmla="*/ 7208 h 10760"/>
                <a:gd name="connsiteX80" fmla="*/ 6738 w 10165"/>
                <a:gd name="connsiteY80" fmla="*/ 7208 h 10760"/>
                <a:gd name="connsiteX81" fmla="*/ 7395 w 10165"/>
                <a:gd name="connsiteY81" fmla="*/ 7088 h 10760"/>
                <a:gd name="connsiteX82" fmla="*/ 7958 w 10165"/>
                <a:gd name="connsiteY82" fmla="*/ 7238 h 10760"/>
                <a:gd name="connsiteX83" fmla="*/ 8428 w 10165"/>
                <a:gd name="connsiteY83" fmla="*/ 7626 h 10760"/>
                <a:gd name="connsiteX84" fmla="*/ 8803 w 10165"/>
                <a:gd name="connsiteY84" fmla="*/ 8372 h 10760"/>
                <a:gd name="connsiteX85" fmla="*/ 9179 w 10165"/>
                <a:gd name="connsiteY85" fmla="*/ 8342 h 10760"/>
                <a:gd name="connsiteX86" fmla="*/ 10165 w 10165"/>
                <a:gd name="connsiteY86" fmla="*/ 9088 h 10760"/>
                <a:gd name="connsiteX87" fmla="*/ 8991 w 10165"/>
                <a:gd name="connsiteY87" fmla="*/ 9894 h 10760"/>
                <a:gd name="connsiteX88" fmla="*/ 9461 w 10165"/>
                <a:gd name="connsiteY88" fmla="*/ 10491 h 10760"/>
                <a:gd name="connsiteX89" fmla="*/ 9273 w 10165"/>
                <a:gd name="connsiteY89" fmla="*/ 10730 h 10760"/>
                <a:gd name="connsiteX90" fmla="*/ 8991 w 10165"/>
                <a:gd name="connsiteY90" fmla="*/ 10491 h 10760"/>
                <a:gd name="connsiteX91" fmla="*/ 7113 w 10165"/>
                <a:gd name="connsiteY91" fmla="*/ 10461 h 10760"/>
                <a:gd name="connsiteX92" fmla="*/ 6785 w 10165"/>
                <a:gd name="connsiteY92" fmla="*/ 10760 h 10760"/>
                <a:gd name="connsiteX93" fmla="*/ 6221 w 10165"/>
                <a:gd name="connsiteY93" fmla="*/ 10730 h 10760"/>
                <a:gd name="connsiteX0" fmla="*/ 6221 w 10165"/>
                <a:gd name="connsiteY0" fmla="*/ 10730 h 10760"/>
                <a:gd name="connsiteX1" fmla="*/ 6315 w 10165"/>
                <a:gd name="connsiteY1" fmla="*/ 9894 h 10760"/>
                <a:gd name="connsiteX2" fmla="*/ 6597 w 10165"/>
                <a:gd name="connsiteY2" fmla="*/ 9088 h 10760"/>
                <a:gd name="connsiteX3" fmla="*/ 5799 w 10165"/>
                <a:gd name="connsiteY3" fmla="*/ 8909 h 10760"/>
                <a:gd name="connsiteX4" fmla="*/ 5564 w 10165"/>
                <a:gd name="connsiteY4" fmla="*/ 8730 h 10760"/>
                <a:gd name="connsiteX5" fmla="*/ 5188 w 10165"/>
                <a:gd name="connsiteY5" fmla="*/ 8820 h 10760"/>
                <a:gd name="connsiteX6" fmla="*/ 4860 w 10165"/>
                <a:gd name="connsiteY6" fmla="*/ 8253 h 10760"/>
                <a:gd name="connsiteX7" fmla="*/ 4296 w 10165"/>
                <a:gd name="connsiteY7" fmla="*/ 7894 h 10760"/>
                <a:gd name="connsiteX8" fmla="*/ 3874 w 10165"/>
                <a:gd name="connsiteY8" fmla="*/ 7924 h 10760"/>
                <a:gd name="connsiteX9" fmla="*/ 3968 w 10165"/>
                <a:gd name="connsiteY9" fmla="*/ 8103 h 10760"/>
                <a:gd name="connsiteX10" fmla="*/ 3498 w 10165"/>
                <a:gd name="connsiteY10" fmla="*/ 8133 h 10760"/>
                <a:gd name="connsiteX11" fmla="*/ 3451 w 10165"/>
                <a:gd name="connsiteY11" fmla="*/ 7447 h 10760"/>
                <a:gd name="connsiteX12" fmla="*/ 2700 w 10165"/>
                <a:gd name="connsiteY12" fmla="*/ 7417 h 10760"/>
                <a:gd name="connsiteX13" fmla="*/ 2794 w 10165"/>
                <a:gd name="connsiteY13" fmla="*/ 7118 h 10760"/>
                <a:gd name="connsiteX14" fmla="*/ 2465 w 10165"/>
                <a:gd name="connsiteY14" fmla="*/ 7029 h 10760"/>
                <a:gd name="connsiteX15" fmla="*/ 2278 w 10165"/>
                <a:gd name="connsiteY15" fmla="*/ 6521 h 10760"/>
                <a:gd name="connsiteX16" fmla="*/ 2606 w 10165"/>
                <a:gd name="connsiteY16" fmla="*/ 6372 h 10760"/>
                <a:gd name="connsiteX17" fmla="*/ 3076 w 10165"/>
                <a:gd name="connsiteY17" fmla="*/ 5984 h 10760"/>
                <a:gd name="connsiteX18" fmla="*/ 2794 w 10165"/>
                <a:gd name="connsiteY18" fmla="*/ 5775 h 10760"/>
                <a:gd name="connsiteX19" fmla="*/ 3357 w 10165"/>
                <a:gd name="connsiteY19" fmla="*/ 5447 h 10760"/>
                <a:gd name="connsiteX20" fmla="*/ 2794 w 10165"/>
                <a:gd name="connsiteY20" fmla="*/ 5447 h 10760"/>
                <a:gd name="connsiteX21" fmla="*/ 2794 w 10165"/>
                <a:gd name="connsiteY21" fmla="*/ 5088 h 10760"/>
                <a:gd name="connsiteX22" fmla="*/ 2982 w 10165"/>
                <a:gd name="connsiteY22" fmla="*/ 4521 h 10760"/>
                <a:gd name="connsiteX23" fmla="*/ 2747 w 10165"/>
                <a:gd name="connsiteY23" fmla="*/ 4044 h 10760"/>
                <a:gd name="connsiteX24" fmla="*/ 3453 w 10165"/>
                <a:gd name="connsiteY24" fmla="*/ 3532 h 10760"/>
                <a:gd name="connsiteX25" fmla="*/ 3055 w 10165"/>
                <a:gd name="connsiteY25" fmla="*/ 3342 h 10760"/>
                <a:gd name="connsiteX26" fmla="*/ 2785 w 10165"/>
                <a:gd name="connsiteY26" fmla="*/ 3260 h 10760"/>
                <a:gd name="connsiteX27" fmla="*/ 2090 w 10165"/>
                <a:gd name="connsiteY27" fmla="*/ 3357 h 10760"/>
                <a:gd name="connsiteX28" fmla="*/ 1852 w 10165"/>
                <a:gd name="connsiteY28" fmla="*/ 3336 h 10760"/>
                <a:gd name="connsiteX29" fmla="*/ 1480 w 10165"/>
                <a:gd name="connsiteY29" fmla="*/ 3118 h 10760"/>
                <a:gd name="connsiteX30" fmla="*/ 1104 w 10165"/>
                <a:gd name="connsiteY30" fmla="*/ 2939 h 10760"/>
                <a:gd name="connsiteX31" fmla="*/ 334 w 10165"/>
                <a:gd name="connsiteY31" fmla="*/ 2950 h 10760"/>
                <a:gd name="connsiteX32" fmla="*/ 6 w 10165"/>
                <a:gd name="connsiteY32" fmla="*/ 2316 h 10760"/>
                <a:gd name="connsiteX33" fmla="*/ 353 w 10165"/>
                <a:gd name="connsiteY33" fmla="*/ 2820 h 10760"/>
                <a:gd name="connsiteX34" fmla="*/ 165 w 10165"/>
                <a:gd name="connsiteY34" fmla="*/ 2790 h 10760"/>
                <a:gd name="connsiteX35" fmla="*/ 523 w 10165"/>
                <a:gd name="connsiteY35" fmla="*/ 1986 h 10760"/>
                <a:gd name="connsiteX36" fmla="*/ 1172 w 10165"/>
                <a:gd name="connsiteY36" fmla="*/ 1999 h 10760"/>
                <a:gd name="connsiteX37" fmla="*/ 1949 w 10165"/>
                <a:gd name="connsiteY37" fmla="*/ 2461 h 10760"/>
                <a:gd name="connsiteX38" fmla="*/ 873 w 10165"/>
                <a:gd name="connsiteY38" fmla="*/ 2015 h 10760"/>
                <a:gd name="connsiteX39" fmla="*/ 1184 w 10165"/>
                <a:gd name="connsiteY39" fmla="*/ 2021 h 10760"/>
                <a:gd name="connsiteX40" fmla="*/ 1346 w 10165"/>
                <a:gd name="connsiteY40" fmla="*/ 2083 h 10760"/>
                <a:gd name="connsiteX41" fmla="*/ 1821 w 10165"/>
                <a:gd name="connsiteY41" fmla="*/ 2449 h 10760"/>
                <a:gd name="connsiteX42" fmla="*/ 2019 w 10165"/>
                <a:gd name="connsiteY42" fmla="*/ 2178 h 10760"/>
                <a:gd name="connsiteX43" fmla="*/ 2345 w 10165"/>
                <a:gd name="connsiteY43" fmla="*/ 1886 h 10760"/>
                <a:gd name="connsiteX44" fmla="*/ 2470 w 10165"/>
                <a:gd name="connsiteY44" fmla="*/ 1793 h 10760"/>
                <a:gd name="connsiteX45" fmla="*/ 3170 w 10165"/>
                <a:gd name="connsiteY45" fmla="*/ 1805 h 10760"/>
                <a:gd name="connsiteX46" fmla="*/ 2888 w 10165"/>
                <a:gd name="connsiteY46" fmla="*/ 1835 h 10760"/>
                <a:gd name="connsiteX47" fmla="*/ 2700 w 10165"/>
                <a:gd name="connsiteY47" fmla="*/ 1596 h 10760"/>
                <a:gd name="connsiteX48" fmla="*/ 2683 w 10165"/>
                <a:gd name="connsiteY48" fmla="*/ 1359 h 10760"/>
                <a:gd name="connsiteX49" fmla="*/ 2731 w 10165"/>
                <a:gd name="connsiteY49" fmla="*/ 1009 h 10760"/>
                <a:gd name="connsiteX50" fmla="*/ 2465 w 10165"/>
                <a:gd name="connsiteY50" fmla="*/ 1059 h 10760"/>
                <a:gd name="connsiteX51" fmla="*/ 2419 w 10165"/>
                <a:gd name="connsiteY51" fmla="*/ 879 h 10760"/>
                <a:gd name="connsiteX52" fmla="*/ 2534 w 10165"/>
                <a:gd name="connsiteY52" fmla="*/ 580 h 10760"/>
                <a:gd name="connsiteX53" fmla="*/ 2432 w 10165"/>
                <a:gd name="connsiteY53" fmla="*/ 0 h 10760"/>
                <a:gd name="connsiteX54" fmla="*/ 3730 w 10165"/>
                <a:gd name="connsiteY54" fmla="*/ 195 h 10760"/>
                <a:gd name="connsiteX55" fmla="*/ 4766 w 10165"/>
                <a:gd name="connsiteY55" fmla="*/ 1088 h 10760"/>
                <a:gd name="connsiteX56" fmla="*/ 5026 w 10165"/>
                <a:gd name="connsiteY56" fmla="*/ 1091 h 10760"/>
                <a:gd name="connsiteX57" fmla="*/ 5092 w 10165"/>
                <a:gd name="connsiteY57" fmla="*/ 1196 h 10760"/>
                <a:gd name="connsiteX58" fmla="*/ 5308 w 10165"/>
                <a:gd name="connsiteY58" fmla="*/ 1300 h 10760"/>
                <a:gd name="connsiteX59" fmla="*/ 5749 w 10165"/>
                <a:gd name="connsiteY59" fmla="*/ 1256 h 10760"/>
                <a:gd name="connsiteX60" fmla="*/ 5799 w 10165"/>
                <a:gd name="connsiteY60" fmla="*/ 1745 h 10760"/>
                <a:gd name="connsiteX61" fmla="*/ 6080 w 10165"/>
                <a:gd name="connsiteY61" fmla="*/ 1596 h 10760"/>
                <a:gd name="connsiteX62" fmla="*/ 6268 w 10165"/>
                <a:gd name="connsiteY62" fmla="*/ 1924 h 10760"/>
                <a:gd name="connsiteX63" fmla="*/ 5846 w 10165"/>
                <a:gd name="connsiteY63" fmla="*/ 2163 h 10760"/>
                <a:gd name="connsiteX64" fmla="*/ 6174 w 10165"/>
                <a:gd name="connsiteY64" fmla="*/ 2282 h 10760"/>
                <a:gd name="connsiteX65" fmla="*/ 6080 w 10165"/>
                <a:gd name="connsiteY65" fmla="*/ 2700 h 10760"/>
                <a:gd name="connsiteX66" fmla="*/ 6975 w 10165"/>
                <a:gd name="connsiteY66" fmla="*/ 3130 h 10760"/>
                <a:gd name="connsiteX67" fmla="*/ 5588 w 10165"/>
                <a:gd name="connsiteY67" fmla="*/ 3332 h 10760"/>
                <a:gd name="connsiteX68" fmla="*/ 5841 w 10165"/>
                <a:gd name="connsiteY68" fmla="*/ 3764 h 10760"/>
                <a:gd name="connsiteX69" fmla="*/ 6268 w 10165"/>
                <a:gd name="connsiteY69" fmla="*/ 3715 h 10760"/>
                <a:gd name="connsiteX70" fmla="*/ 5799 w 10165"/>
                <a:gd name="connsiteY70" fmla="*/ 3805 h 10760"/>
                <a:gd name="connsiteX71" fmla="*/ 6131 w 10165"/>
                <a:gd name="connsiteY71" fmla="*/ 3949 h 10760"/>
                <a:gd name="connsiteX72" fmla="*/ 6032 w 10165"/>
                <a:gd name="connsiteY72" fmla="*/ 4185 h 10760"/>
                <a:gd name="connsiteX73" fmla="*/ 6315 w 10165"/>
                <a:gd name="connsiteY73" fmla="*/ 4909 h 10760"/>
                <a:gd name="connsiteX74" fmla="*/ 5705 w 10165"/>
                <a:gd name="connsiteY74" fmla="*/ 4939 h 10760"/>
                <a:gd name="connsiteX75" fmla="*/ 5705 w 10165"/>
                <a:gd name="connsiteY75" fmla="*/ 5357 h 10760"/>
                <a:gd name="connsiteX76" fmla="*/ 4766 w 10165"/>
                <a:gd name="connsiteY76" fmla="*/ 5775 h 10760"/>
                <a:gd name="connsiteX77" fmla="*/ 5048 w 10165"/>
                <a:gd name="connsiteY77" fmla="*/ 6163 h 10760"/>
                <a:gd name="connsiteX78" fmla="*/ 4813 w 10165"/>
                <a:gd name="connsiteY78" fmla="*/ 6521 h 10760"/>
                <a:gd name="connsiteX79" fmla="*/ 5611 w 10165"/>
                <a:gd name="connsiteY79" fmla="*/ 7208 h 10760"/>
                <a:gd name="connsiteX80" fmla="*/ 6738 w 10165"/>
                <a:gd name="connsiteY80" fmla="*/ 7208 h 10760"/>
                <a:gd name="connsiteX81" fmla="*/ 7395 w 10165"/>
                <a:gd name="connsiteY81" fmla="*/ 7088 h 10760"/>
                <a:gd name="connsiteX82" fmla="*/ 7958 w 10165"/>
                <a:gd name="connsiteY82" fmla="*/ 7238 h 10760"/>
                <a:gd name="connsiteX83" fmla="*/ 8428 w 10165"/>
                <a:gd name="connsiteY83" fmla="*/ 7626 h 10760"/>
                <a:gd name="connsiteX84" fmla="*/ 8803 w 10165"/>
                <a:gd name="connsiteY84" fmla="*/ 8372 h 10760"/>
                <a:gd name="connsiteX85" fmla="*/ 9179 w 10165"/>
                <a:gd name="connsiteY85" fmla="*/ 8342 h 10760"/>
                <a:gd name="connsiteX86" fmla="*/ 10165 w 10165"/>
                <a:gd name="connsiteY86" fmla="*/ 9088 h 10760"/>
                <a:gd name="connsiteX87" fmla="*/ 8991 w 10165"/>
                <a:gd name="connsiteY87" fmla="*/ 9894 h 10760"/>
                <a:gd name="connsiteX88" fmla="*/ 9461 w 10165"/>
                <a:gd name="connsiteY88" fmla="*/ 10491 h 10760"/>
                <a:gd name="connsiteX89" fmla="*/ 9273 w 10165"/>
                <a:gd name="connsiteY89" fmla="*/ 10730 h 10760"/>
                <a:gd name="connsiteX90" fmla="*/ 8991 w 10165"/>
                <a:gd name="connsiteY90" fmla="*/ 10491 h 10760"/>
                <a:gd name="connsiteX91" fmla="*/ 7113 w 10165"/>
                <a:gd name="connsiteY91" fmla="*/ 10461 h 10760"/>
                <a:gd name="connsiteX92" fmla="*/ 6785 w 10165"/>
                <a:gd name="connsiteY92" fmla="*/ 10760 h 10760"/>
                <a:gd name="connsiteX93" fmla="*/ 6221 w 10165"/>
                <a:gd name="connsiteY93" fmla="*/ 10730 h 10760"/>
                <a:gd name="connsiteX0" fmla="*/ 6221 w 10165"/>
                <a:gd name="connsiteY0" fmla="*/ 10730 h 10760"/>
                <a:gd name="connsiteX1" fmla="*/ 6315 w 10165"/>
                <a:gd name="connsiteY1" fmla="*/ 9894 h 10760"/>
                <a:gd name="connsiteX2" fmla="*/ 6597 w 10165"/>
                <a:gd name="connsiteY2" fmla="*/ 9088 h 10760"/>
                <a:gd name="connsiteX3" fmla="*/ 5799 w 10165"/>
                <a:gd name="connsiteY3" fmla="*/ 8909 h 10760"/>
                <a:gd name="connsiteX4" fmla="*/ 5564 w 10165"/>
                <a:gd name="connsiteY4" fmla="*/ 8730 h 10760"/>
                <a:gd name="connsiteX5" fmla="*/ 5188 w 10165"/>
                <a:gd name="connsiteY5" fmla="*/ 8820 h 10760"/>
                <a:gd name="connsiteX6" fmla="*/ 4860 w 10165"/>
                <a:gd name="connsiteY6" fmla="*/ 8253 h 10760"/>
                <a:gd name="connsiteX7" fmla="*/ 4296 w 10165"/>
                <a:gd name="connsiteY7" fmla="*/ 7894 h 10760"/>
                <a:gd name="connsiteX8" fmla="*/ 3874 w 10165"/>
                <a:gd name="connsiteY8" fmla="*/ 7924 h 10760"/>
                <a:gd name="connsiteX9" fmla="*/ 3968 w 10165"/>
                <a:gd name="connsiteY9" fmla="*/ 8103 h 10760"/>
                <a:gd name="connsiteX10" fmla="*/ 3498 w 10165"/>
                <a:gd name="connsiteY10" fmla="*/ 8133 h 10760"/>
                <a:gd name="connsiteX11" fmla="*/ 3451 w 10165"/>
                <a:gd name="connsiteY11" fmla="*/ 7447 h 10760"/>
                <a:gd name="connsiteX12" fmla="*/ 2700 w 10165"/>
                <a:gd name="connsiteY12" fmla="*/ 7417 h 10760"/>
                <a:gd name="connsiteX13" fmla="*/ 2794 w 10165"/>
                <a:gd name="connsiteY13" fmla="*/ 7118 h 10760"/>
                <a:gd name="connsiteX14" fmla="*/ 2465 w 10165"/>
                <a:gd name="connsiteY14" fmla="*/ 7029 h 10760"/>
                <a:gd name="connsiteX15" fmla="*/ 2278 w 10165"/>
                <a:gd name="connsiteY15" fmla="*/ 6521 h 10760"/>
                <a:gd name="connsiteX16" fmla="*/ 2606 w 10165"/>
                <a:gd name="connsiteY16" fmla="*/ 6372 h 10760"/>
                <a:gd name="connsiteX17" fmla="*/ 3076 w 10165"/>
                <a:gd name="connsiteY17" fmla="*/ 5984 h 10760"/>
                <a:gd name="connsiteX18" fmla="*/ 2794 w 10165"/>
                <a:gd name="connsiteY18" fmla="*/ 5775 h 10760"/>
                <a:gd name="connsiteX19" fmla="*/ 3357 w 10165"/>
                <a:gd name="connsiteY19" fmla="*/ 5447 h 10760"/>
                <a:gd name="connsiteX20" fmla="*/ 2794 w 10165"/>
                <a:gd name="connsiteY20" fmla="*/ 5447 h 10760"/>
                <a:gd name="connsiteX21" fmla="*/ 2794 w 10165"/>
                <a:gd name="connsiteY21" fmla="*/ 5088 h 10760"/>
                <a:gd name="connsiteX22" fmla="*/ 2982 w 10165"/>
                <a:gd name="connsiteY22" fmla="*/ 4521 h 10760"/>
                <a:gd name="connsiteX23" fmla="*/ 2747 w 10165"/>
                <a:gd name="connsiteY23" fmla="*/ 4044 h 10760"/>
                <a:gd name="connsiteX24" fmla="*/ 3453 w 10165"/>
                <a:gd name="connsiteY24" fmla="*/ 3532 h 10760"/>
                <a:gd name="connsiteX25" fmla="*/ 3055 w 10165"/>
                <a:gd name="connsiteY25" fmla="*/ 3342 h 10760"/>
                <a:gd name="connsiteX26" fmla="*/ 2785 w 10165"/>
                <a:gd name="connsiteY26" fmla="*/ 3260 h 10760"/>
                <a:gd name="connsiteX27" fmla="*/ 2078 w 10165"/>
                <a:gd name="connsiteY27" fmla="*/ 3486 h 10760"/>
                <a:gd name="connsiteX28" fmla="*/ 1852 w 10165"/>
                <a:gd name="connsiteY28" fmla="*/ 3336 h 10760"/>
                <a:gd name="connsiteX29" fmla="*/ 1480 w 10165"/>
                <a:gd name="connsiteY29" fmla="*/ 3118 h 10760"/>
                <a:gd name="connsiteX30" fmla="*/ 1104 w 10165"/>
                <a:gd name="connsiteY30" fmla="*/ 2939 h 10760"/>
                <a:gd name="connsiteX31" fmla="*/ 334 w 10165"/>
                <a:gd name="connsiteY31" fmla="*/ 2950 h 10760"/>
                <a:gd name="connsiteX32" fmla="*/ 6 w 10165"/>
                <a:gd name="connsiteY32" fmla="*/ 2316 h 10760"/>
                <a:gd name="connsiteX33" fmla="*/ 353 w 10165"/>
                <a:gd name="connsiteY33" fmla="*/ 2820 h 10760"/>
                <a:gd name="connsiteX34" fmla="*/ 165 w 10165"/>
                <a:gd name="connsiteY34" fmla="*/ 2790 h 10760"/>
                <a:gd name="connsiteX35" fmla="*/ 523 w 10165"/>
                <a:gd name="connsiteY35" fmla="*/ 1986 h 10760"/>
                <a:gd name="connsiteX36" fmla="*/ 1172 w 10165"/>
                <a:gd name="connsiteY36" fmla="*/ 1999 h 10760"/>
                <a:gd name="connsiteX37" fmla="*/ 1949 w 10165"/>
                <a:gd name="connsiteY37" fmla="*/ 2461 h 10760"/>
                <a:gd name="connsiteX38" fmla="*/ 873 w 10165"/>
                <a:gd name="connsiteY38" fmla="*/ 2015 h 10760"/>
                <a:gd name="connsiteX39" fmla="*/ 1184 w 10165"/>
                <a:gd name="connsiteY39" fmla="*/ 2021 h 10760"/>
                <a:gd name="connsiteX40" fmla="*/ 1346 w 10165"/>
                <a:gd name="connsiteY40" fmla="*/ 2083 h 10760"/>
                <a:gd name="connsiteX41" fmla="*/ 1821 w 10165"/>
                <a:gd name="connsiteY41" fmla="*/ 2449 h 10760"/>
                <a:gd name="connsiteX42" fmla="*/ 2019 w 10165"/>
                <a:gd name="connsiteY42" fmla="*/ 2178 h 10760"/>
                <a:gd name="connsiteX43" fmla="*/ 2345 w 10165"/>
                <a:gd name="connsiteY43" fmla="*/ 1886 h 10760"/>
                <a:gd name="connsiteX44" fmla="*/ 2470 w 10165"/>
                <a:gd name="connsiteY44" fmla="*/ 1793 h 10760"/>
                <a:gd name="connsiteX45" fmla="*/ 3170 w 10165"/>
                <a:gd name="connsiteY45" fmla="*/ 1805 h 10760"/>
                <a:gd name="connsiteX46" fmla="*/ 2888 w 10165"/>
                <a:gd name="connsiteY46" fmla="*/ 1835 h 10760"/>
                <a:gd name="connsiteX47" fmla="*/ 2700 w 10165"/>
                <a:gd name="connsiteY47" fmla="*/ 1596 h 10760"/>
                <a:gd name="connsiteX48" fmla="*/ 2683 w 10165"/>
                <a:gd name="connsiteY48" fmla="*/ 1359 h 10760"/>
                <a:gd name="connsiteX49" fmla="*/ 2731 w 10165"/>
                <a:gd name="connsiteY49" fmla="*/ 1009 h 10760"/>
                <a:gd name="connsiteX50" fmla="*/ 2465 w 10165"/>
                <a:gd name="connsiteY50" fmla="*/ 1059 h 10760"/>
                <a:gd name="connsiteX51" fmla="*/ 2419 w 10165"/>
                <a:gd name="connsiteY51" fmla="*/ 879 h 10760"/>
                <a:gd name="connsiteX52" fmla="*/ 2534 w 10165"/>
                <a:gd name="connsiteY52" fmla="*/ 580 h 10760"/>
                <a:gd name="connsiteX53" fmla="*/ 2432 w 10165"/>
                <a:gd name="connsiteY53" fmla="*/ 0 h 10760"/>
                <a:gd name="connsiteX54" fmla="*/ 3730 w 10165"/>
                <a:gd name="connsiteY54" fmla="*/ 195 h 10760"/>
                <a:gd name="connsiteX55" fmla="*/ 4766 w 10165"/>
                <a:gd name="connsiteY55" fmla="*/ 1088 h 10760"/>
                <a:gd name="connsiteX56" fmla="*/ 5026 w 10165"/>
                <a:gd name="connsiteY56" fmla="*/ 1091 h 10760"/>
                <a:gd name="connsiteX57" fmla="*/ 5092 w 10165"/>
                <a:gd name="connsiteY57" fmla="*/ 1196 h 10760"/>
                <a:gd name="connsiteX58" fmla="*/ 5308 w 10165"/>
                <a:gd name="connsiteY58" fmla="*/ 1300 h 10760"/>
                <a:gd name="connsiteX59" fmla="*/ 5749 w 10165"/>
                <a:gd name="connsiteY59" fmla="*/ 1256 h 10760"/>
                <a:gd name="connsiteX60" fmla="*/ 5799 w 10165"/>
                <a:gd name="connsiteY60" fmla="*/ 1745 h 10760"/>
                <a:gd name="connsiteX61" fmla="*/ 6080 w 10165"/>
                <a:gd name="connsiteY61" fmla="*/ 1596 h 10760"/>
                <a:gd name="connsiteX62" fmla="*/ 6268 w 10165"/>
                <a:gd name="connsiteY62" fmla="*/ 1924 h 10760"/>
                <a:gd name="connsiteX63" fmla="*/ 5846 w 10165"/>
                <a:gd name="connsiteY63" fmla="*/ 2163 h 10760"/>
                <a:gd name="connsiteX64" fmla="*/ 6174 w 10165"/>
                <a:gd name="connsiteY64" fmla="*/ 2282 h 10760"/>
                <a:gd name="connsiteX65" fmla="*/ 6080 w 10165"/>
                <a:gd name="connsiteY65" fmla="*/ 2700 h 10760"/>
                <a:gd name="connsiteX66" fmla="*/ 6975 w 10165"/>
                <a:gd name="connsiteY66" fmla="*/ 3130 h 10760"/>
                <a:gd name="connsiteX67" fmla="*/ 5588 w 10165"/>
                <a:gd name="connsiteY67" fmla="*/ 3332 h 10760"/>
                <a:gd name="connsiteX68" fmla="*/ 5841 w 10165"/>
                <a:gd name="connsiteY68" fmla="*/ 3764 h 10760"/>
                <a:gd name="connsiteX69" fmla="*/ 6268 w 10165"/>
                <a:gd name="connsiteY69" fmla="*/ 3715 h 10760"/>
                <a:gd name="connsiteX70" fmla="*/ 5799 w 10165"/>
                <a:gd name="connsiteY70" fmla="*/ 3805 h 10760"/>
                <a:gd name="connsiteX71" fmla="*/ 6131 w 10165"/>
                <a:gd name="connsiteY71" fmla="*/ 3949 h 10760"/>
                <a:gd name="connsiteX72" fmla="*/ 6032 w 10165"/>
                <a:gd name="connsiteY72" fmla="*/ 4185 h 10760"/>
                <a:gd name="connsiteX73" fmla="*/ 6315 w 10165"/>
                <a:gd name="connsiteY73" fmla="*/ 4909 h 10760"/>
                <a:gd name="connsiteX74" fmla="*/ 5705 w 10165"/>
                <a:gd name="connsiteY74" fmla="*/ 4939 h 10760"/>
                <a:gd name="connsiteX75" fmla="*/ 5705 w 10165"/>
                <a:gd name="connsiteY75" fmla="*/ 5357 h 10760"/>
                <a:gd name="connsiteX76" fmla="*/ 4766 w 10165"/>
                <a:gd name="connsiteY76" fmla="*/ 5775 h 10760"/>
                <a:gd name="connsiteX77" fmla="*/ 5048 w 10165"/>
                <a:gd name="connsiteY77" fmla="*/ 6163 h 10760"/>
                <a:gd name="connsiteX78" fmla="*/ 4813 w 10165"/>
                <a:gd name="connsiteY78" fmla="*/ 6521 h 10760"/>
                <a:gd name="connsiteX79" fmla="*/ 5611 w 10165"/>
                <a:gd name="connsiteY79" fmla="*/ 7208 h 10760"/>
                <a:gd name="connsiteX80" fmla="*/ 6738 w 10165"/>
                <a:gd name="connsiteY80" fmla="*/ 7208 h 10760"/>
                <a:gd name="connsiteX81" fmla="*/ 7395 w 10165"/>
                <a:gd name="connsiteY81" fmla="*/ 7088 h 10760"/>
                <a:gd name="connsiteX82" fmla="*/ 7958 w 10165"/>
                <a:gd name="connsiteY82" fmla="*/ 7238 h 10760"/>
                <a:gd name="connsiteX83" fmla="*/ 8428 w 10165"/>
                <a:gd name="connsiteY83" fmla="*/ 7626 h 10760"/>
                <a:gd name="connsiteX84" fmla="*/ 8803 w 10165"/>
                <a:gd name="connsiteY84" fmla="*/ 8372 h 10760"/>
                <a:gd name="connsiteX85" fmla="*/ 9179 w 10165"/>
                <a:gd name="connsiteY85" fmla="*/ 8342 h 10760"/>
                <a:gd name="connsiteX86" fmla="*/ 10165 w 10165"/>
                <a:gd name="connsiteY86" fmla="*/ 9088 h 10760"/>
                <a:gd name="connsiteX87" fmla="*/ 8991 w 10165"/>
                <a:gd name="connsiteY87" fmla="*/ 9894 h 10760"/>
                <a:gd name="connsiteX88" fmla="*/ 9461 w 10165"/>
                <a:gd name="connsiteY88" fmla="*/ 10491 h 10760"/>
                <a:gd name="connsiteX89" fmla="*/ 9273 w 10165"/>
                <a:gd name="connsiteY89" fmla="*/ 10730 h 10760"/>
                <a:gd name="connsiteX90" fmla="*/ 8991 w 10165"/>
                <a:gd name="connsiteY90" fmla="*/ 10491 h 10760"/>
                <a:gd name="connsiteX91" fmla="*/ 7113 w 10165"/>
                <a:gd name="connsiteY91" fmla="*/ 10461 h 10760"/>
                <a:gd name="connsiteX92" fmla="*/ 6785 w 10165"/>
                <a:gd name="connsiteY92" fmla="*/ 10760 h 10760"/>
                <a:gd name="connsiteX93" fmla="*/ 6221 w 10165"/>
                <a:gd name="connsiteY93" fmla="*/ 10730 h 10760"/>
                <a:gd name="connsiteX0" fmla="*/ 6221 w 10165"/>
                <a:gd name="connsiteY0" fmla="*/ 10730 h 10760"/>
                <a:gd name="connsiteX1" fmla="*/ 6315 w 10165"/>
                <a:gd name="connsiteY1" fmla="*/ 9894 h 10760"/>
                <a:gd name="connsiteX2" fmla="*/ 6597 w 10165"/>
                <a:gd name="connsiteY2" fmla="*/ 9088 h 10760"/>
                <a:gd name="connsiteX3" fmla="*/ 5799 w 10165"/>
                <a:gd name="connsiteY3" fmla="*/ 8909 h 10760"/>
                <a:gd name="connsiteX4" fmla="*/ 5564 w 10165"/>
                <a:gd name="connsiteY4" fmla="*/ 8730 h 10760"/>
                <a:gd name="connsiteX5" fmla="*/ 5188 w 10165"/>
                <a:gd name="connsiteY5" fmla="*/ 8820 h 10760"/>
                <a:gd name="connsiteX6" fmla="*/ 4860 w 10165"/>
                <a:gd name="connsiteY6" fmla="*/ 8253 h 10760"/>
                <a:gd name="connsiteX7" fmla="*/ 4296 w 10165"/>
                <a:gd name="connsiteY7" fmla="*/ 7894 h 10760"/>
                <a:gd name="connsiteX8" fmla="*/ 3874 w 10165"/>
                <a:gd name="connsiteY8" fmla="*/ 7924 h 10760"/>
                <a:gd name="connsiteX9" fmla="*/ 3968 w 10165"/>
                <a:gd name="connsiteY9" fmla="*/ 8103 h 10760"/>
                <a:gd name="connsiteX10" fmla="*/ 3498 w 10165"/>
                <a:gd name="connsiteY10" fmla="*/ 8133 h 10760"/>
                <a:gd name="connsiteX11" fmla="*/ 3451 w 10165"/>
                <a:gd name="connsiteY11" fmla="*/ 7447 h 10760"/>
                <a:gd name="connsiteX12" fmla="*/ 2700 w 10165"/>
                <a:gd name="connsiteY12" fmla="*/ 7417 h 10760"/>
                <a:gd name="connsiteX13" fmla="*/ 2794 w 10165"/>
                <a:gd name="connsiteY13" fmla="*/ 7118 h 10760"/>
                <a:gd name="connsiteX14" fmla="*/ 2465 w 10165"/>
                <a:gd name="connsiteY14" fmla="*/ 7029 h 10760"/>
                <a:gd name="connsiteX15" fmla="*/ 2278 w 10165"/>
                <a:gd name="connsiteY15" fmla="*/ 6521 h 10760"/>
                <a:gd name="connsiteX16" fmla="*/ 2606 w 10165"/>
                <a:gd name="connsiteY16" fmla="*/ 6372 h 10760"/>
                <a:gd name="connsiteX17" fmla="*/ 3076 w 10165"/>
                <a:gd name="connsiteY17" fmla="*/ 5984 h 10760"/>
                <a:gd name="connsiteX18" fmla="*/ 2794 w 10165"/>
                <a:gd name="connsiteY18" fmla="*/ 5775 h 10760"/>
                <a:gd name="connsiteX19" fmla="*/ 3357 w 10165"/>
                <a:gd name="connsiteY19" fmla="*/ 5447 h 10760"/>
                <a:gd name="connsiteX20" fmla="*/ 2794 w 10165"/>
                <a:gd name="connsiteY20" fmla="*/ 5447 h 10760"/>
                <a:gd name="connsiteX21" fmla="*/ 2794 w 10165"/>
                <a:gd name="connsiteY21" fmla="*/ 5088 h 10760"/>
                <a:gd name="connsiteX22" fmla="*/ 2982 w 10165"/>
                <a:gd name="connsiteY22" fmla="*/ 4521 h 10760"/>
                <a:gd name="connsiteX23" fmla="*/ 2747 w 10165"/>
                <a:gd name="connsiteY23" fmla="*/ 4044 h 10760"/>
                <a:gd name="connsiteX24" fmla="*/ 3453 w 10165"/>
                <a:gd name="connsiteY24" fmla="*/ 3532 h 10760"/>
                <a:gd name="connsiteX25" fmla="*/ 3055 w 10165"/>
                <a:gd name="connsiteY25" fmla="*/ 3342 h 10760"/>
                <a:gd name="connsiteX26" fmla="*/ 2785 w 10165"/>
                <a:gd name="connsiteY26" fmla="*/ 3260 h 10760"/>
                <a:gd name="connsiteX27" fmla="*/ 2078 w 10165"/>
                <a:gd name="connsiteY27" fmla="*/ 3486 h 10760"/>
                <a:gd name="connsiteX28" fmla="*/ 1852 w 10165"/>
                <a:gd name="connsiteY28" fmla="*/ 3336 h 10760"/>
                <a:gd name="connsiteX29" fmla="*/ 1480 w 10165"/>
                <a:gd name="connsiteY29" fmla="*/ 3118 h 10760"/>
                <a:gd name="connsiteX30" fmla="*/ 793 w 10165"/>
                <a:gd name="connsiteY30" fmla="*/ 3070 h 10760"/>
                <a:gd name="connsiteX31" fmla="*/ 334 w 10165"/>
                <a:gd name="connsiteY31" fmla="*/ 2950 h 10760"/>
                <a:gd name="connsiteX32" fmla="*/ 6 w 10165"/>
                <a:gd name="connsiteY32" fmla="*/ 2316 h 10760"/>
                <a:gd name="connsiteX33" fmla="*/ 353 w 10165"/>
                <a:gd name="connsiteY33" fmla="*/ 2820 h 10760"/>
                <a:gd name="connsiteX34" fmla="*/ 165 w 10165"/>
                <a:gd name="connsiteY34" fmla="*/ 2790 h 10760"/>
                <a:gd name="connsiteX35" fmla="*/ 523 w 10165"/>
                <a:gd name="connsiteY35" fmla="*/ 1986 h 10760"/>
                <a:gd name="connsiteX36" fmla="*/ 1172 w 10165"/>
                <a:gd name="connsiteY36" fmla="*/ 1999 h 10760"/>
                <a:gd name="connsiteX37" fmla="*/ 1949 w 10165"/>
                <a:gd name="connsiteY37" fmla="*/ 2461 h 10760"/>
                <a:gd name="connsiteX38" fmla="*/ 873 w 10165"/>
                <a:gd name="connsiteY38" fmla="*/ 2015 h 10760"/>
                <a:gd name="connsiteX39" fmla="*/ 1184 w 10165"/>
                <a:gd name="connsiteY39" fmla="*/ 2021 h 10760"/>
                <a:gd name="connsiteX40" fmla="*/ 1346 w 10165"/>
                <a:gd name="connsiteY40" fmla="*/ 2083 h 10760"/>
                <a:gd name="connsiteX41" fmla="*/ 1821 w 10165"/>
                <a:gd name="connsiteY41" fmla="*/ 2449 h 10760"/>
                <a:gd name="connsiteX42" fmla="*/ 2019 w 10165"/>
                <a:gd name="connsiteY42" fmla="*/ 2178 h 10760"/>
                <a:gd name="connsiteX43" fmla="*/ 2345 w 10165"/>
                <a:gd name="connsiteY43" fmla="*/ 1886 h 10760"/>
                <a:gd name="connsiteX44" fmla="*/ 2470 w 10165"/>
                <a:gd name="connsiteY44" fmla="*/ 1793 h 10760"/>
                <a:gd name="connsiteX45" fmla="*/ 3170 w 10165"/>
                <a:gd name="connsiteY45" fmla="*/ 1805 h 10760"/>
                <a:gd name="connsiteX46" fmla="*/ 2888 w 10165"/>
                <a:gd name="connsiteY46" fmla="*/ 1835 h 10760"/>
                <a:gd name="connsiteX47" fmla="*/ 2700 w 10165"/>
                <a:gd name="connsiteY47" fmla="*/ 1596 h 10760"/>
                <a:gd name="connsiteX48" fmla="*/ 2683 w 10165"/>
                <a:gd name="connsiteY48" fmla="*/ 1359 h 10760"/>
                <a:gd name="connsiteX49" fmla="*/ 2731 w 10165"/>
                <a:gd name="connsiteY49" fmla="*/ 1009 h 10760"/>
                <a:gd name="connsiteX50" fmla="*/ 2465 w 10165"/>
                <a:gd name="connsiteY50" fmla="*/ 1059 h 10760"/>
                <a:gd name="connsiteX51" fmla="*/ 2419 w 10165"/>
                <a:gd name="connsiteY51" fmla="*/ 879 h 10760"/>
                <a:gd name="connsiteX52" fmla="*/ 2534 w 10165"/>
                <a:gd name="connsiteY52" fmla="*/ 580 h 10760"/>
                <a:gd name="connsiteX53" fmla="*/ 2432 w 10165"/>
                <a:gd name="connsiteY53" fmla="*/ 0 h 10760"/>
                <a:gd name="connsiteX54" fmla="*/ 3730 w 10165"/>
                <a:gd name="connsiteY54" fmla="*/ 195 h 10760"/>
                <a:gd name="connsiteX55" fmla="*/ 4766 w 10165"/>
                <a:gd name="connsiteY55" fmla="*/ 1088 h 10760"/>
                <a:gd name="connsiteX56" fmla="*/ 5026 w 10165"/>
                <a:gd name="connsiteY56" fmla="*/ 1091 h 10760"/>
                <a:gd name="connsiteX57" fmla="*/ 5092 w 10165"/>
                <a:gd name="connsiteY57" fmla="*/ 1196 h 10760"/>
                <a:gd name="connsiteX58" fmla="*/ 5308 w 10165"/>
                <a:gd name="connsiteY58" fmla="*/ 1300 h 10760"/>
                <a:gd name="connsiteX59" fmla="*/ 5749 w 10165"/>
                <a:gd name="connsiteY59" fmla="*/ 1256 h 10760"/>
                <a:gd name="connsiteX60" fmla="*/ 5799 w 10165"/>
                <a:gd name="connsiteY60" fmla="*/ 1745 h 10760"/>
                <a:gd name="connsiteX61" fmla="*/ 6080 w 10165"/>
                <a:gd name="connsiteY61" fmla="*/ 1596 h 10760"/>
                <a:gd name="connsiteX62" fmla="*/ 6268 w 10165"/>
                <a:gd name="connsiteY62" fmla="*/ 1924 h 10760"/>
                <a:gd name="connsiteX63" fmla="*/ 5846 w 10165"/>
                <a:gd name="connsiteY63" fmla="*/ 2163 h 10760"/>
                <a:gd name="connsiteX64" fmla="*/ 6174 w 10165"/>
                <a:gd name="connsiteY64" fmla="*/ 2282 h 10760"/>
                <a:gd name="connsiteX65" fmla="*/ 6080 w 10165"/>
                <a:gd name="connsiteY65" fmla="*/ 2700 h 10760"/>
                <a:gd name="connsiteX66" fmla="*/ 6975 w 10165"/>
                <a:gd name="connsiteY66" fmla="*/ 3130 h 10760"/>
                <a:gd name="connsiteX67" fmla="*/ 5588 w 10165"/>
                <a:gd name="connsiteY67" fmla="*/ 3332 h 10760"/>
                <a:gd name="connsiteX68" fmla="*/ 5841 w 10165"/>
                <a:gd name="connsiteY68" fmla="*/ 3764 h 10760"/>
                <a:gd name="connsiteX69" fmla="*/ 6268 w 10165"/>
                <a:gd name="connsiteY69" fmla="*/ 3715 h 10760"/>
                <a:gd name="connsiteX70" fmla="*/ 5799 w 10165"/>
                <a:gd name="connsiteY70" fmla="*/ 3805 h 10760"/>
                <a:gd name="connsiteX71" fmla="*/ 6131 w 10165"/>
                <a:gd name="connsiteY71" fmla="*/ 3949 h 10760"/>
                <a:gd name="connsiteX72" fmla="*/ 6032 w 10165"/>
                <a:gd name="connsiteY72" fmla="*/ 4185 h 10760"/>
                <a:gd name="connsiteX73" fmla="*/ 6315 w 10165"/>
                <a:gd name="connsiteY73" fmla="*/ 4909 h 10760"/>
                <a:gd name="connsiteX74" fmla="*/ 5705 w 10165"/>
                <a:gd name="connsiteY74" fmla="*/ 4939 h 10760"/>
                <a:gd name="connsiteX75" fmla="*/ 5705 w 10165"/>
                <a:gd name="connsiteY75" fmla="*/ 5357 h 10760"/>
                <a:gd name="connsiteX76" fmla="*/ 4766 w 10165"/>
                <a:gd name="connsiteY76" fmla="*/ 5775 h 10760"/>
                <a:gd name="connsiteX77" fmla="*/ 5048 w 10165"/>
                <a:gd name="connsiteY77" fmla="*/ 6163 h 10760"/>
                <a:gd name="connsiteX78" fmla="*/ 4813 w 10165"/>
                <a:gd name="connsiteY78" fmla="*/ 6521 h 10760"/>
                <a:gd name="connsiteX79" fmla="*/ 5611 w 10165"/>
                <a:gd name="connsiteY79" fmla="*/ 7208 h 10760"/>
                <a:gd name="connsiteX80" fmla="*/ 6738 w 10165"/>
                <a:gd name="connsiteY80" fmla="*/ 7208 h 10760"/>
                <a:gd name="connsiteX81" fmla="*/ 7395 w 10165"/>
                <a:gd name="connsiteY81" fmla="*/ 7088 h 10760"/>
                <a:gd name="connsiteX82" fmla="*/ 7958 w 10165"/>
                <a:gd name="connsiteY82" fmla="*/ 7238 h 10760"/>
                <a:gd name="connsiteX83" fmla="*/ 8428 w 10165"/>
                <a:gd name="connsiteY83" fmla="*/ 7626 h 10760"/>
                <a:gd name="connsiteX84" fmla="*/ 8803 w 10165"/>
                <a:gd name="connsiteY84" fmla="*/ 8372 h 10760"/>
                <a:gd name="connsiteX85" fmla="*/ 9179 w 10165"/>
                <a:gd name="connsiteY85" fmla="*/ 8342 h 10760"/>
                <a:gd name="connsiteX86" fmla="*/ 10165 w 10165"/>
                <a:gd name="connsiteY86" fmla="*/ 9088 h 10760"/>
                <a:gd name="connsiteX87" fmla="*/ 8991 w 10165"/>
                <a:gd name="connsiteY87" fmla="*/ 9894 h 10760"/>
                <a:gd name="connsiteX88" fmla="*/ 9461 w 10165"/>
                <a:gd name="connsiteY88" fmla="*/ 10491 h 10760"/>
                <a:gd name="connsiteX89" fmla="*/ 9273 w 10165"/>
                <a:gd name="connsiteY89" fmla="*/ 10730 h 10760"/>
                <a:gd name="connsiteX90" fmla="*/ 8991 w 10165"/>
                <a:gd name="connsiteY90" fmla="*/ 10491 h 10760"/>
                <a:gd name="connsiteX91" fmla="*/ 7113 w 10165"/>
                <a:gd name="connsiteY91" fmla="*/ 10461 h 10760"/>
                <a:gd name="connsiteX92" fmla="*/ 6785 w 10165"/>
                <a:gd name="connsiteY92" fmla="*/ 10760 h 10760"/>
                <a:gd name="connsiteX93" fmla="*/ 6221 w 10165"/>
                <a:gd name="connsiteY93" fmla="*/ 10730 h 10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10165" h="10760">
                  <a:moveTo>
                    <a:pt x="6221" y="10730"/>
                  </a:moveTo>
                  <a:cubicBezTo>
                    <a:pt x="6252" y="10451"/>
                    <a:pt x="6284" y="10173"/>
                    <a:pt x="6315" y="9894"/>
                  </a:cubicBezTo>
                  <a:lnTo>
                    <a:pt x="6597" y="9088"/>
                  </a:lnTo>
                  <a:lnTo>
                    <a:pt x="5799" y="8909"/>
                  </a:lnTo>
                  <a:lnTo>
                    <a:pt x="5564" y="8730"/>
                  </a:lnTo>
                  <a:lnTo>
                    <a:pt x="5188" y="8820"/>
                  </a:lnTo>
                  <a:lnTo>
                    <a:pt x="4860" y="8253"/>
                  </a:lnTo>
                  <a:lnTo>
                    <a:pt x="4296" y="7894"/>
                  </a:lnTo>
                  <a:lnTo>
                    <a:pt x="3874" y="7924"/>
                  </a:lnTo>
                  <a:cubicBezTo>
                    <a:pt x="3905" y="7984"/>
                    <a:pt x="3937" y="8043"/>
                    <a:pt x="3968" y="8103"/>
                  </a:cubicBezTo>
                  <a:lnTo>
                    <a:pt x="3498" y="8133"/>
                  </a:lnTo>
                  <a:cubicBezTo>
                    <a:pt x="3482" y="7904"/>
                    <a:pt x="3467" y="7676"/>
                    <a:pt x="3451" y="7447"/>
                  </a:cubicBezTo>
                  <a:lnTo>
                    <a:pt x="2700" y="7417"/>
                  </a:lnTo>
                  <a:cubicBezTo>
                    <a:pt x="2731" y="7317"/>
                    <a:pt x="2763" y="7218"/>
                    <a:pt x="2794" y="7118"/>
                  </a:cubicBezTo>
                  <a:lnTo>
                    <a:pt x="2465" y="7029"/>
                  </a:lnTo>
                  <a:lnTo>
                    <a:pt x="2278" y="6521"/>
                  </a:lnTo>
                  <a:lnTo>
                    <a:pt x="2606" y="6372"/>
                  </a:lnTo>
                  <a:lnTo>
                    <a:pt x="3076" y="5984"/>
                  </a:lnTo>
                  <a:lnTo>
                    <a:pt x="2794" y="5775"/>
                  </a:lnTo>
                  <a:lnTo>
                    <a:pt x="3357" y="5447"/>
                  </a:lnTo>
                  <a:lnTo>
                    <a:pt x="2794" y="5447"/>
                  </a:lnTo>
                  <a:lnTo>
                    <a:pt x="2794" y="5088"/>
                  </a:lnTo>
                  <a:cubicBezTo>
                    <a:pt x="2857" y="4899"/>
                    <a:pt x="2919" y="4710"/>
                    <a:pt x="2982" y="4521"/>
                  </a:cubicBezTo>
                  <a:lnTo>
                    <a:pt x="2747" y="4044"/>
                  </a:lnTo>
                  <a:lnTo>
                    <a:pt x="3453" y="3532"/>
                  </a:lnTo>
                  <a:lnTo>
                    <a:pt x="3055" y="3342"/>
                  </a:lnTo>
                  <a:lnTo>
                    <a:pt x="2785" y="3260"/>
                  </a:lnTo>
                  <a:lnTo>
                    <a:pt x="2078" y="3486"/>
                  </a:lnTo>
                  <a:cubicBezTo>
                    <a:pt x="2047" y="3406"/>
                    <a:pt x="1883" y="3416"/>
                    <a:pt x="1852" y="3336"/>
                  </a:cubicBezTo>
                  <a:lnTo>
                    <a:pt x="1480" y="3118"/>
                  </a:lnTo>
                  <a:lnTo>
                    <a:pt x="793" y="3070"/>
                  </a:lnTo>
                  <a:lnTo>
                    <a:pt x="334" y="2950"/>
                  </a:lnTo>
                  <a:cubicBezTo>
                    <a:pt x="397" y="2851"/>
                    <a:pt x="-57" y="2415"/>
                    <a:pt x="6" y="2316"/>
                  </a:cubicBezTo>
                  <a:cubicBezTo>
                    <a:pt x="24" y="2493"/>
                    <a:pt x="335" y="2643"/>
                    <a:pt x="353" y="2820"/>
                  </a:cubicBezTo>
                  <a:lnTo>
                    <a:pt x="165" y="2790"/>
                  </a:lnTo>
                  <a:lnTo>
                    <a:pt x="523" y="1986"/>
                  </a:lnTo>
                  <a:lnTo>
                    <a:pt x="1172" y="1999"/>
                  </a:lnTo>
                  <a:cubicBezTo>
                    <a:pt x="1541" y="2143"/>
                    <a:pt x="1690" y="2307"/>
                    <a:pt x="1949" y="2461"/>
                  </a:cubicBezTo>
                  <a:lnTo>
                    <a:pt x="873" y="2015"/>
                  </a:lnTo>
                  <a:cubicBezTo>
                    <a:pt x="857" y="2045"/>
                    <a:pt x="1200" y="1991"/>
                    <a:pt x="1184" y="2021"/>
                  </a:cubicBezTo>
                  <a:lnTo>
                    <a:pt x="1346" y="2083"/>
                  </a:lnTo>
                  <a:cubicBezTo>
                    <a:pt x="1504" y="2205"/>
                    <a:pt x="1508" y="2111"/>
                    <a:pt x="1821" y="2449"/>
                  </a:cubicBezTo>
                  <a:cubicBezTo>
                    <a:pt x="1750" y="2235"/>
                    <a:pt x="2090" y="2392"/>
                    <a:pt x="2019" y="2178"/>
                  </a:cubicBezTo>
                  <a:lnTo>
                    <a:pt x="2345" y="1886"/>
                  </a:lnTo>
                  <a:lnTo>
                    <a:pt x="2470" y="1793"/>
                  </a:lnTo>
                  <a:lnTo>
                    <a:pt x="3170" y="1805"/>
                  </a:lnTo>
                  <a:lnTo>
                    <a:pt x="2888" y="1835"/>
                  </a:lnTo>
                  <a:lnTo>
                    <a:pt x="2700" y="1596"/>
                  </a:lnTo>
                  <a:cubicBezTo>
                    <a:pt x="2694" y="1517"/>
                    <a:pt x="2689" y="1438"/>
                    <a:pt x="2683" y="1359"/>
                  </a:cubicBezTo>
                  <a:cubicBezTo>
                    <a:pt x="2736" y="1239"/>
                    <a:pt x="2678" y="1129"/>
                    <a:pt x="2731" y="1009"/>
                  </a:cubicBezTo>
                  <a:lnTo>
                    <a:pt x="2465" y="1059"/>
                  </a:lnTo>
                  <a:cubicBezTo>
                    <a:pt x="2450" y="999"/>
                    <a:pt x="2434" y="939"/>
                    <a:pt x="2419" y="879"/>
                  </a:cubicBezTo>
                  <a:cubicBezTo>
                    <a:pt x="2457" y="779"/>
                    <a:pt x="2496" y="680"/>
                    <a:pt x="2534" y="580"/>
                  </a:cubicBezTo>
                  <a:lnTo>
                    <a:pt x="2432" y="0"/>
                  </a:lnTo>
                  <a:lnTo>
                    <a:pt x="3730" y="195"/>
                  </a:lnTo>
                  <a:lnTo>
                    <a:pt x="4766" y="1088"/>
                  </a:lnTo>
                  <a:cubicBezTo>
                    <a:pt x="4797" y="1188"/>
                    <a:pt x="4995" y="991"/>
                    <a:pt x="5026" y="1091"/>
                  </a:cubicBezTo>
                  <a:lnTo>
                    <a:pt x="5092" y="1196"/>
                  </a:lnTo>
                  <a:cubicBezTo>
                    <a:pt x="5186" y="1176"/>
                    <a:pt x="5214" y="1320"/>
                    <a:pt x="5308" y="1300"/>
                  </a:cubicBezTo>
                  <a:lnTo>
                    <a:pt x="5749" y="1256"/>
                  </a:lnTo>
                  <a:cubicBezTo>
                    <a:pt x="5773" y="1393"/>
                    <a:pt x="5775" y="1608"/>
                    <a:pt x="5799" y="1745"/>
                  </a:cubicBezTo>
                  <a:lnTo>
                    <a:pt x="6080" y="1596"/>
                  </a:lnTo>
                  <a:cubicBezTo>
                    <a:pt x="6143" y="1705"/>
                    <a:pt x="6205" y="1815"/>
                    <a:pt x="6268" y="1924"/>
                  </a:cubicBezTo>
                  <a:lnTo>
                    <a:pt x="5846" y="2163"/>
                  </a:lnTo>
                  <a:lnTo>
                    <a:pt x="6174" y="2282"/>
                  </a:lnTo>
                  <a:cubicBezTo>
                    <a:pt x="6143" y="2421"/>
                    <a:pt x="6111" y="2561"/>
                    <a:pt x="6080" y="2700"/>
                  </a:cubicBezTo>
                  <a:lnTo>
                    <a:pt x="6975" y="3130"/>
                  </a:lnTo>
                  <a:lnTo>
                    <a:pt x="5588" y="3332"/>
                  </a:lnTo>
                  <a:lnTo>
                    <a:pt x="5841" y="3764"/>
                  </a:lnTo>
                  <a:lnTo>
                    <a:pt x="6268" y="3715"/>
                  </a:lnTo>
                  <a:lnTo>
                    <a:pt x="5799" y="3805"/>
                  </a:lnTo>
                  <a:cubicBezTo>
                    <a:pt x="5830" y="3894"/>
                    <a:pt x="6100" y="3860"/>
                    <a:pt x="6131" y="3949"/>
                  </a:cubicBezTo>
                  <a:cubicBezTo>
                    <a:pt x="6098" y="4028"/>
                    <a:pt x="6065" y="4106"/>
                    <a:pt x="6032" y="4185"/>
                  </a:cubicBezTo>
                  <a:cubicBezTo>
                    <a:pt x="6063" y="4424"/>
                    <a:pt x="6284" y="4670"/>
                    <a:pt x="6315" y="4909"/>
                  </a:cubicBezTo>
                  <a:lnTo>
                    <a:pt x="5705" y="4939"/>
                  </a:lnTo>
                  <a:lnTo>
                    <a:pt x="5705" y="5357"/>
                  </a:lnTo>
                  <a:lnTo>
                    <a:pt x="4766" y="5775"/>
                  </a:lnTo>
                  <a:lnTo>
                    <a:pt x="5048" y="6163"/>
                  </a:lnTo>
                  <a:lnTo>
                    <a:pt x="4813" y="6521"/>
                  </a:lnTo>
                  <a:lnTo>
                    <a:pt x="5611" y="7208"/>
                  </a:lnTo>
                  <a:lnTo>
                    <a:pt x="6738" y="7208"/>
                  </a:lnTo>
                  <a:lnTo>
                    <a:pt x="7395" y="7088"/>
                  </a:lnTo>
                  <a:lnTo>
                    <a:pt x="7958" y="7238"/>
                  </a:lnTo>
                  <a:lnTo>
                    <a:pt x="8428" y="7626"/>
                  </a:lnTo>
                  <a:lnTo>
                    <a:pt x="8803" y="8372"/>
                  </a:lnTo>
                  <a:lnTo>
                    <a:pt x="9179" y="8342"/>
                  </a:lnTo>
                  <a:lnTo>
                    <a:pt x="10165" y="9088"/>
                  </a:lnTo>
                  <a:lnTo>
                    <a:pt x="8991" y="9894"/>
                  </a:lnTo>
                  <a:lnTo>
                    <a:pt x="9461" y="10491"/>
                  </a:lnTo>
                  <a:lnTo>
                    <a:pt x="9273" y="10730"/>
                  </a:lnTo>
                  <a:lnTo>
                    <a:pt x="8991" y="10491"/>
                  </a:lnTo>
                  <a:lnTo>
                    <a:pt x="7113" y="10461"/>
                  </a:lnTo>
                  <a:lnTo>
                    <a:pt x="6785" y="10760"/>
                  </a:lnTo>
                  <a:lnTo>
                    <a:pt x="6221" y="1073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sp>
          <p:nvSpPr>
            <p:cNvPr id="47" name="He"/>
            <p:cNvSpPr>
              <a:spLocks/>
            </p:cNvSpPr>
            <p:nvPr/>
          </p:nvSpPr>
          <p:spPr bwMode="auto">
            <a:xfrm rot="460133">
              <a:off x="5854700" y="3278188"/>
              <a:ext cx="508000" cy="701675"/>
            </a:xfrm>
            <a:custGeom>
              <a:avLst/>
              <a:gdLst>
                <a:gd name="T0" fmla="*/ 2147483647 w 139"/>
                <a:gd name="T1" fmla="*/ 2147483647 h 201"/>
                <a:gd name="T2" fmla="*/ 2147483647 w 139"/>
                <a:gd name="T3" fmla="*/ 2147483647 h 201"/>
                <a:gd name="T4" fmla="*/ 2147483647 w 139"/>
                <a:gd name="T5" fmla="*/ 2147483647 h 201"/>
                <a:gd name="T6" fmla="*/ 2147483647 w 139"/>
                <a:gd name="T7" fmla="*/ 2147483647 h 201"/>
                <a:gd name="T8" fmla="*/ 0 w 139"/>
                <a:gd name="T9" fmla="*/ 2147483647 h 201"/>
                <a:gd name="T10" fmla="*/ 2147483647 w 139"/>
                <a:gd name="T11" fmla="*/ 2147483647 h 201"/>
                <a:gd name="T12" fmla="*/ 0 w 139"/>
                <a:gd name="T13" fmla="*/ 2147483647 h 201"/>
                <a:gd name="T14" fmla="*/ 2147483647 w 139"/>
                <a:gd name="T15" fmla="*/ 2147483647 h 201"/>
                <a:gd name="T16" fmla="*/ 2147483647 w 139"/>
                <a:gd name="T17" fmla="*/ 2147483647 h 201"/>
                <a:gd name="T18" fmla="*/ 2147483647 w 139"/>
                <a:gd name="T19" fmla="*/ 2147483647 h 201"/>
                <a:gd name="T20" fmla="*/ 2147483647 w 139"/>
                <a:gd name="T21" fmla="*/ 2147483647 h 201"/>
                <a:gd name="T22" fmla="*/ 2147483647 w 139"/>
                <a:gd name="T23" fmla="*/ 2147483647 h 201"/>
                <a:gd name="T24" fmla="*/ 2147483647 w 139"/>
                <a:gd name="T25" fmla="*/ 2147483647 h 201"/>
                <a:gd name="T26" fmla="*/ 2147483647 w 139"/>
                <a:gd name="T27" fmla="*/ 2147483647 h 201"/>
                <a:gd name="T28" fmla="*/ 2147483647 w 139"/>
                <a:gd name="T29" fmla="*/ 2147483647 h 201"/>
                <a:gd name="T30" fmla="*/ 2147483647 w 139"/>
                <a:gd name="T31" fmla="*/ 2147483647 h 201"/>
                <a:gd name="T32" fmla="*/ 2147483647 w 139"/>
                <a:gd name="T33" fmla="*/ 2147483647 h 201"/>
                <a:gd name="T34" fmla="*/ 2147483647 w 139"/>
                <a:gd name="T35" fmla="*/ 2147483647 h 201"/>
                <a:gd name="T36" fmla="*/ 2147483647 w 139"/>
                <a:gd name="T37" fmla="*/ 2147483647 h 201"/>
                <a:gd name="T38" fmla="*/ 2147483647 w 139"/>
                <a:gd name="T39" fmla="*/ 2147483647 h 201"/>
                <a:gd name="T40" fmla="*/ 2147483647 w 139"/>
                <a:gd name="T41" fmla="*/ 2147483647 h 201"/>
                <a:gd name="T42" fmla="*/ 2147483647 w 139"/>
                <a:gd name="T43" fmla="*/ 2147483647 h 201"/>
                <a:gd name="T44" fmla="*/ 2147483647 w 139"/>
                <a:gd name="T45" fmla="*/ 2147483647 h 201"/>
                <a:gd name="T46" fmla="*/ 2147483647 w 139"/>
                <a:gd name="T47" fmla="*/ 2147483647 h 201"/>
                <a:gd name="T48" fmla="*/ 2147483647 w 139"/>
                <a:gd name="T49" fmla="*/ 2147483647 h 201"/>
                <a:gd name="T50" fmla="*/ 2147483647 w 139"/>
                <a:gd name="T51" fmla="*/ 2147483647 h 201"/>
                <a:gd name="T52" fmla="*/ 2147483647 w 139"/>
                <a:gd name="T53" fmla="*/ 2147483647 h 201"/>
                <a:gd name="T54" fmla="*/ 2147483647 w 139"/>
                <a:gd name="T55" fmla="*/ 2147483647 h 201"/>
                <a:gd name="T56" fmla="*/ 2147483647 w 139"/>
                <a:gd name="T57" fmla="*/ 2147483647 h 201"/>
                <a:gd name="T58" fmla="*/ 2147483647 w 139"/>
                <a:gd name="T59" fmla="*/ 0 h 201"/>
                <a:gd name="T60" fmla="*/ 2147483647 w 139"/>
                <a:gd name="T61" fmla="*/ 2147483647 h 201"/>
                <a:gd name="T62" fmla="*/ 2147483647 w 139"/>
                <a:gd name="T63" fmla="*/ 2147483647 h 201"/>
                <a:gd name="T64" fmla="*/ 2147483647 w 139"/>
                <a:gd name="T65" fmla="*/ 2147483647 h 201"/>
                <a:gd name="T66" fmla="*/ 2147483647 w 139"/>
                <a:gd name="T67" fmla="*/ 2147483647 h 201"/>
                <a:gd name="T68" fmla="*/ 2147483647 w 139"/>
                <a:gd name="T69" fmla="*/ 2147483647 h 201"/>
                <a:gd name="T70" fmla="*/ 2147483647 w 139"/>
                <a:gd name="T71" fmla="*/ 2147483647 h 201"/>
                <a:gd name="T72" fmla="*/ 2147483647 w 139"/>
                <a:gd name="T73" fmla="*/ 2147483647 h 201"/>
                <a:gd name="T74" fmla="*/ 2147483647 w 139"/>
                <a:gd name="T75" fmla="*/ 2147483647 h 201"/>
                <a:gd name="T76" fmla="*/ 2147483647 w 139"/>
                <a:gd name="T77" fmla="*/ 2147483647 h 201"/>
                <a:gd name="T78" fmla="*/ 2147483647 w 139"/>
                <a:gd name="T79" fmla="*/ 2147483647 h 201"/>
                <a:gd name="T80" fmla="*/ 2147483647 w 139"/>
                <a:gd name="T81" fmla="*/ 2147483647 h 201"/>
                <a:gd name="T82" fmla="*/ 2147483647 w 139"/>
                <a:gd name="T83" fmla="*/ 2147483647 h 201"/>
                <a:gd name="T84" fmla="*/ 2147483647 w 139"/>
                <a:gd name="T85" fmla="*/ 2147483647 h 201"/>
                <a:gd name="T86" fmla="*/ 2147483647 w 139"/>
                <a:gd name="T87" fmla="*/ 2147483647 h 201"/>
                <a:gd name="T88" fmla="*/ 2147483647 w 139"/>
                <a:gd name="T89" fmla="*/ 2147483647 h 201"/>
                <a:gd name="T90" fmla="*/ 2147483647 w 139"/>
                <a:gd name="T91" fmla="*/ 2147483647 h 201"/>
                <a:gd name="T92" fmla="*/ 2147483647 w 139"/>
                <a:gd name="T93" fmla="*/ 2147483647 h 201"/>
                <a:gd name="T94" fmla="*/ 2147483647 w 139"/>
                <a:gd name="T95" fmla="*/ 2147483647 h 20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9"/>
                <a:gd name="T145" fmla="*/ 0 h 201"/>
                <a:gd name="T146" fmla="*/ 139 w 139"/>
                <a:gd name="T147" fmla="*/ 201 h 201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2158 w 10000"/>
                <a:gd name="connsiteY10" fmla="*/ 4876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3094 w 10000"/>
                <a:gd name="connsiteY14" fmla="*/ 4279 h 10000"/>
                <a:gd name="connsiteX15" fmla="*/ 3741 w 10000"/>
                <a:gd name="connsiteY15" fmla="*/ 3881 h 10000"/>
                <a:gd name="connsiteX16" fmla="*/ 1295 w 10000"/>
                <a:gd name="connsiteY16" fmla="*/ 2985 h 10000"/>
                <a:gd name="connsiteX17" fmla="*/ 2014 w 10000"/>
                <a:gd name="connsiteY17" fmla="*/ 2388 h 10000"/>
                <a:gd name="connsiteX18" fmla="*/ 2086 w 10000"/>
                <a:gd name="connsiteY18" fmla="*/ 1741 h 10000"/>
                <a:gd name="connsiteX19" fmla="*/ 2446 w 10000"/>
                <a:gd name="connsiteY19" fmla="*/ 1542 h 10000"/>
                <a:gd name="connsiteX20" fmla="*/ 2734 w 10000"/>
                <a:gd name="connsiteY20" fmla="*/ 1542 h 10000"/>
                <a:gd name="connsiteX21" fmla="*/ 2878 w 10000"/>
                <a:gd name="connsiteY21" fmla="*/ 1741 h 10000"/>
                <a:gd name="connsiteX22" fmla="*/ 3525 w 10000"/>
                <a:gd name="connsiteY22" fmla="*/ 1642 h 10000"/>
                <a:gd name="connsiteX23" fmla="*/ 3957 w 10000"/>
                <a:gd name="connsiteY23" fmla="*/ 1294 h 10000"/>
                <a:gd name="connsiteX24" fmla="*/ 4427 w 10000"/>
                <a:gd name="connsiteY24" fmla="*/ 656 h 10000"/>
                <a:gd name="connsiteX25" fmla="*/ 5540 w 10000"/>
                <a:gd name="connsiteY25" fmla="*/ 547 h 10000"/>
                <a:gd name="connsiteX26" fmla="*/ 6475 w 10000"/>
                <a:gd name="connsiteY26" fmla="*/ 597 h 10000"/>
                <a:gd name="connsiteX27" fmla="*/ 6763 w 10000"/>
                <a:gd name="connsiteY27" fmla="*/ 746 h 10000"/>
                <a:gd name="connsiteX28" fmla="*/ 6978 w 10000"/>
                <a:gd name="connsiteY28" fmla="*/ 348 h 10000"/>
                <a:gd name="connsiteX29" fmla="*/ 7410 w 10000"/>
                <a:gd name="connsiteY29" fmla="*/ 0 h 10000"/>
                <a:gd name="connsiteX30" fmla="*/ 7554 w 10000"/>
                <a:gd name="connsiteY30" fmla="*/ 249 h 10000"/>
                <a:gd name="connsiteX31" fmla="*/ 7986 w 10000"/>
                <a:gd name="connsiteY31" fmla="*/ 299 h 10000"/>
                <a:gd name="connsiteX32" fmla="*/ 8129 w 10000"/>
                <a:gd name="connsiteY32" fmla="*/ 746 h 10000"/>
                <a:gd name="connsiteX33" fmla="*/ 7626 w 10000"/>
                <a:gd name="connsiteY33" fmla="*/ 896 h 10000"/>
                <a:gd name="connsiteX34" fmla="*/ 7338 w 10000"/>
                <a:gd name="connsiteY34" fmla="*/ 1194 h 10000"/>
                <a:gd name="connsiteX35" fmla="*/ 7482 w 10000"/>
                <a:gd name="connsiteY35" fmla="*/ 1393 h 10000"/>
                <a:gd name="connsiteX36" fmla="*/ 8273 w 10000"/>
                <a:gd name="connsiteY36" fmla="*/ 1194 h 10000"/>
                <a:gd name="connsiteX37" fmla="*/ 9209 w 10000"/>
                <a:gd name="connsiteY37" fmla="*/ 1791 h 10000"/>
                <a:gd name="connsiteX38" fmla="*/ 9209 w 10000"/>
                <a:gd name="connsiteY38" fmla="*/ 2139 h 10000"/>
                <a:gd name="connsiteX39" fmla="*/ 9353 w 10000"/>
                <a:gd name="connsiteY39" fmla="*/ 3980 h 10000"/>
                <a:gd name="connsiteX40" fmla="*/ 8921 w 10000"/>
                <a:gd name="connsiteY40" fmla="*/ 4229 h 10000"/>
                <a:gd name="connsiteX41" fmla="*/ 9856 w 10000"/>
                <a:gd name="connsiteY41" fmla="*/ 4975 h 10000"/>
                <a:gd name="connsiteX42" fmla="*/ 9496 w 10000"/>
                <a:gd name="connsiteY42" fmla="*/ 5423 h 10000"/>
                <a:gd name="connsiteX43" fmla="*/ 10000 w 10000"/>
                <a:gd name="connsiteY43" fmla="*/ 8557 h 10000"/>
                <a:gd name="connsiteX44" fmla="*/ 8705 w 10000"/>
                <a:gd name="connsiteY44" fmla="*/ 8259 h 10000"/>
                <a:gd name="connsiteX45" fmla="*/ 7770 w 10000"/>
                <a:gd name="connsiteY45" fmla="*/ 8955 h 10000"/>
                <a:gd name="connsiteX46" fmla="*/ 5252 w 10000"/>
                <a:gd name="connsiteY46" fmla="*/ 9552 h 10000"/>
                <a:gd name="connsiteX47" fmla="*/ 4748 w 10000"/>
                <a:gd name="connsiteY47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2158 w 10000"/>
                <a:gd name="connsiteY10" fmla="*/ 4876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3094 w 10000"/>
                <a:gd name="connsiteY14" fmla="*/ 4279 h 10000"/>
                <a:gd name="connsiteX15" fmla="*/ 3741 w 10000"/>
                <a:gd name="connsiteY15" fmla="*/ 3881 h 10000"/>
                <a:gd name="connsiteX16" fmla="*/ 1295 w 10000"/>
                <a:gd name="connsiteY16" fmla="*/ 2985 h 10000"/>
                <a:gd name="connsiteX17" fmla="*/ 2014 w 10000"/>
                <a:gd name="connsiteY17" fmla="*/ 2388 h 10000"/>
                <a:gd name="connsiteX18" fmla="*/ 2086 w 10000"/>
                <a:gd name="connsiteY18" fmla="*/ 1741 h 10000"/>
                <a:gd name="connsiteX19" fmla="*/ 2446 w 10000"/>
                <a:gd name="connsiteY19" fmla="*/ 1542 h 10000"/>
                <a:gd name="connsiteX20" fmla="*/ 2734 w 10000"/>
                <a:gd name="connsiteY20" fmla="*/ 1542 h 10000"/>
                <a:gd name="connsiteX21" fmla="*/ 2878 w 10000"/>
                <a:gd name="connsiteY21" fmla="*/ 1741 h 10000"/>
                <a:gd name="connsiteX22" fmla="*/ 3525 w 10000"/>
                <a:gd name="connsiteY22" fmla="*/ 1642 h 10000"/>
                <a:gd name="connsiteX23" fmla="*/ 3618 w 10000"/>
                <a:gd name="connsiteY23" fmla="*/ 1038 h 10000"/>
                <a:gd name="connsiteX24" fmla="*/ 4427 w 10000"/>
                <a:gd name="connsiteY24" fmla="*/ 656 h 10000"/>
                <a:gd name="connsiteX25" fmla="*/ 5540 w 10000"/>
                <a:gd name="connsiteY25" fmla="*/ 547 h 10000"/>
                <a:gd name="connsiteX26" fmla="*/ 6475 w 10000"/>
                <a:gd name="connsiteY26" fmla="*/ 597 h 10000"/>
                <a:gd name="connsiteX27" fmla="*/ 6763 w 10000"/>
                <a:gd name="connsiteY27" fmla="*/ 746 h 10000"/>
                <a:gd name="connsiteX28" fmla="*/ 6978 w 10000"/>
                <a:gd name="connsiteY28" fmla="*/ 348 h 10000"/>
                <a:gd name="connsiteX29" fmla="*/ 7410 w 10000"/>
                <a:gd name="connsiteY29" fmla="*/ 0 h 10000"/>
                <a:gd name="connsiteX30" fmla="*/ 7554 w 10000"/>
                <a:gd name="connsiteY30" fmla="*/ 249 h 10000"/>
                <a:gd name="connsiteX31" fmla="*/ 7986 w 10000"/>
                <a:gd name="connsiteY31" fmla="*/ 299 h 10000"/>
                <a:gd name="connsiteX32" fmla="*/ 8129 w 10000"/>
                <a:gd name="connsiteY32" fmla="*/ 746 h 10000"/>
                <a:gd name="connsiteX33" fmla="*/ 7626 w 10000"/>
                <a:gd name="connsiteY33" fmla="*/ 896 h 10000"/>
                <a:gd name="connsiteX34" fmla="*/ 7338 w 10000"/>
                <a:gd name="connsiteY34" fmla="*/ 1194 h 10000"/>
                <a:gd name="connsiteX35" fmla="*/ 7482 w 10000"/>
                <a:gd name="connsiteY35" fmla="*/ 1393 h 10000"/>
                <a:gd name="connsiteX36" fmla="*/ 8273 w 10000"/>
                <a:gd name="connsiteY36" fmla="*/ 1194 h 10000"/>
                <a:gd name="connsiteX37" fmla="*/ 9209 w 10000"/>
                <a:gd name="connsiteY37" fmla="*/ 1791 h 10000"/>
                <a:gd name="connsiteX38" fmla="*/ 9209 w 10000"/>
                <a:gd name="connsiteY38" fmla="*/ 2139 h 10000"/>
                <a:gd name="connsiteX39" fmla="*/ 9353 w 10000"/>
                <a:gd name="connsiteY39" fmla="*/ 3980 h 10000"/>
                <a:gd name="connsiteX40" fmla="*/ 8921 w 10000"/>
                <a:gd name="connsiteY40" fmla="*/ 4229 h 10000"/>
                <a:gd name="connsiteX41" fmla="*/ 9856 w 10000"/>
                <a:gd name="connsiteY41" fmla="*/ 4975 h 10000"/>
                <a:gd name="connsiteX42" fmla="*/ 9496 w 10000"/>
                <a:gd name="connsiteY42" fmla="*/ 5423 h 10000"/>
                <a:gd name="connsiteX43" fmla="*/ 10000 w 10000"/>
                <a:gd name="connsiteY43" fmla="*/ 8557 h 10000"/>
                <a:gd name="connsiteX44" fmla="*/ 8705 w 10000"/>
                <a:gd name="connsiteY44" fmla="*/ 8259 h 10000"/>
                <a:gd name="connsiteX45" fmla="*/ 7770 w 10000"/>
                <a:gd name="connsiteY45" fmla="*/ 8955 h 10000"/>
                <a:gd name="connsiteX46" fmla="*/ 5252 w 10000"/>
                <a:gd name="connsiteY46" fmla="*/ 9552 h 10000"/>
                <a:gd name="connsiteX47" fmla="*/ 4748 w 10000"/>
                <a:gd name="connsiteY47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2158 w 10000"/>
                <a:gd name="connsiteY10" fmla="*/ 4876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3094 w 10000"/>
                <a:gd name="connsiteY14" fmla="*/ 4279 h 10000"/>
                <a:gd name="connsiteX15" fmla="*/ 3741 w 10000"/>
                <a:gd name="connsiteY15" fmla="*/ 3881 h 10000"/>
                <a:gd name="connsiteX16" fmla="*/ 1295 w 10000"/>
                <a:gd name="connsiteY16" fmla="*/ 2985 h 10000"/>
                <a:gd name="connsiteX17" fmla="*/ 2014 w 10000"/>
                <a:gd name="connsiteY17" fmla="*/ 2388 h 10000"/>
                <a:gd name="connsiteX18" fmla="*/ 2086 w 10000"/>
                <a:gd name="connsiteY18" fmla="*/ 1741 h 10000"/>
                <a:gd name="connsiteX19" fmla="*/ 2446 w 10000"/>
                <a:gd name="connsiteY19" fmla="*/ 1542 h 10000"/>
                <a:gd name="connsiteX20" fmla="*/ 2734 w 10000"/>
                <a:gd name="connsiteY20" fmla="*/ 1542 h 10000"/>
                <a:gd name="connsiteX21" fmla="*/ 2878 w 10000"/>
                <a:gd name="connsiteY21" fmla="*/ 1741 h 10000"/>
                <a:gd name="connsiteX22" fmla="*/ 3201 w 10000"/>
                <a:gd name="connsiteY22" fmla="*/ 1467 h 10000"/>
                <a:gd name="connsiteX23" fmla="*/ 3618 w 10000"/>
                <a:gd name="connsiteY23" fmla="*/ 1038 h 10000"/>
                <a:gd name="connsiteX24" fmla="*/ 4427 w 10000"/>
                <a:gd name="connsiteY24" fmla="*/ 656 h 10000"/>
                <a:gd name="connsiteX25" fmla="*/ 5540 w 10000"/>
                <a:gd name="connsiteY25" fmla="*/ 547 h 10000"/>
                <a:gd name="connsiteX26" fmla="*/ 6475 w 10000"/>
                <a:gd name="connsiteY26" fmla="*/ 597 h 10000"/>
                <a:gd name="connsiteX27" fmla="*/ 6763 w 10000"/>
                <a:gd name="connsiteY27" fmla="*/ 746 h 10000"/>
                <a:gd name="connsiteX28" fmla="*/ 6978 w 10000"/>
                <a:gd name="connsiteY28" fmla="*/ 348 h 10000"/>
                <a:gd name="connsiteX29" fmla="*/ 7410 w 10000"/>
                <a:gd name="connsiteY29" fmla="*/ 0 h 10000"/>
                <a:gd name="connsiteX30" fmla="*/ 7554 w 10000"/>
                <a:gd name="connsiteY30" fmla="*/ 249 h 10000"/>
                <a:gd name="connsiteX31" fmla="*/ 7986 w 10000"/>
                <a:gd name="connsiteY31" fmla="*/ 299 h 10000"/>
                <a:gd name="connsiteX32" fmla="*/ 8129 w 10000"/>
                <a:gd name="connsiteY32" fmla="*/ 746 h 10000"/>
                <a:gd name="connsiteX33" fmla="*/ 7626 w 10000"/>
                <a:gd name="connsiteY33" fmla="*/ 896 h 10000"/>
                <a:gd name="connsiteX34" fmla="*/ 7338 w 10000"/>
                <a:gd name="connsiteY34" fmla="*/ 1194 h 10000"/>
                <a:gd name="connsiteX35" fmla="*/ 7482 w 10000"/>
                <a:gd name="connsiteY35" fmla="*/ 1393 h 10000"/>
                <a:gd name="connsiteX36" fmla="*/ 8273 w 10000"/>
                <a:gd name="connsiteY36" fmla="*/ 1194 h 10000"/>
                <a:gd name="connsiteX37" fmla="*/ 9209 w 10000"/>
                <a:gd name="connsiteY37" fmla="*/ 1791 h 10000"/>
                <a:gd name="connsiteX38" fmla="*/ 9209 w 10000"/>
                <a:gd name="connsiteY38" fmla="*/ 2139 h 10000"/>
                <a:gd name="connsiteX39" fmla="*/ 9353 w 10000"/>
                <a:gd name="connsiteY39" fmla="*/ 3980 h 10000"/>
                <a:gd name="connsiteX40" fmla="*/ 8921 w 10000"/>
                <a:gd name="connsiteY40" fmla="*/ 4229 h 10000"/>
                <a:gd name="connsiteX41" fmla="*/ 9856 w 10000"/>
                <a:gd name="connsiteY41" fmla="*/ 4975 h 10000"/>
                <a:gd name="connsiteX42" fmla="*/ 9496 w 10000"/>
                <a:gd name="connsiteY42" fmla="*/ 5423 h 10000"/>
                <a:gd name="connsiteX43" fmla="*/ 10000 w 10000"/>
                <a:gd name="connsiteY43" fmla="*/ 8557 h 10000"/>
                <a:gd name="connsiteX44" fmla="*/ 8705 w 10000"/>
                <a:gd name="connsiteY44" fmla="*/ 8259 h 10000"/>
                <a:gd name="connsiteX45" fmla="*/ 7770 w 10000"/>
                <a:gd name="connsiteY45" fmla="*/ 8955 h 10000"/>
                <a:gd name="connsiteX46" fmla="*/ 5252 w 10000"/>
                <a:gd name="connsiteY46" fmla="*/ 9552 h 10000"/>
                <a:gd name="connsiteX47" fmla="*/ 4748 w 10000"/>
                <a:gd name="connsiteY47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2158 w 10000"/>
                <a:gd name="connsiteY10" fmla="*/ 4876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3094 w 10000"/>
                <a:gd name="connsiteY14" fmla="*/ 4279 h 10000"/>
                <a:gd name="connsiteX15" fmla="*/ 3741 w 10000"/>
                <a:gd name="connsiteY15" fmla="*/ 3881 h 10000"/>
                <a:gd name="connsiteX16" fmla="*/ 1295 w 10000"/>
                <a:gd name="connsiteY16" fmla="*/ 2985 h 10000"/>
                <a:gd name="connsiteX17" fmla="*/ 2014 w 10000"/>
                <a:gd name="connsiteY17" fmla="*/ 2388 h 10000"/>
                <a:gd name="connsiteX18" fmla="*/ 1599 w 10000"/>
                <a:gd name="connsiteY18" fmla="*/ 2202 h 10000"/>
                <a:gd name="connsiteX19" fmla="*/ 2086 w 10000"/>
                <a:gd name="connsiteY19" fmla="*/ 1741 h 10000"/>
                <a:gd name="connsiteX20" fmla="*/ 2446 w 10000"/>
                <a:gd name="connsiteY20" fmla="*/ 1542 h 10000"/>
                <a:gd name="connsiteX21" fmla="*/ 2734 w 10000"/>
                <a:gd name="connsiteY21" fmla="*/ 1542 h 10000"/>
                <a:gd name="connsiteX22" fmla="*/ 2878 w 10000"/>
                <a:gd name="connsiteY22" fmla="*/ 1741 h 10000"/>
                <a:gd name="connsiteX23" fmla="*/ 3201 w 10000"/>
                <a:gd name="connsiteY23" fmla="*/ 1467 h 10000"/>
                <a:gd name="connsiteX24" fmla="*/ 3618 w 10000"/>
                <a:gd name="connsiteY24" fmla="*/ 1038 h 10000"/>
                <a:gd name="connsiteX25" fmla="*/ 4427 w 10000"/>
                <a:gd name="connsiteY25" fmla="*/ 656 h 10000"/>
                <a:gd name="connsiteX26" fmla="*/ 5540 w 10000"/>
                <a:gd name="connsiteY26" fmla="*/ 547 h 10000"/>
                <a:gd name="connsiteX27" fmla="*/ 6475 w 10000"/>
                <a:gd name="connsiteY27" fmla="*/ 597 h 10000"/>
                <a:gd name="connsiteX28" fmla="*/ 6763 w 10000"/>
                <a:gd name="connsiteY28" fmla="*/ 746 h 10000"/>
                <a:gd name="connsiteX29" fmla="*/ 6978 w 10000"/>
                <a:gd name="connsiteY29" fmla="*/ 348 h 10000"/>
                <a:gd name="connsiteX30" fmla="*/ 7410 w 10000"/>
                <a:gd name="connsiteY30" fmla="*/ 0 h 10000"/>
                <a:gd name="connsiteX31" fmla="*/ 7554 w 10000"/>
                <a:gd name="connsiteY31" fmla="*/ 249 h 10000"/>
                <a:gd name="connsiteX32" fmla="*/ 7986 w 10000"/>
                <a:gd name="connsiteY32" fmla="*/ 299 h 10000"/>
                <a:gd name="connsiteX33" fmla="*/ 8129 w 10000"/>
                <a:gd name="connsiteY33" fmla="*/ 746 h 10000"/>
                <a:gd name="connsiteX34" fmla="*/ 7626 w 10000"/>
                <a:gd name="connsiteY34" fmla="*/ 896 h 10000"/>
                <a:gd name="connsiteX35" fmla="*/ 7338 w 10000"/>
                <a:gd name="connsiteY35" fmla="*/ 1194 h 10000"/>
                <a:gd name="connsiteX36" fmla="*/ 7482 w 10000"/>
                <a:gd name="connsiteY36" fmla="*/ 1393 h 10000"/>
                <a:gd name="connsiteX37" fmla="*/ 8273 w 10000"/>
                <a:gd name="connsiteY37" fmla="*/ 1194 h 10000"/>
                <a:gd name="connsiteX38" fmla="*/ 9209 w 10000"/>
                <a:gd name="connsiteY38" fmla="*/ 1791 h 10000"/>
                <a:gd name="connsiteX39" fmla="*/ 9209 w 10000"/>
                <a:gd name="connsiteY39" fmla="*/ 2139 h 10000"/>
                <a:gd name="connsiteX40" fmla="*/ 9353 w 10000"/>
                <a:gd name="connsiteY40" fmla="*/ 3980 h 10000"/>
                <a:gd name="connsiteX41" fmla="*/ 8921 w 10000"/>
                <a:gd name="connsiteY41" fmla="*/ 4229 h 10000"/>
                <a:gd name="connsiteX42" fmla="*/ 9856 w 10000"/>
                <a:gd name="connsiteY42" fmla="*/ 4975 h 10000"/>
                <a:gd name="connsiteX43" fmla="*/ 9496 w 10000"/>
                <a:gd name="connsiteY43" fmla="*/ 5423 h 10000"/>
                <a:gd name="connsiteX44" fmla="*/ 10000 w 10000"/>
                <a:gd name="connsiteY44" fmla="*/ 8557 h 10000"/>
                <a:gd name="connsiteX45" fmla="*/ 8705 w 10000"/>
                <a:gd name="connsiteY45" fmla="*/ 8259 h 10000"/>
                <a:gd name="connsiteX46" fmla="*/ 7770 w 10000"/>
                <a:gd name="connsiteY46" fmla="*/ 8955 h 10000"/>
                <a:gd name="connsiteX47" fmla="*/ 5252 w 10000"/>
                <a:gd name="connsiteY47" fmla="*/ 9552 h 10000"/>
                <a:gd name="connsiteX48" fmla="*/ 4748 w 10000"/>
                <a:gd name="connsiteY48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2158 w 10000"/>
                <a:gd name="connsiteY10" fmla="*/ 4876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3094 w 10000"/>
                <a:gd name="connsiteY14" fmla="*/ 4279 h 10000"/>
                <a:gd name="connsiteX15" fmla="*/ 3741 w 10000"/>
                <a:gd name="connsiteY15" fmla="*/ 3881 h 10000"/>
                <a:gd name="connsiteX16" fmla="*/ 1002 w 10000"/>
                <a:gd name="connsiteY16" fmla="*/ 2972 h 10000"/>
                <a:gd name="connsiteX17" fmla="*/ 2014 w 10000"/>
                <a:gd name="connsiteY17" fmla="*/ 2388 h 10000"/>
                <a:gd name="connsiteX18" fmla="*/ 1599 w 10000"/>
                <a:gd name="connsiteY18" fmla="*/ 2202 h 10000"/>
                <a:gd name="connsiteX19" fmla="*/ 2086 w 10000"/>
                <a:gd name="connsiteY19" fmla="*/ 1741 h 10000"/>
                <a:gd name="connsiteX20" fmla="*/ 2446 w 10000"/>
                <a:gd name="connsiteY20" fmla="*/ 1542 h 10000"/>
                <a:gd name="connsiteX21" fmla="*/ 2734 w 10000"/>
                <a:gd name="connsiteY21" fmla="*/ 1542 h 10000"/>
                <a:gd name="connsiteX22" fmla="*/ 2878 w 10000"/>
                <a:gd name="connsiteY22" fmla="*/ 1741 h 10000"/>
                <a:gd name="connsiteX23" fmla="*/ 3201 w 10000"/>
                <a:gd name="connsiteY23" fmla="*/ 1467 h 10000"/>
                <a:gd name="connsiteX24" fmla="*/ 3618 w 10000"/>
                <a:gd name="connsiteY24" fmla="*/ 1038 h 10000"/>
                <a:gd name="connsiteX25" fmla="*/ 4427 w 10000"/>
                <a:gd name="connsiteY25" fmla="*/ 656 h 10000"/>
                <a:gd name="connsiteX26" fmla="*/ 5540 w 10000"/>
                <a:gd name="connsiteY26" fmla="*/ 547 h 10000"/>
                <a:gd name="connsiteX27" fmla="*/ 6475 w 10000"/>
                <a:gd name="connsiteY27" fmla="*/ 597 h 10000"/>
                <a:gd name="connsiteX28" fmla="*/ 6763 w 10000"/>
                <a:gd name="connsiteY28" fmla="*/ 746 h 10000"/>
                <a:gd name="connsiteX29" fmla="*/ 6978 w 10000"/>
                <a:gd name="connsiteY29" fmla="*/ 348 h 10000"/>
                <a:gd name="connsiteX30" fmla="*/ 7410 w 10000"/>
                <a:gd name="connsiteY30" fmla="*/ 0 h 10000"/>
                <a:gd name="connsiteX31" fmla="*/ 7554 w 10000"/>
                <a:gd name="connsiteY31" fmla="*/ 249 h 10000"/>
                <a:gd name="connsiteX32" fmla="*/ 7986 w 10000"/>
                <a:gd name="connsiteY32" fmla="*/ 299 h 10000"/>
                <a:gd name="connsiteX33" fmla="*/ 8129 w 10000"/>
                <a:gd name="connsiteY33" fmla="*/ 746 h 10000"/>
                <a:gd name="connsiteX34" fmla="*/ 7626 w 10000"/>
                <a:gd name="connsiteY34" fmla="*/ 896 h 10000"/>
                <a:gd name="connsiteX35" fmla="*/ 7338 w 10000"/>
                <a:gd name="connsiteY35" fmla="*/ 1194 h 10000"/>
                <a:gd name="connsiteX36" fmla="*/ 7482 w 10000"/>
                <a:gd name="connsiteY36" fmla="*/ 1393 h 10000"/>
                <a:gd name="connsiteX37" fmla="*/ 8273 w 10000"/>
                <a:gd name="connsiteY37" fmla="*/ 1194 h 10000"/>
                <a:gd name="connsiteX38" fmla="*/ 9209 w 10000"/>
                <a:gd name="connsiteY38" fmla="*/ 1791 h 10000"/>
                <a:gd name="connsiteX39" fmla="*/ 9209 w 10000"/>
                <a:gd name="connsiteY39" fmla="*/ 2139 h 10000"/>
                <a:gd name="connsiteX40" fmla="*/ 9353 w 10000"/>
                <a:gd name="connsiteY40" fmla="*/ 3980 h 10000"/>
                <a:gd name="connsiteX41" fmla="*/ 8921 w 10000"/>
                <a:gd name="connsiteY41" fmla="*/ 4229 h 10000"/>
                <a:gd name="connsiteX42" fmla="*/ 9856 w 10000"/>
                <a:gd name="connsiteY42" fmla="*/ 4975 h 10000"/>
                <a:gd name="connsiteX43" fmla="*/ 9496 w 10000"/>
                <a:gd name="connsiteY43" fmla="*/ 5423 h 10000"/>
                <a:gd name="connsiteX44" fmla="*/ 10000 w 10000"/>
                <a:gd name="connsiteY44" fmla="*/ 8557 h 10000"/>
                <a:gd name="connsiteX45" fmla="*/ 8705 w 10000"/>
                <a:gd name="connsiteY45" fmla="*/ 8259 h 10000"/>
                <a:gd name="connsiteX46" fmla="*/ 7770 w 10000"/>
                <a:gd name="connsiteY46" fmla="*/ 8955 h 10000"/>
                <a:gd name="connsiteX47" fmla="*/ 5252 w 10000"/>
                <a:gd name="connsiteY47" fmla="*/ 9552 h 10000"/>
                <a:gd name="connsiteX48" fmla="*/ 4748 w 10000"/>
                <a:gd name="connsiteY48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2158 w 10000"/>
                <a:gd name="connsiteY10" fmla="*/ 4876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3094 w 10000"/>
                <a:gd name="connsiteY14" fmla="*/ 4279 h 10000"/>
                <a:gd name="connsiteX15" fmla="*/ 3251 w 10000"/>
                <a:gd name="connsiteY15" fmla="*/ 4051 h 10000"/>
                <a:gd name="connsiteX16" fmla="*/ 1002 w 10000"/>
                <a:gd name="connsiteY16" fmla="*/ 2972 h 10000"/>
                <a:gd name="connsiteX17" fmla="*/ 2014 w 10000"/>
                <a:gd name="connsiteY17" fmla="*/ 2388 h 10000"/>
                <a:gd name="connsiteX18" fmla="*/ 1599 w 10000"/>
                <a:gd name="connsiteY18" fmla="*/ 2202 h 10000"/>
                <a:gd name="connsiteX19" fmla="*/ 2086 w 10000"/>
                <a:gd name="connsiteY19" fmla="*/ 1741 h 10000"/>
                <a:gd name="connsiteX20" fmla="*/ 2446 w 10000"/>
                <a:gd name="connsiteY20" fmla="*/ 1542 h 10000"/>
                <a:gd name="connsiteX21" fmla="*/ 2734 w 10000"/>
                <a:gd name="connsiteY21" fmla="*/ 1542 h 10000"/>
                <a:gd name="connsiteX22" fmla="*/ 2878 w 10000"/>
                <a:gd name="connsiteY22" fmla="*/ 1741 h 10000"/>
                <a:gd name="connsiteX23" fmla="*/ 3201 w 10000"/>
                <a:gd name="connsiteY23" fmla="*/ 1467 h 10000"/>
                <a:gd name="connsiteX24" fmla="*/ 3618 w 10000"/>
                <a:gd name="connsiteY24" fmla="*/ 1038 h 10000"/>
                <a:gd name="connsiteX25" fmla="*/ 4427 w 10000"/>
                <a:gd name="connsiteY25" fmla="*/ 656 h 10000"/>
                <a:gd name="connsiteX26" fmla="*/ 5540 w 10000"/>
                <a:gd name="connsiteY26" fmla="*/ 547 h 10000"/>
                <a:gd name="connsiteX27" fmla="*/ 6475 w 10000"/>
                <a:gd name="connsiteY27" fmla="*/ 597 h 10000"/>
                <a:gd name="connsiteX28" fmla="*/ 6763 w 10000"/>
                <a:gd name="connsiteY28" fmla="*/ 746 h 10000"/>
                <a:gd name="connsiteX29" fmla="*/ 6978 w 10000"/>
                <a:gd name="connsiteY29" fmla="*/ 348 h 10000"/>
                <a:gd name="connsiteX30" fmla="*/ 7410 w 10000"/>
                <a:gd name="connsiteY30" fmla="*/ 0 h 10000"/>
                <a:gd name="connsiteX31" fmla="*/ 7554 w 10000"/>
                <a:gd name="connsiteY31" fmla="*/ 249 h 10000"/>
                <a:gd name="connsiteX32" fmla="*/ 7986 w 10000"/>
                <a:gd name="connsiteY32" fmla="*/ 299 h 10000"/>
                <a:gd name="connsiteX33" fmla="*/ 8129 w 10000"/>
                <a:gd name="connsiteY33" fmla="*/ 746 h 10000"/>
                <a:gd name="connsiteX34" fmla="*/ 7626 w 10000"/>
                <a:gd name="connsiteY34" fmla="*/ 896 h 10000"/>
                <a:gd name="connsiteX35" fmla="*/ 7338 w 10000"/>
                <a:gd name="connsiteY35" fmla="*/ 1194 h 10000"/>
                <a:gd name="connsiteX36" fmla="*/ 7482 w 10000"/>
                <a:gd name="connsiteY36" fmla="*/ 1393 h 10000"/>
                <a:gd name="connsiteX37" fmla="*/ 8273 w 10000"/>
                <a:gd name="connsiteY37" fmla="*/ 1194 h 10000"/>
                <a:gd name="connsiteX38" fmla="*/ 9209 w 10000"/>
                <a:gd name="connsiteY38" fmla="*/ 1791 h 10000"/>
                <a:gd name="connsiteX39" fmla="*/ 9209 w 10000"/>
                <a:gd name="connsiteY39" fmla="*/ 2139 h 10000"/>
                <a:gd name="connsiteX40" fmla="*/ 9353 w 10000"/>
                <a:gd name="connsiteY40" fmla="*/ 3980 h 10000"/>
                <a:gd name="connsiteX41" fmla="*/ 8921 w 10000"/>
                <a:gd name="connsiteY41" fmla="*/ 4229 h 10000"/>
                <a:gd name="connsiteX42" fmla="*/ 9856 w 10000"/>
                <a:gd name="connsiteY42" fmla="*/ 4975 h 10000"/>
                <a:gd name="connsiteX43" fmla="*/ 9496 w 10000"/>
                <a:gd name="connsiteY43" fmla="*/ 5423 h 10000"/>
                <a:gd name="connsiteX44" fmla="*/ 10000 w 10000"/>
                <a:gd name="connsiteY44" fmla="*/ 8557 h 10000"/>
                <a:gd name="connsiteX45" fmla="*/ 8705 w 10000"/>
                <a:gd name="connsiteY45" fmla="*/ 8259 h 10000"/>
                <a:gd name="connsiteX46" fmla="*/ 7770 w 10000"/>
                <a:gd name="connsiteY46" fmla="*/ 8955 h 10000"/>
                <a:gd name="connsiteX47" fmla="*/ 5252 w 10000"/>
                <a:gd name="connsiteY47" fmla="*/ 9552 h 10000"/>
                <a:gd name="connsiteX48" fmla="*/ 4748 w 10000"/>
                <a:gd name="connsiteY48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2158 w 10000"/>
                <a:gd name="connsiteY10" fmla="*/ 4876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2854 w 10000"/>
                <a:gd name="connsiteY14" fmla="*/ 3932 h 10000"/>
                <a:gd name="connsiteX15" fmla="*/ 3251 w 10000"/>
                <a:gd name="connsiteY15" fmla="*/ 4051 h 10000"/>
                <a:gd name="connsiteX16" fmla="*/ 1002 w 10000"/>
                <a:gd name="connsiteY16" fmla="*/ 2972 h 10000"/>
                <a:gd name="connsiteX17" fmla="*/ 2014 w 10000"/>
                <a:gd name="connsiteY17" fmla="*/ 2388 h 10000"/>
                <a:gd name="connsiteX18" fmla="*/ 1599 w 10000"/>
                <a:gd name="connsiteY18" fmla="*/ 2202 h 10000"/>
                <a:gd name="connsiteX19" fmla="*/ 2086 w 10000"/>
                <a:gd name="connsiteY19" fmla="*/ 1741 h 10000"/>
                <a:gd name="connsiteX20" fmla="*/ 2446 w 10000"/>
                <a:gd name="connsiteY20" fmla="*/ 1542 h 10000"/>
                <a:gd name="connsiteX21" fmla="*/ 2734 w 10000"/>
                <a:gd name="connsiteY21" fmla="*/ 1542 h 10000"/>
                <a:gd name="connsiteX22" fmla="*/ 2878 w 10000"/>
                <a:gd name="connsiteY22" fmla="*/ 1741 h 10000"/>
                <a:gd name="connsiteX23" fmla="*/ 3201 w 10000"/>
                <a:gd name="connsiteY23" fmla="*/ 1467 h 10000"/>
                <a:gd name="connsiteX24" fmla="*/ 3618 w 10000"/>
                <a:gd name="connsiteY24" fmla="*/ 1038 h 10000"/>
                <a:gd name="connsiteX25" fmla="*/ 4427 w 10000"/>
                <a:gd name="connsiteY25" fmla="*/ 656 h 10000"/>
                <a:gd name="connsiteX26" fmla="*/ 5540 w 10000"/>
                <a:gd name="connsiteY26" fmla="*/ 547 h 10000"/>
                <a:gd name="connsiteX27" fmla="*/ 6475 w 10000"/>
                <a:gd name="connsiteY27" fmla="*/ 597 h 10000"/>
                <a:gd name="connsiteX28" fmla="*/ 6763 w 10000"/>
                <a:gd name="connsiteY28" fmla="*/ 746 h 10000"/>
                <a:gd name="connsiteX29" fmla="*/ 6978 w 10000"/>
                <a:gd name="connsiteY29" fmla="*/ 348 h 10000"/>
                <a:gd name="connsiteX30" fmla="*/ 7410 w 10000"/>
                <a:gd name="connsiteY30" fmla="*/ 0 h 10000"/>
                <a:gd name="connsiteX31" fmla="*/ 7554 w 10000"/>
                <a:gd name="connsiteY31" fmla="*/ 249 h 10000"/>
                <a:gd name="connsiteX32" fmla="*/ 7986 w 10000"/>
                <a:gd name="connsiteY32" fmla="*/ 299 h 10000"/>
                <a:gd name="connsiteX33" fmla="*/ 8129 w 10000"/>
                <a:gd name="connsiteY33" fmla="*/ 746 h 10000"/>
                <a:gd name="connsiteX34" fmla="*/ 7626 w 10000"/>
                <a:gd name="connsiteY34" fmla="*/ 896 h 10000"/>
                <a:gd name="connsiteX35" fmla="*/ 7338 w 10000"/>
                <a:gd name="connsiteY35" fmla="*/ 1194 h 10000"/>
                <a:gd name="connsiteX36" fmla="*/ 7482 w 10000"/>
                <a:gd name="connsiteY36" fmla="*/ 1393 h 10000"/>
                <a:gd name="connsiteX37" fmla="*/ 8273 w 10000"/>
                <a:gd name="connsiteY37" fmla="*/ 1194 h 10000"/>
                <a:gd name="connsiteX38" fmla="*/ 9209 w 10000"/>
                <a:gd name="connsiteY38" fmla="*/ 1791 h 10000"/>
                <a:gd name="connsiteX39" fmla="*/ 9209 w 10000"/>
                <a:gd name="connsiteY39" fmla="*/ 2139 h 10000"/>
                <a:gd name="connsiteX40" fmla="*/ 9353 w 10000"/>
                <a:gd name="connsiteY40" fmla="*/ 3980 h 10000"/>
                <a:gd name="connsiteX41" fmla="*/ 8921 w 10000"/>
                <a:gd name="connsiteY41" fmla="*/ 4229 h 10000"/>
                <a:gd name="connsiteX42" fmla="*/ 9856 w 10000"/>
                <a:gd name="connsiteY42" fmla="*/ 4975 h 10000"/>
                <a:gd name="connsiteX43" fmla="*/ 9496 w 10000"/>
                <a:gd name="connsiteY43" fmla="*/ 5423 h 10000"/>
                <a:gd name="connsiteX44" fmla="*/ 10000 w 10000"/>
                <a:gd name="connsiteY44" fmla="*/ 8557 h 10000"/>
                <a:gd name="connsiteX45" fmla="*/ 8705 w 10000"/>
                <a:gd name="connsiteY45" fmla="*/ 8259 h 10000"/>
                <a:gd name="connsiteX46" fmla="*/ 7770 w 10000"/>
                <a:gd name="connsiteY46" fmla="*/ 8955 h 10000"/>
                <a:gd name="connsiteX47" fmla="*/ 5252 w 10000"/>
                <a:gd name="connsiteY47" fmla="*/ 9552 h 10000"/>
                <a:gd name="connsiteX48" fmla="*/ 4748 w 10000"/>
                <a:gd name="connsiteY48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2374 w 10000"/>
                <a:gd name="connsiteY9" fmla="*/ 6119 h 10000"/>
                <a:gd name="connsiteX10" fmla="*/ 1816 w 10000"/>
                <a:gd name="connsiteY10" fmla="*/ 4909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2854 w 10000"/>
                <a:gd name="connsiteY14" fmla="*/ 3932 h 10000"/>
                <a:gd name="connsiteX15" fmla="*/ 3251 w 10000"/>
                <a:gd name="connsiteY15" fmla="*/ 4051 h 10000"/>
                <a:gd name="connsiteX16" fmla="*/ 1002 w 10000"/>
                <a:gd name="connsiteY16" fmla="*/ 2972 h 10000"/>
                <a:gd name="connsiteX17" fmla="*/ 2014 w 10000"/>
                <a:gd name="connsiteY17" fmla="*/ 2388 h 10000"/>
                <a:gd name="connsiteX18" fmla="*/ 1599 w 10000"/>
                <a:gd name="connsiteY18" fmla="*/ 2202 h 10000"/>
                <a:gd name="connsiteX19" fmla="*/ 2086 w 10000"/>
                <a:gd name="connsiteY19" fmla="*/ 1741 h 10000"/>
                <a:gd name="connsiteX20" fmla="*/ 2446 w 10000"/>
                <a:gd name="connsiteY20" fmla="*/ 1542 h 10000"/>
                <a:gd name="connsiteX21" fmla="*/ 2734 w 10000"/>
                <a:gd name="connsiteY21" fmla="*/ 1542 h 10000"/>
                <a:gd name="connsiteX22" fmla="*/ 2878 w 10000"/>
                <a:gd name="connsiteY22" fmla="*/ 1741 h 10000"/>
                <a:gd name="connsiteX23" fmla="*/ 3201 w 10000"/>
                <a:gd name="connsiteY23" fmla="*/ 1467 h 10000"/>
                <a:gd name="connsiteX24" fmla="*/ 3618 w 10000"/>
                <a:gd name="connsiteY24" fmla="*/ 1038 h 10000"/>
                <a:gd name="connsiteX25" fmla="*/ 4427 w 10000"/>
                <a:gd name="connsiteY25" fmla="*/ 656 h 10000"/>
                <a:gd name="connsiteX26" fmla="*/ 5540 w 10000"/>
                <a:gd name="connsiteY26" fmla="*/ 547 h 10000"/>
                <a:gd name="connsiteX27" fmla="*/ 6475 w 10000"/>
                <a:gd name="connsiteY27" fmla="*/ 597 h 10000"/>
                <a:gd name="connsiteX28" fmla="*/ 6763 w 10000"/>
                <a:gd name="connsiteY28" fmla="*/ 746 h 10000"/>
                <a:gd name="connsiteX29" fmla="*/ 6978 w 10000"/>
                <a:gd name="connsiteY29" fmla="*/ 348 h 10000"/>
                <a:gd name="connsiteX30" fmla="*/ 7410 w 10000"/>
                <a:gd name="connsiteY30" fmla="*/ 0 h 10000"/>
                <a:gd name="connsiteX31" fmla="*/ 7554 w 10000"/>
                <a:gd name="connsiteY31" fmla="*/ 249 h 10000"/>
                <a:gd name="connsiteX32" fmla="*/ 7986 w 10000"/>
                <a:gd name="connsiteY32" fmla="*/ 299 h 10000"/>
                <a:gd name="connsiteX33" fmla="*/ 8129 w 10000"/>
                <a:gd name="connsiteY33" fmla="*/ 746 h 10000"/>
                <a:gd name="connsiteX34" fmla="*/ 7626 w 10000"/>
                <a:gd name="connsiteY34" fmla="*/ 896 h 10000"/>
                <a:gd name="connsiteX35" fmla="*/ 7338 w 10000"/>
                <a:gd name="connsiteY35" fmla="*/ 1194 h 10000"/>
                <a:gd name="connsiteX36" fmla="*/ 7482 w 10000"/>
                <a:gd name="connsiteY36" fmla="*/ 1393 h 10000"/>
                <a:gd name="connsiteX37" fmla="*/ 8273 w 10000"/>
                <a:gd name="connsiteY37" fmla="*/ 1194 h 10000"/>
                <a:gd name="connsiteX38" fmla="*/ 9209 w 10000"/>
                <a:gd name="connsiteY38" fmla="*/ 1791 h 10000"/>
                <a:gd name="connsiteX39" fmla="*/ 9209 w 10000"/>
                <a:gd name="connsiteY39" fmla="*/ 2139 h 10000"/>
                <a:gd name="connsiteX40" fmla="*/ 9353 w 10000"/>
                <a:gd name="connsiteY40" fmla="*/ 3980 h 10000"/>
                <a:gd name="connsiteX41" fmla="*/ 8921 w 10000"/>
                <a:gd name="connsiteY41" fmla="*/ 4229 h 10000"/>
                <a:gd name="connsiteX42" fmla="*/ 9856 w 10000"/>
                <a:gd name="connsiteY42" fmla="*/ 4975 h 10000"/>
                <a:gd name="connsiteX43" fmla="*/ 9496 w 10000"/>
                <a:gd name="connsiteY43" fmla="*/ 5423 h 10000"/>
                <a:gd name="connsiteX44" fmla="*/ 10000 w 10000"/>
                <a:gd name="connsiteY44" fmla="*/ 8557 h 10000"/>
                <a:gd name="connsiteX45" fmla="*/ 8705 w 10000"/>
                <a:gd name="connsiteY45" fmla="*/ 8259 h 10000"/>
                <a:gd name="connsiteX46" fmla="*/ 7770 w 10000"/>
                <a:gd name="connsiteY46" fmla="*/ 8955 h 10000"/>
                <a:gd name="connsiteX47" fmla="*/ 5252 w 10000"/>
                <a:gd name="connsiteY47" fmla="*/ 9552 h 10000"/>
                <a:gd name="connsiteX48" fmla="*/ 4748 w 10000"/>
                <a:gd name="connsiteY48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439 w 10000"/>
                <a:gd name="connsiteY7" fmla="*/ 6866 h 10000"/>
                <a:gd name="connsiteX8" fmla="*/ 1367 w 10000"/>
                <a:gd name="connsiteY8" fmla="*/ 6169 h 10000"/>
                <a:gd name="connsiteX9" fmla="*/ 1921 w 10000"/>
                <a:gd name="connsiteY9" fmla="*/ 5874 h 10000"/>
                <a:gd name="connsiteX10" fmla="*/ 1816 w 10000"/>
                <a:gd name="connsiteY10" fmla="*/ 4909 h 10000"/>
                <a:gd name="connsiteX11" fmla="*/ 1727 w 10000"/>
                <a:gd name="connsiteY11" fmla="*/ 4726 h 10000"/>
                <a:gd name="connsiteX12" fmla="*/ 1583 w 10000"/>
                <a:gd name="connsiteY12" fmla="*/ 4279 h 10000"/>
                <a:gd name="connsiteX13" fmla="*/ 2374 w 10000"/>
                <a:gd name="connsiteY13" fmla="*/ 4080 h 10000"/>
                <a:gd name="connsiteX14" fmla="*/ 2854 w 10000"/>
                <a:gd name="connsiteY14" fmla="*/ 3932 h 10000"/>
                <a:gd name="connsiteX15" fmla="*/ 3251 w 10000"/>
                <a:gd name="connsiteY15" fmla="*/ 4051 h 10000"/>
                <a:gd name="connsiteX16" fmla="*/ 1002 w 10000"/>
                <a:gd name="connsiteY16" fmla="*/ 2972 h 10000"/>
                <a:gd name="connsiteX17" fmla="*/ 2014 w 10000"/>
                <a:gd name="connsiteY17" fmla="*/ 2388 h 10000"/>
                <a:gd name="connsiteX18" fmla="*/ 1599 w 10000"/>
                <a:gd name="connsiteY18" fmla="*/ 2202 h 10000"/>
                <a:gd name="connsiteX19" fmla="*/ 2086 w 10000"/>
                <a:gd name="connsiteY19" fmla="*/ 1741 h 10000"/>
                <a:gd name="connsiteX20" fmla="*/ 2446 w 10000"/>
                <a:gd name="connsiteY20" fmla="*/ 1542 h 10000"/>
                <a:gd name="connsiteX21" fmla="*/ 2734 w 10000"/>
                <a:gd name="connsiteY21" fmla="*/ 1542 h 10000"/>
                <a:gd name="connsiteX22" fmla="*/ 2878 w 10000"/>
                <a:gd name="connsiteY22" fmla="*/ 1741 h 10000"/>
                <a:gd name="connsiteX23" fmla="*/ 3201 w 10000"/>
                <a:gd name="connsiteY23" fmla="*/ 1467 h 10000"/>
                <a:gd name="connsiteX24" fmla="*/ 3618 w 10000"/>
                <a:gd name="connsiteY24" fmla="*/ 1038 h 10000"/>
                <a:gd name="connsiteX25" fmla="*/ 4427 w 10000"/>
                <a:gd name="connsiteY25" fmla="*/ 656 h 10000"/>
                <a:gd name="connsiteX26" fmla="*/ 5540 w 10000"/>
                <a:gd name="connsiteY26" fmla="*/ 547 h 10000"/>
                <a:gd name="connsiteX27" fmla="*/ 6475 w 10000"/>
                <a:gd name="connsiteY27" fmla="*/ 597 h 10000"/>
                <a:gd name="connsiteX28" fmla="*/ 6763 w 10000"/>
                <a:gd name="connsiteY28" fmla="*/ 746 h 10000"/>
                <a:gd name="connsiteX29" fmla="*/ 6978 w 10000"/>
                <a:gd name="connsiteY29" fmla="*/ 348 h 10000"/>
                <a:gd name="connsiteX30" fmla="*/ 7410 w 10000"/>
                <a:gd name="connsiteY30" fmla="*/ 0 h 10000"/>
                <a:gd name="connsiteX31" fmla="*/ 7554 w 10000"/>
                <a:gd name="connsiteY31" fmla="*/ 249 h 10000"/>
                <a:gd name="connsiteX32" fmla="*/ 7986 w 10000"/>
                <a:gd name="connsiteY32" fmla="*/ 299 h 10000"/>
                <a:gd name="connsiteX33" fmla="*/ 8129 w 10000"/>
                <a:gd name="connsiteY33" fmla="*/ 746 h 10000"/>
                <a:gd name="connsiteX34" fmla="*/ 7626 w 10000"/>
                <a:gd name="connsiteY34" fmla="*/ 896 h 10000"/>
                <a:gd name="connsiteX35" fmla="*/ 7338 w 10000"/>
                <a:gd name="connsiteY35" fmla="*/ 1194 h 10000"/>
                <a:gd name="connsiteX36" fmla="*/ 7482 w 10000"/>
                <a:gd name="connsiteY36" fmla="*/ 1393 h 10000"/>
                <a:gd name="connsiteX37" fmla="*/ 8273 w 10000"/>
                <a:gd name="connsiteY37" fmla="*/ 1194 h 10000"/>
                <a:gd name="connsiteX38" fmla="*/ 9209 w 10000"/>
                <a:gd name="connsiteY38" fmla="*/ 1791 h 10000"/>
                <a:gd name="connsiteX39" fmla="*/ 9209 w 10000"/>
                <a:gd name="connsiteY39" fmla="*/ 2139 h 10000"/>
                <a:gd name="connsiteX40" fmla="*/ 9353 w 10000"/>
                <a:gd name="connsiteY40" fmla="*/ 3980 h 10000"/>
                <a:gd name="connsiteX41" fmla="*/ 8921 w 10000"/>
                <a:gd name="connsiteY41" fmla="*/ 4229 h 10000"/>
                <a:gd name="connsiteX42" fmla="*/ 9856 w 10000"/>
                <a:gd name="connsiteY42" fmla="*/ 4975 h 10000"/>
                <a:gd name="connsiteX43" fmla="*/ 9496 w 10000"/>
                <a:gd name="connsiteY43" fmla="*/ 5423 h 10000"/>
                <a:gd name="connsiteX44" fmla="*/ 10000 w 10000"/>
                <a:gd name="connsiteY44" fmla="*/ 8557 h 10000"/>
                <a:gd name="connsiteX45" fmla="*/ 8705 w 10000"/>
                <a:gd name="connsiteY45" fmla="*/ 8259 h 10000"/>
                <a:gd name="connsiteX46" fmla="*/ 7770 w 10000"/>
                <a:gd name="connsiteY46" fmla="*/ 8955 h 10000"/>
                <a:gd name="connsiteX47" fmla="*/ 5252 w 10000"/>
                <a:gd name="connsiteY47" fmla="*/ 9552 h 10000"/>
                <a:gd name="connsiteX48" fmla="*/ 4748 w 10000"/>
                <a:gd name="connsiteY48" fmla="*/ 10000 h 10000"/>
                <a:gd name="connsiteX0" fmla="*/ 4748 w 10000"/>
                <a:gd name="connsiteY0" fmla="*/ 10000 h 10000"/>
                <a:gd name="connsiteX1" fmla="*/ 4029 w 10000"/>
                <a:gd name="connsiteY1" fmla="*/ 9801 h 10000"/>
                <a:gd name="connsiteX2" fmla="*/ 3094 w 10000"/>
                <a:gd name="connsiteY2" fmla="*/ 9950 h 10000"/>
                <a:gd name="connsiteX3" fmla="*/ 1295 w 10000"/>
                <a:gd name="connsiteY3" fmla="*/ 10000 h 10000"/>
                <a:gd name="connsiteX4" fmla="*/ 0 w 10000"/>
                <a:gd name="connsiteY4" fmla="*/ 8856 h 10000"/>
                <a:gd name="connsiteX5" fmla="*/ 432 w 10000"/>
                <a:gd name="connsiteY5" fmla="*/ 8209 h 10000"/>
                <a:gd name="connsiteX6" fmla="*/ 0 w 10000"/>
                <a:gd name="connsiteY6" fmla="*/ 7512 h 10000"/>
                <a:gd name="connsiteX7" fmla="*/ 1163 w 10000"/>
                <a:gd name="connsiteY7" fmla="*/ 6932 h 10000"/>
                <a:gd name="connsiteX8" fmla="*/ 1439 w 10000"/>
                <a:gd name="connsiteY8" fmla="*/ 6866 h 10000"/>
                <a:gd name="connsiteX9" fmla="*/ 1367 w 10000"/>
                <a:gd name="connsiteY9" fmla="*/ 6169 h 10000"/>
                <a:gd name="connsiteX10" fmla="*/ 1921 w 10000"/>
                <a:gd name="connsiteY10" fmla="*/ 5874 h 10000"/>
                <a:gd name="connsiteX11" fmla="*/ 1816 w 10000"/>
                <a:gd name="connsiteY11" fmla="*/ 4909 h 10000"/>
                <a:gd name="connsiteX12" fmla="*/ 1727 w 10000"/>
                <a:gd name="connsiteY12" fmla="*/ 4726 h 10000"/>
                <a:gd name="connsiteX13" fmla="*/ 1583 w 10000"/>
                <a:gd name="connsiteY13" fmla="*/ 4279 h 10000"/>
                <a:gd name="connsiteX14" fmla="*/ 2374 w 10000"/>
                <a:gd name="connsiteY14" fmla="*/ 4080 h 10000"/>
                <a:gd name="connsiteX15" fmla="*/ 2854 w 10000"/>
                <a:gd name="connsiteY15" fmla="*/ 3932 h 10000"/>
                <a:gd name="connsiteX16" fmla="*/ 3251 w 10000"/>
                <a:gd name="connsiteY16" fmla="*/ 4051 h 10000"/>
                <a:gd name="connsiteX17" fmla="*/ 1002 w 10000"/>
                <a:gd name="connsiteY17" fmla="*/ 2972 h 10000"/>
                <a:gd name="connsiteX18" fmla="*/ 2014 w 10000"/>
                <a:gd name="connsiteY18" fmla="*/ 2388 h 10000"/>
                <a:gd name="connsiteX19" fmla="*/ 1599 w 10000"/>
                <a:gd name="connsiteY19" fmla="*/ 2202 h 10000"/>
                <a:gd name="connsiteX20" fmla="*/ 2086 w 10000"/>
                <a:gd name="connsiteY20" fmla="*/ 1741 h 10000"/>
                <a:gd name="connsiteX21" fmla="*/ 2446 w 10000"/>
                <a:gd name="connsiteY21" fmla="*/ 1542 h 10000"/>
                <a:gd name="connsiteX22" fmla="*/ 2734 w 10000"/>
                <a:gd name="connsiteY22" fmla="*/ 1542 h 10000"/>
                <a:gd name="connsiteX23" fmla="*/ 2878 w 10000"/>
                <a:gd name="connsiteY23" fmla="*/ 1741 h 10000"/>
                <a:gd name="connsiteX24" fmla="*/ 3201 w 10000"/>
                <a:gd name="connsiteY24" fmla="*/ 1467 h 10000"/>
                <a:gd name="connsiteX25" fmla="*/ 3618 w 10000"/>
                <a:gd name="connsiteY25" fmla="*/ 1038 h 10000"/>
                <a:gd name="connsiteX26" fmla="*/ 4427 w 10000"/>
                <a:gd name="connsiteY26" fmla="*/ 656 h 10000"/>
                <a:gd name="connsiteX27" fmla="*/ 5540 w 10000"/>
                <a:gd name="connsiteY27" fmla="*/ 547 h 10000"/>
                <a:gd name="connsiteX28" fmla="*/ 6475 w 10000"/>
                <a:gd name="connsiteY28" fmla="*/ 597 h 10000"/>
                <a:gd name="connsiteX29" fmla="*/ 6763 w 10000"/>
                <a:gd name="connsiteY29" fmla="*/ 746 h 10000"/>
                <a:gd name="connsiteX30" fmla="*/ 6978 w 10000"/>
                <a:gd name="connsiteY30" fmla="*/ 348 h 10000"/>
                <a:gd name="connsiteX31" fmla="*/ 7410 w 10000"/>
                <a:gd name="connsiteY31" fmla="*/ 0 h 10000"/>
                <a:gd name="connsiteX32" fmla="*/ 7554 w 10000"/>
                <a:gd name="connsiteY32" fmla="*/ 249 h 10000"/>
                <a:gd name="connsiteX33" fmla="*/ 7986 w 10000"/>
                <a:gd name="connsiteY33" fmla="*/ 299 h 10000"/>
                <a:gd name="connsiteX34" fmla="*/ 8129 w 10000"/>
                <a:gd name="connsiteY34" fmla="*/ 746 h 10000"/>
                <a:gd name="connsiteX35" fmla="*/ 7626 w 10000"/>
                <a:gd name="connsiteY35" fmla="*/ 896 h 10000"/>
                <a:gd name="connsiteX36" fmla="*/ 7338 w 10000"/>
                <a:gd name="connsiteY36" fmla="*/ 1194 h 10000"/>
                <a:gd name="connsiteX37" fmla="*/ 7482 w 10000"/>
                <a:gd name="connsiteY37" fmla="*/ 1393 h 10000"/>
                <a:gd name="connsiteX38" fmla="*/ 8273 w 10000"/>
                <a:gd name="connsiteY38" fmla="*/ 1194 h 10000"/>
                <a:gd name="connsiteX39" fmla="*/ 9209 w 10000"/>
                <a:gd name="connsiteY39" fmla="*/ 1791 h 10000"/>
                <a:gd name="connsiteX40" fmla="*/ 9209 w 10000"/>
                <a:gd name="connsiteY40" fmla="*/ 2139 h 10000"/>
                <a:gd name="connsiteX41" fmla="*/ 9353 w 10000"/>
                <a:gd name="connsiteY41" fmla="*/ 3980 h 10000"/>
                <a:gd name="connsiteX42" fmla="*/ 8921 w 10000"/>
                <a:gd name="connsiteY42" fmla="*/ 4229 h 10000"/>
                <a:gd name="connsiteX43" fmla="*/ 9856 w 10000"/>
                <a:gd name="connsiteY43" fmla="*/ 4975 h 10000"/>
                <a:gd name="connsiteX44" fmla="*/ 9496 w 10000"/>
                <a:gd name="connsiteY44" fmla="*/ 5423 h 10000"/>
                <a:gd name="connsiteX45" fmla="*/ 10000 w 10000"/>
                <a:gd name="connsiteY45" fmla="*/ 8557 h 10000"/>
                <a:gd name="connsiteX46" fmla="*/ 8705 w 10000"/>
                <a:gd name="connsiteY46" fmla="*/ 8259 h 10000"/>
                <a:gd name="connsiteX47" fmla="*/ 7770 w 10000"/>
                <a:gd name="connsiteY47" fmla="*/ 8955 h 10000"/>
                <a:gd name="connsiteX48" fmla="*/ 5252 w 10000"/>
                <a:gd name="connsiteY48" fmla="*/ 9552 h 10000"/>
                <a:gd name="connsiteX49" fmla="*/ 4748 w 10000"/>
                <a:gd name="connsiteY49" fmla="*/ 10000 h 10000"/>
                <a:gd name="connsiteX0" fmla="*/ 4748 w 10000"/>
                <a:gd name="connsiteY0" fmla="*/ 10000 h 10426"/>
                <a:gd name="connsiteX1" fmla="*/ 4029 w 10000"/>
                <a:gd name="connsiteY1" fmla="*/ 9801 h 10426"/>
                <a:gd name="connsiteX2" fmla="*/ 3094 w 10000"/>
                <a:gd name="connsiteY2" fmla="*/ 9950 h 10426"/>
                <a:gd name="connsiteX3" fmla="*/ 1144 w 10000"/>
                <a:gd name="connsiteY3" fmla="*/ 10426 h 10426"/>
                <a:gd name="connsiteX4" fmla="*/ 0 w 10000"/>
                <a:gd name="connsiteY4" fmla="*/ 8856 h 10426"/>
                <a:gd name="connsiteX5" fmla="*/ 432 w 10000"/>
                <a:gd name="connsiteY5" fmla="*/ 8209 h 10426"/>
                <a:gd name="connsiteX6" fmla="*/ 0 w 10000"/>
                <a:gd name="connsiteY6" fmla="*/ 7512 h 10426"/>
                <a:gd name="connsiteX7" fmla="*/ 1163 w 10000"/>
                <a:gd name="connsiteY7" fmla="*/ 6932 h 10426"/>
                <a:gd name="connsiteX8" fmla="*/ 1439 w 10000"/>
                <a:gd name="connsiteY8" fmla="*/ 6866 h 10426"/>
                <a:gd name="connsiteX9" fmla="*/ 1367 w 10000"/>
                <a:gd name="connsiteY9" fmla="*/ 6169 h 10426"/>
                <a:gd name="connsiteX10" fmla="*/ 1921 w 10000"/>
                <a:gd name="connsiteY10" fmla="*/ 5874 h 10426"/>
                <a:gd name="connsiteX11" fmla="*/ 1816 w 10000"/>
                <a:gd name="connsiteY11" fmla="*/ 4909 h 10426"/>
                <a:gd name="connsiteX12" fmla="*/ 1727 w 10000"/>
                <a:gd name="connsiteY12" fmla="*/ 4726 h 10426"/>
                <a:gd name="connsiteX13" fmla="*/ 1583 w 10000"/>
                <a:gd name="connsiteY13" fmla="*/ 4279 h 10426"/>
                <a:gd name="connsiteX14" fmla="*/ 2374 w 10000"/>
                <a:gd name="connsiteY14" fmla="*/ 4080 h 10426"/>
                <a:gd name="connsiteX15" fmla="*/ 2854 w 10000"/>
                <a:gd name="connsiteY15" fmla="*/ 3932 h 10426"/>
                <a:gd name="connsiteX16" fmla="*/ 3251 w 10000"/>
                <a:gd name="connsiteY16" fmla="*/ 4051 h 10426"/>
                <a:gd name="connsiteX17" fmla="*/ 1002 w 10000"/>
                <a:gd name="connsiteY17" fmla="*/ 2972 h 10426"/>
                <a:gd name="connsiteX18" fmla="*/ 2014 w 10000"/>
                <a:gd name="connsiteY18" fmla="*/ 2388 h 10426"/>
                <a:gd name="connsiteX19" fmla="*/ 1599 w 10000"/>
                <a:gd name="connsiteY19" fmla="*/ 2202 h 10426"/>
                <a:gd name="connsiteX20" fmla="*/ 2086 w 10000"/>
                <a:gd name="connsiteY20" fmla="*/ 1741 h 10426"/>
                <a:gd name="connsiteX21" fmla="*/ 2446 w 10000"/>
                <a:gd name="connsiteY21" fmla="*/ 1542 h 10426"/>
                <a:gd name="connsiteX22" fmla="*/ 2734 w 10000"/>
                <a:gd name="connsiteY22" fmla="*/ 1542 h 10426"/>
                <a:gd name="connsiteX23" fmla="*/ 2878 w 10000"/>
                <a:gd name="connsiteY23" fmla="*/ 1741 h 10426"/>
                <a:gd name="connsiteX24" fmla="*/ 3201 w 10000"/>
                <a:gd name="connsiteY24" fmla="*/ 1467 h 10426"/>
                <a:gd name="connsiteX25" fmla="*/ 3618 w 10000"/>
                <a:gd name="connsiteY25" fmla="*/ 1038 h 10426"/>
                <a:gd name="connsiteX26" fmla="*/ 4427 w 10000"/>
                <a:gd name="connsiteY26" fmla="*/ 656 h 10426"/>
                <a:gd name="connsiteX27" fmla="*/ 5540 w 10000"/>
                <a:gd name="connsiteY27" fmla="*/ 547 h 10426"/>
                <a:gd name="connsiteX28" fmla="*/ 6475 w 10000"/>
                <a:gd name="connsiteY28" fmla="*/ 597 h 10426"/>
                <a:gd name="connsiteX29" fmla="*/ 6763 w 10000"/>
                <a:gd name="connsiteY29" fmla="*/ 746 h 10426"/>
                <a:gd name="connsiteX30" fmla="*/ 6978 w 10000"/>
                <a:gd name="connsiteY30" fmla="*/ 348 h 10426"/>
                <a:gd name="connsiteX31" fmla="*/ 7410 w 10000"/>
                <a:gd name="connsiteY31" fmla="*/ 0 h 10426"/>
                <a:gd name="connsiteX32" fmla="*/ 7554 w 10000"/>
                <a:gd name="connsiteY32" fmla="*/ 249 h 10426"/>
                <a:gd name="connsiteX33" fmla="*/ 7986 w 10000"/>
                <a:gd name="connsiteY33" fmla="*/ 299 h 10426"/>
                <a:gd name="connsiteX34" fmla="*/ 8129 w 10000"/>
                <a:gd name="connsiteY34" fmla="*/ 746 h 10426"/>
                <a:gd name="connsiteX35" fmla="*/ 7626 w 10000"/>
                <a:gd name="connsiteY35" fmla="*/ 896 h 10426"/>
                <a:gd name="connsiteX36" fmla="*/ 7338 w 10000"/>
                <a:gd name="connsiteY36" fmla="*/ 1194 h 10426"/>
                <a:gd name="connsiteX37" fmla="*/ 7482 w 10000"/>
                <a:gd name="connsiteY37" fmla="*/ 1393 h 10426"/>
                <a:gd name="connsiteX38" fmla="*/ 8273 w 10000"/>
                <a:gd name="connsiteY38" fmla="*/ 1194 h 10426"/>
                <a:gd name="connsiteX39" fmla="*/ 9209 w 10000"/>
                <a:gd name="connsiteY39" fmla="*/ 1791 h 10426"/>
                <a:gd name="connsiteX40" fmla="*/ 9209 w 10000"/>
                <a:gd name="connsiteY40" fmla="*/ 2139 h 10426"/>
                <a:gd name="connsiteX41" fmla="*/ 9353 w 10000"/>
                <a:gd name="connsiteY41" fmla="*/ 3980 h 10426"/>
                <a:gd name="connsiteX42" fmla="*/ 8921 w 10000"/>
                <a:gd name="connsiteY42" fmla="*/ 4229 h 10426"/>
                <a:gd name="connsiteX43" fmla="*/ 9856 w 10000"/>
                <a:gd name="connsiteY43" fmla="*/ 4975 h 10426"/>
                <a:gd name="connsiteX44" fmla="*/ 9496 w 10000"/>
                <a:gd name="connsiteY44" fmla="*/ 5423 h 10426"/>
                <a:gd name="connsiteX45" fmla="*/ 10000 w 10000"/>
                <a:gd name="connsiteY45" fmla="*/ 8557 h 10426"/>
                <a:gd name="connsiteX46" fmla="*/ 8705 w 10000"/>
                <a:gd name="connsiteY46" fmla="*/ 8259 h 10426"/>
                <a:gd name="connsiteX47" fmla="*/ 7770 w 10000"/>
                <a:gd name="connsiteY47" fmla="*/ 8955 h 10426"/>
                <a:gd name="connsiteX48" fmla="*/ 5252 w 10000"/>
                <a:gd name="connsiteY48" fmla="*/ 9552 h 10426"/>
                <a:gd name="connsiteX49" fmla="*/ 4748 w 10000"/>
                <a:gd name="connsiteY49" fmla="*/ 10000 h 10426"/>
                <a:gd name="connsiteX0" fmla="*/ 4748 w 10000"/>
                <a:gd name="connsiteY0" fmla="*/ 10000 h 10672"/>
                <a:gd name="connsiteX1" fmla="*/ 4029 w 10000"/>
                <a:gd name="connsiteY1" fmla="*/ 9801 h 10672"/>
                <a:gd name="connsiteX2" fmla="*/ 3289 w 10000"/>
                <a:gd name="connsiteY2" fmla="*/ 10672 h 10672"/>
                <a:gd name="connsiteX3" fmla="*/ 1144 w 10000"/>
                <a:gd name="connsiteY3" fmla="*/ 10426 h 10672"/>
                <a:gd name="connsiteX4" fmla="*/ 0 w 10000"/>
                <a:gd name="connsiteY4" fmla="*/ 8856 h 10672"/>
                <a:gd name="connsiteX5" fmla="*/ 432 w 10000"/>
                <a:gd name="connsiteY5" fmla="*/ 8209 h 10672"/>
                <a:gd name="connsiteX6" fmla="*/ 0 w 10000"/>
                <a:gd name="connsiteY6" fmla="*/ 7512 h 10672"/>
                <a:gd name="connsiteX7" fmla="*/ 1163 w 10000"/>
                <a:gd name="connsiteY7" fmla="*/ 6932 h 10672"/>
                <a:gd name="connsiteX8" fmla="*/ 1439 w 10000"/>
                <a:gd name="connsiteY8" fmla="*/ 6866 h 10672"/>
                <a:gd name="connsiteX9" fmla="*/ 1367 w 10000"/>
                <a:gd name="connsiteY9" fmla="*/ 6169 h 10672"/>
                <a:gd name="connsiteX10" fmla="*/ 1921 w 10000"/>
                <a:gd name="connsiteY10" fmla="*/ 5874 h 10672"/>
                <a:gd name="connsiteX11" fmla="*/ 1816 w 10000"/>
                <a:gd name="connsiteY11" fmla="*/ 4909 h 10672"/>
                <a:gd name="connsiteX12" fmla="*/ 1727 w 10000"/>
                <a:gd name="connsiteY12" fmla="*/ 4726 h 10672"/>
                <a:gd name="connsiteX13" fmla="*/ 1583 w 10000"/>
                <a:gd name="connsiteY13" fmla="*/ 4279 h 10672"/>
                <a:gd name="connsiteX14" fmla="*/ 2374 w 10000"/>
                <a:gd name="connsiteY14" fmla="*/ 4080 h 10672"/>
                <a:gd name="connsiteX15" fmla="*/ 2854 w 10000"/>
                <a:gd name="connsiteY15" fmla="*/ 3932 h 10672"/>
                <a:gd name="connsiteX16" fmla="*/ 3251 w 10000"/>
                <a:gd name="connsiteY16" fmla="*/ 4051 h 10672"/>
                <a:gd name="connsiteX17" fmla="*/ 1002 w 10000"/>
                <a:gd name="connsiteY17" fmla="*/ 2972 h 10672"/>
                <a:gd name="connsiteX18" fmla="*/ 2014 w 10000"/>
                <a:gd name="connsiteY18" fmla="*/ 2388 h 10672"/>
                <a:gd name="connsiteX19" fmla="*/ 1599 w 10000"/>
                <a:gd name="connsiteY19" fmla="*/ 2202 h 10672"/>
                <a:gd name="connsiteX20" fmla="*/ 2086 w 10000"/>
                <a:gd name="connsiteY20" fmla="*/ 1741 h 10672"/>
                <a:gd name="connsiteX21" fmla="*/ 2446 w 10000"/>
                <a:gd name="connsiteY21" fmla="*/ 1542 h 10672"/>
                <a:gd name="connsiteX22" fmla="*/ 2734 w 10000"/>
                <a:gd name="connsiteY22" fmla="*/ 1542 h 10672"/>
                <a:gd name="connsiteX23" fmla="*/ 2878 w 10000"/>
                <a:gd name="connsiteY23" fmla="*/ 1741 h 10672"/>
                <a:gd name="connsiteX24" fmla="*/ 3201 w 10000"/>
                <a:gd name="connsiteY24" fmla="*/ 1467 h 10672"/>
                <a:gd name="connsiteX25" fmla="*/ 3618 w 10000"/>
                <a:gd name="connsiteY25" fmla="*/ 1038 h 10672"/>
                <a:gd name="connsiteX26" fmla="*/ 4427 w 10000"/>
                <a:gd name="connsiteY26" fmla="*/ 656 h 10672"/>
                <a:gd name="connsiteX27" fmla="*/ 5540 w 10000"/>
                <a:gd name="connsiteY27" fmla="*/ 547 h 10672"/>
                <a:gd name="connsiteX28" fmla="*/ 6475 w 10000"/>
                <a:gd name="connsiteY28" fmla="*/ 597 h 10672"/>
                <a:gd name="connsiteX29" fmla="*/ 6763 w 10000"/>
                <a:gd name="connsiteY29" fmla="*/ 746 h 10672"/>
                <a:gd name="connsiteX30" fmla="*/ 6978 w 10000"/>
                <a:gd name="connsiteY30" fmla="*/ 348 h 10672"/>
                <a:gd name="connsiteX31" fmla="*/ 7410 w 10000"/>
                <a:gd name="connsiteY31" fmla="*/ 0 h 10672"/>
                <a:gd name="connsiteX32" fmla="*/ 7554 w 10000"/>
                <a:gd name="connsiteY32" fmla="*/ 249 h 10672"/>
                <a:gd name="connsiteX33" fmla="*/ 7986 w 10000"/>
                <a:gd name="connsiteY33" fmla="*/ 299 h 10672"/>
                <a:gd name="connsiteX34" fmla="*/ 8129 w 10000"/>
                <a:gd name="connsiteY34" fmla="*/ 746 h 10672"/>
                <a:gd name="connsiteX35" fmla="*/ 7626 w 10000"/>
                <a:gd name="connsiteY35" fmla="*/ 896 h 10672"/>
                <a:gd name="connsiteX36" fmla="*/ 7338 w 10000"/>
                <a:gd name="connsiteY36" fmla="*/ 1194 h 10672"/>
                <a:gd name="connsiteX37" fmla="*/ 7482 w 10000"/>
                <a:gd name="connsiteY37" fmla="*/ 1393 h 10672"/>
                <a:gd name="connsiteX38" fmla="*/ 8273 w 10000"/>
                <a:gd name="connsiteY38" fmla="*/ 1194 h 10672"/>
                <a:gd name="connsiteX39" fmla="*/ 9209 w 10000"/>
                <a:gd name="connsiteY39" fmla="*/ 1791 h 10672"/>
                <a:gd name="connsiteX40" fmla="*/ 9209 w 10000"/>
                <a:gd name="connsiteY40" fmla="*/ 2139 h 10672"/>
                <a:gd name="connsiteX41" fmla="*/ 9353 w 10000"/>
                <a:gd name="connsiteY41" fmla="*/ 3980 h 10672"/>
                <a:gd name="connsiteX42" fmla="*/ 8921 w 10000"/>
                <a:gd name="connsiteY42" fmla="*/ 4229 h 10672"/>
                <a:gd name="connsiteX43" fmla="*/ 9856 w 10000"/>
                <a:gd name="connsiteY43" fmla="*/ 4975 h 10672"/>
                <a:gd name="connsiteX44" fmla="*/ 9496 w 10000"/>
                <a:gd name="connsiteY44" fmla="*/ 5423 h 10672"/>
                <a:gd name="connsiteX45" fmla="*/ 10000 w 10000"/>
                <a:gd name="connsiteY45" fmla="*/ 8557 h 10672"/>
                <a:gd name="connsiteX46" fmla="*/ 8705 w 10000"/>
                <a:gd name="connsiteY46" fmla="*/ 8259 h 10672"/>
                <a:gd name="connsiteX47" fmla="*/ 7770 w 10000"/>
                <a:gd name="connsiteY47" fmla="*/ 8955 h 10672"/>
                <a:gd name="connsiteX48" fmla="*/ 5252 w 10000"/>
                <a:gd name="connsiteY48" fmla="*/ 9552 h 10672"/>
                <a:gd name="connsiteX49" fmla="*/ 4748 w 10000"/>
                <a:gd name="connsiteY49" fmla="*/ 10000 h 10672"/>
                <a:gd name="connsiteX0" fmla="*/ 4748 w 10000"/>
                <a:gd name="connsiteY0" fmla="*/ 10000 h 10672"/>
                <a:gd name="connsiteX1" fmla="*/ 4627 w 10000"/>
                <a:gd name="connsiteY1" fmla="*/ 10196 h 10672"/>
                <a:gd name="connsiteX2" fmla="*/ 3289 w 10000"/>
                <a:gd name="connsiteY2" fmla="*/ 10672 h 10672"/>
                <a:gd name="connsiteX3" fmla="*/ 1144 w 10000"/>
                <a:gd name="connsiteY3" fmla="*/ 10426 h 10672"/>
                <a:gd name="connsiteX4" fmla="*/ 0 w 10000"/>
                <a:gd name="connsiteY4" fmla="*/ 8856 h 10672"/>
                <a:gd name="connsiteX5" fmla="*/ 432 w 10000"/>
                <a:gd name="connsiteY5" fmla="*/ 8209 h 10672"/>
                <a:gd name="connsiteX6" fmla="*/ 0 w 10000"/>
                <a:gd name="connsiteY6" fmla="*/ 7512 h 10672"/>
                <a:gd name="connsiteX7" fmla="*/ 1163 w 10000"/>
                <a:gd name="connsiteY7" fmla="*/ 6932 h 10672"/>
                <a:gd name="connsiteX8" fmla="*/ 1439 w 10000"/>
                <a:gd name="connsiteY8" fmla="*/ 6866 h 10672"/>
                <a:gd name="connsiteX9" fmla="*/ 1367 w 10000"/>
                <a:gd name="connsiteY9" fmla="*/ 6169 h 10672"/>
                <a:gd name="connsiteX10" fmla="*/ 1921 w 10000"/>
                <a:gd name="connsiteY10" fmla="*/ 5874 h 10672"/>
                <a:gd name="connsiteX11" fmla="*/ 1816 w 10000"/>
                <a:gd name="connsiteY11" fmla="*/ 4909 h 10672"/>
                <a:gd name="connsiteX12" fmla="*/ 1727 w 10000"/>
                <a:gd name="connsiteY12" fmla="*/ 4726 h 10672"/>
                <a:gd name="connsiteX13" fmla="*/ 1583 w 10000"/>
                <a:gd name="connsiteY13" fmla="*/ 4279 h 10672"/>
                <a:gd name="connsiteX14" fmla="*/ 2374 w 10000"/>
                <a:gd name="connsiteY14" fmla="*/ 4080 h 10672"/>
                <a:gd name="connsiteX15" fmla="*/ 2854 w 10000"/>
                <a:gd name="connsiteY15" fmla="*/ 3932 h 10672"/>
                <a:gd name="connsiteX16" fmla="*/ 3251 w 10000"/>
                <a:gd name="connsiteY16" fmla="*/ 4051 h 10672"/>
                <a:gd name="connsiteX17" fmla="*/ 1002 w 10000"/>
                <a:gd name="connsiteY17" fmla="*/ 2972 h 10672"/>
                <a:gd name="connsiteX18" fmla="*/ 2014 w 10000"/>
                <a:gd name="connsiteY18" fmla="*/ 2388 h 10672"/>
                <a:gd name="connsiteX19" fmla="*/ 1599 w 10000"/>
                <a:gd name="connsiteY19" fmla="*/ 2202 h 10672"/>
                <a:gd name="connsiteX20" fmla="*/ 2086 w 10000"/>
                <a:gd name="connsiteY20" fmla="*/ 1741 h 10672"/>
                <a:gd name="connsiteX21" fmla="*/ 2446 w 10000"/>
                <a:gd name="connsiteY21" fmla="*/ 1542 h 10672"/>
                <a:gd name="connsiteX22" fmla="*/ 2734 w 10000"/>
                <a:gd name="connsiteY22" fmla="*/ 1542 h 10672"/>
                <a:gd name="connsiteX23" fmla="*/ 2878 w 10000"/>
                <a:gd name="connsiteY23" fmla="*/ 1741 h 10672"/>
                <a:gd name="connsiteX24" fmla="*/ 3201 w 10000"/>
                <a:gd name="connsiteY24" fmla="*/ 1467 h 10672"/>
                <a:gd name="connsiteX25" fmla="*/ 3618 w 10000"/>
                <a:gd name="connsiteY25" fmla="*/ 1038 h 10672"/>
                <a:gd name="connsiteX26" fmla="*/ 4427 w 10000"/>
                <a:gd name="connsiteY26" fmla="*/ 656 h 10672"/>
                <a:gd name="connsiteX27" fmla="*/ 5540 w 10000"/>
                <a:gd name="connsiteY27" fmla="*/ 547 h 10672"/>
                <a:gd name="connsiteX28" fmla="*/ 6475 w 10000"/>
                <a:gd name="connsiteY28" fmla="*/ 597 h 10672"/>
                <a:gd name="connsiteX29" fmla="*/ 6763 w 10000"/>
                <a:gd name="connsiteY29" fmla="*/ 746 h 10672"/>
                <a:gd name="connsiteX30" fmla="*/ 6978 w 10000"/>
                <a:gd name="connsiteY30" fmla="*/ 348 h 10672"/>
                <a:gd name="connsiteX31" fmla="*/ 7410 w 10000"/>
                <a:gd name="connsiteY31" fmla="*/ 0 h 10672"/>
                <a:gd name="connsiteX32" fmla="*/ 7554 w 10000"/>
                <a:gd name="connsiteY32" fmla="*/ 249 h 10672"/>
                <a:gd name="connsiteX33" fmla="*/ 7986 w 10000"/>
                <a:gd name="connsiteY33" fmla="*/ 299 h 10672"/>
                <a:gd name="connsiteX34" fmla="*/ 8129 w 10000"/>
                <a:gd name="connsiteY34" fmla="*/ 746 h 10672"/>
                <a:gd name="connsiteX35" fmla="*/ 7626 w 10000"/>
                <a:gd name="connsiteY35" fmla="*/ 896 h 10672"/>
                <a:gd name="connsiteX36" fmla="*/ 7338 w 10000"/>
                <a:gd name="connsiteY36" fmla="*/ 1194 h 10672"/>
                <a:gd name="connsiteX37" fmla="*/ 7482 w 10000"/>
                <a:gd name="connsiteY37" fmla="*/ 1393 h 10672"/>
                <a:gd name="connsiteX38" fmla="*/ 8273 w 10000"/>
                <a:gd name="connsiteY38" fmla="*/ 1194 h 10672"/>
                <a:gd name="connsiteX39" fmla="*/ 9209 w 10000"/>
                <a:gd name="connsiteY39" fmla="*/ 1791 h 10672"/>
                <a:gd name="connsiteX40" fmla="*/ 9209 w 10000"/>
                <a:gd name="connsiteY40" fmla="*/ 2139 h 10672"/>
                <a:gd name="connsiteX41" fmla="*/ 9353 w 10000"/>
                <a:gd name="connsiteY41" fmla="*/ 3980 h 10672"/>
                <a:gd name="connsiteX42" fmla="*/ 8921 w 10000"/>
                <a:gd name="connsiteY42" fmla="*/ 4229 h 10672"/>
                <a:gd name="connsiteX43" fmla="*/ 9856 w 10000"/>
                <a:gd name="connsiteY43" fmla="*/ 4975 h 10672"/>
                <a:gd name="connsiteX44" fmla="*/ 9496 w 10000"/>
                <a:gd name="connsiteY44" fmla="*/ 5423 h 10672"/>
                <a:gd name="connsiteX45" fmla="*/ 10000 w 10000"/>
                <a:gd name="connsiteY45" fmla="*/ 8557 h 10672"/>
                <a:gd name="connsiteX46" fmla="*/ 8705 w 10000"/>
                <a:gd name="connsiteY46" fmla="*/ 8259 h 10672"/>
                <a:gd name="connsiteX47" fmla="*/ 7770 w 10000"/>
                <a:gd name="connsiteY47" fmla="*/ 8955 h 10672"/>
                <a:gd name="connsiteX48" fmla="*/ 5252 w 10000"/>
                <a:gd name="connsiteY48" fmla="*/ 9552 h 10672"/>
                <a:gd name="connsiteX49" fmla="*/ 4748 w 10000"/>
                <a:gd name="connsiteY49" fmla="*/ 10000 h 10672"/>
                <a:gd name="connsiteX0" fmla="*/ 4748 w 10000"/>
                <a:gd name="connsiteY0" fmla="*/ 10000 h 10672"/>
                <a:gd name="connsiteX1" fmla="*/ 4627 w 10000"/>
                <a:gd name="connsiteY1" fmla="*/ 10196 h 10672"/>
                <a:gd name="connsiteX2" fmla="*/ 3289 w 10000"/>
                <a:gd name="connsiteY2" fmla="*/ 10672 h 10672"/>
                <a:gd name="connsiteX3" fmla="*/ 1144 w 10000"/>
                <a:gd name="connsiteY3" fmla="*/ 10426 h 10672"/>
                <a:gd name="connsiteX4" fmla="*/ 0 w 10000"/>
                <a:gd name="connsiteY4" fmla="*/ 8856 h 10672"/>
                <a:gd name="connsiteX5" fmla="*/ 432 w 10000"/>
                <a:gd name="connsiteY5" fmla="*/ 8209 h 10672"/>
                <a:gd name="connsiteX6" fmla="*/ 0 w 10000"/>
                <a:gd name="connsiteY6" fmla="*/ 7512 h 10672"/>
                <a:gd name="connsiteX7" fmla="*/ 1163 w 10000"/>
                <a:gd name="connsiteY7" fmla="*/ 6932 h 10672"/>
                <a:gd name="connsiteX8" fmla="*/ 1439 w 10000"/>
                <a:gd name="connsiteY8" fmla="*/ 6866 h 10672"/>
                <a:gd name="connsiteX9" fmla="*/ 1367 w 10000"/>
                <a:gd name="connsiteY9" fmla="*/ 6169 h 10672"/>
                <a:gd name="connsiteX10" fmla="*/ 1921 w 10000"/>
                <a:gd name="connsiteY10" fmla="*/ 5874 h 10672"/>
                <a:gd name="connsiteX11" fmla="*/ 1816 w 10000"/>
                <a:gd name="connsiteY11" fmla="*/ 4909 h 10672"/>
                <a:gd name="connsiteX12" fmla="*/ 1727 w 10000"/>
                <a:gd name="connsiteY12" fmla="*/ 4726 h 10672"/>
                <a:gd name="connsiteX13" fmla="*/ 1583 w 10000"/>
                <a:gd name="connsiteY13" fmla="*/ 4279 h 10672"/>
                <a:gd name="connsiteX14" fmla="*/ 2374 w 10000"/>
                <a:gd name="connsiteY14" fmla="*/ 4080 h 10672"/>
                <a:gd name="connsiteX15" fmla="*/ 2854 w 10000"/>
                <a:gd name="connsiteY15" fmla="*/ 3932 h 10672"/>
                <a:gd name="connsiteX16" fmla="*/ 3251 w 10000"/>
                <a:gd name="connsiteY16" fmla="*/ 4051 h 10672"/>
                <a:gd name="connsiteX17" fmla="*/ 1002 w 10000"/>
                <a:gd name="connsiteY17" fmla="*/ 2972 h 10672"/>
                <a:gd name="connsiteX18" fmla="*/ 2014 w 10000"/>
                <a:gd name="connsiteY18" fmla="*/ 2388 h 10672"/>
                <a:gd name="connsiteX19" fmla="*/ 1599 w 10000"/>
                <a:gd name="connsiteY19" fmla="*/ 2202 h 10672"/>
                <a:gd name="connsiteX20" fmla="*/ 2086 w 10000"/>
                <a:gd name="connsiteY20" fmla="*/ 1741 h 10672"/>
                <a:gd name="connsiteX21" fmla="*/ 2446 w 10000"/>
                <a:gd name="connsiteY21" fmla="*/ 1542 h 10672"/>
                <a:gd name="connsiteX22" fmla="*/ 2734 w 10000"/>
                <a:gd name="connsiteY22" fmla="*/ 1542 h 10672"/>
                <a:gd name="connsiteX23" fmla="*/ 2878 w 10000"/>
                <a:gd name="connsiteY23" fmla="*/ 1741 h 10672"/>
                <a:gd name="connsiteX24" fmla="*/ 3201 w 10000"/>
                <a:gd name="connsiteY24" fmla="*/ 1467 h 10672"/>
                <a:gd name="connsiteX25" fmla="*/ 3618 w 10000"/>
                <a:gd name="connsiteY25" fmla="*/ 1038 h 10672"/>
                <a:gd name="connsiteX26" fmla="*/ 4427 w 10000"/>
                <a:gd name="connsiteY26" fmla="*/ 656 h 10672"/>
                <a:gd name="connsiteX27" fmla="*/ 5540 w 10000"/>
                <a:gd name="connsiteY27" fmla="*/ 547 h 10672"/>
                <a:gd name="connsiteX28" fmla="*/ 6475 w 10000"/>
                <a:gd name="connsiteY28" fmla="*/ 597 h 10672"/>
                <a:gd name="connsiteX29" fmla="*/ 6763 w 10000"/>
                <a:gd name="connsiteY29" fmla="*/ 746 h 10672"/>
                <a:gd name="connsiteX30" fmla="*/ 6978 w 10000"/>
                <a:gd name="connsiteY30" fmla="*/ 348 h 10672"/>
                <a:gd name="connsiteX31" fmla="*/ 7410 w 10000"/>
                <a:gd name="connsiteY31" fmla="*/ 0 h 10672"/>
                <a:gd name="connsiteX32" fmla="*/ 7554 w 10000"/>
                <a:gd name="connsiteY32" fmla="*/ 249 h 10672"/>
                <a:gd name="connsiteX33" fmla="*/ 7986 w 10000"/>
                <a:gd name="connsiteY33" fmla="*/ 299 h 10672"/>
                <a:gd name="connsiteX34" fmla="*/ 8129 w 10000"/>
                <a:gd name="connsiteY34" fmla="*/ 746 h 10672"/>
                <a:gd name="connsiteX35" fmla="*/ 7626 w 10000"/>
                <a:gd name="connsiteY35" fmla="*/ 896 h 10672"/>
                <a:gd name="connsiteX36" fmla="*/ 7338 w 10000"/>
                <a:gd name="connsiteY36" fmla="*/ 1194 h 10672"/>
                <a:gd name="connsiteX37" fmla="*/ 7482 w 10000"/>
                <a:gd name="connsiteY37" fmla="*/ 1393 h 10672"/>
                <a:gd name="connsiteX38" fmla="*/ 8273 w 10000"/>
                <a:gd name="connsiteY38" fmla="*/ 1194 h 10672"/>
                <a:gd name="connsiteX39" fmla="*/ 9209 w 10000"/>
                <a:gd name="connsiteY39" fmla="*/ 1791 h 10672"/>
                <a:gd name="connsiteX40" fmla="*/ 9209 w 10000"/>
                <a:gd name="connsiteY40" fmla="*/ 2139 h 10672"/>
                <a:gd name="connsiteX41" fmla="*/ 9353 w 10000"/>
                <a:gd name="connsiteY41" fmla="*/ 3980 h 10672"/>
                <a:gd name="connsiteX42" fmla="*/ 8921 w 10000"/>
                <a:gd name="connsiteY42" fmla="*/ 4229 h 10672"/>
                <a:gd name="connsiteX43" fmla="*/ 9856 w 10000"/>
                <a:gd name="connsiteY43" fmla="*/ 4975 h 10672"/>
                <a:gd name="connsiteX44" fmla="*/ 9496 w 10000"/>
                <a:gd name="connsiteY44" fmla="*/ 5423 h 10672"/>
                <a:gd name="connsiteX45" fmla="*/ 10000 w 10000"/>
                <a:gd name="connsiteY45" fmla="*/ 8557 h 10672"/>
                <a:gd name="connsiteX46" fmla="*/ 8705 w 10000"/>
                <a:gd name="connsiteY46" fmla="*/ 8259 h 10672"/>
                <a:gd name="connsiteX47" fmla="*/ 7770 w 10000"/>
                <a:gd name="connsiteY47" fmla="*/ 8955 h 10672"/>
                <a:gd name="connsiteX48" fmla="*/ 6006 w 10000"/>
                <a:gd name="connsiteY48" fmla="*/ 9850 h 10672"/>
                <a:gd name="connsiteX49" fmla="*/ 4748 w 10000"/>
                <a:gd name="connsiteY49" fmla="*/ 10000 h 10672"/>
                <a:gd name="connsiteX0" fmla="*/ 4748 w 10000"/>
                <a:gd name="connsiteY0" fmla="*/ 10000 h 10672"/>
                <a:gd name="connsiteX1" fmla="*/ 4627 w 10000"/>
                <a:gd name="connsiteY1" fmla="*/ 10196 h 10672"/>
                <a:gd name="connsiteX2" fmla="*/ 3289 w 10000"/>
                <a:gd name="connsiteY2" fmla="*/ 10672 h 10672"/>
                <a:gd name="connsiteX3" fmla="*/ 1144 w 10000"/>
                <a:gd name="connsiteY3" fmla="*/ 10426 h 10672"/>
                <a:gd name="connsiteX4" fmla="*/ 0 w 10000"/>
                <a:gd name="connsiteY4" fmla="*/ 8856 h 10672"/>
                <a:gd name="connsiteX5" fmla="*/ 432 w 10000"/>
                <a:gd name="connsiteY5" fmla="*/ 8209 h 10672"/>
                <a:gd name="connsiteX6" fmla="*/ 0 w 10000"/>
                <a:gd name="connsiteY6" fmla="*/ 7512 h 10672"/>
                <a:gd name="connsiteX7" fmla="*/ 1163 w 10000"/>
                <a:gd name="connsiteY7" fmla="*/ 6932 h 10672"/>
                <a:gd name="connsiteX8" fmla="*/ 1439 w 10000"/>
                <a:gd name="connsiteY8" fmla="*/ 6866 h 10672"/>
                <a:gd name="connsiteX9" fmla="*/ 1367 w 10000"/>
                <a:gd name="connsiteY9" fmla="*/ 6169 h 10672"/>
                <a:gd name="connsiteX10" fmla="*/ 1921 w 10000"/>
                <a:gd name="connsiteY10" fmla="*/ 5874 h 10672"/>
                <a:gd name="connsiteX11" fmla="*/ 1816 w 10000"/>
                <a:gd name="connsiteY11" fmla="*/ 4909 h 10672"/>
                <a:gd name="connsiteX12" fmla="*/ 1727 w 10000"/>
                <a:gd name="connsiteY12" fmla="*/ 4726 h 10672"/>
                <a:gd name="connsiteX13" fmla="*/ 1583 w 10000"/>
                <a:gd name="connsiteY13" fmla="*/ 4279 h 10672"/>
                <a:gd name="connsiteX14" fmla="*/ 2374 w 10000"/>
                <a:gd name="connsiteY14" fmla="*/ 4080 h 10672"/>
                <a:gd name="connsiteX15" fmla="*/ 2854 w 10000"/>
                <a:gd name="connsiteY15" fmla="*/ 3932 h 10672"/>
                <a:gd name="connsiteX16" fmla="*/ 3251 w 10000"/>
                <a:gd name="connsiteY16" fmla="*/ 4051 h 10672"/>
                <a:gd name="connsiteX17" fmla="*/ 1002 w 10000"/>
                <a:gd name="connsiteY17" fmla="*/ 2972 h 10672"/>
                <a:gd name="connsiteX18" fmla="*/ 2014 w 10000"/>
                <a:gd name="connsiteY18" fmla="*/ 2388 h 10672"/>
                <a:gd name="connsiteX19" fmla="*/ 1599 w 10000"/>
                <a:gd name="connsiteY19" fmla="*/ 2202 h 10672"/>
                <a:gd name="connsiteX20" fmla="*/ 2086 w 10000"/>
                <a:gd name="connsiteY20" fmla="*/ 1741 h 10672"/>
                <a:gd name="connsiteX21" fmla="*/ 2446 w 10000"/>
                <a:gd name="connsiteY21" fmla="*/ 1542 h 10672"/>
                <a:gd name="connsiteX22" fmla="*/ 2734 w 10000"/>
                <a:gd name="connsiteY22" fmla="*/ 1542 h 10672"/>
                <a:gd name="connsiteX23" fmla="*/ 2878 w 10000"/>
                <a:gd name="connsiteY23" fmla="*/ 1741 h 10672"/>
                <a:gd name="connsiteX24" fmla="*/ 3201 w 10000"/>
                <a:gd name="connsiteY24" fmla="*/ 1467 h 10672"/>
                <a:gd name="connsiteX25" fmla="*/ 3618 w 10000"/>
                <a:gd name="connsiteY25" fmla="*/ 1038 h 10672"/>
                <a:gd name="connsiteX26" fmla="*/ 4427 w 10000"/>
                <a:gd name="connsiteY26" fmla="*/ 656 h 10672"/>
                <a:gd name="connsiteX27" fmla="*/ 5540 w 10000"/>
                <a:gd name="connsiteY27" fmla="*/ 547 h 10672"/>
                <a:gd name="connsiteX28" fmla="*/ 6475 w 10000"/>
                <a:gd name="connsiteY28" fmla="*/ 597 h 10672"/>
                <a:gd name="connsiteX29" fmla="*/ 6763 w 10000"/>
                <a:gd name="connsiteY29" fmla="*/ 746 h 10672"/>
                <a:gd name="connsiteX30" fmla="*/ 6978 w 10000"/>
                <a:gd name="connsiteY30" fmla="*/ 348 h 10672"/>
                <a:gd name="connsiteX31" fmla="*/ 7410 w 10000"/>
                <a:gd name="connsiteY31" fmla="*/ 0 h 10672"/>
                <a:gd name="connsiteX32" fmla="*/ 7554 w 10000"/>
                <a:gd name="connsiteY32" fmla="*/ 249 h 10672"/>
                <a:gd name="connsiteX33" fmla="*/ 7986 w 10000"/>
                <a:gd name="connsiteY33" fmla="*/ 299 h 10672"/>
                <a:gd name="connsiteX34" fmla="*/ 8129 w 10000"/>
                <a:gd name="connsiteY34" fmla="*/ 746 h 10672"/>
                <a:gd name="connsiteX35" fmla="*/ 7626 w 10000"/>
                <a:gd name="connsiteY35" fmla="*/ 896 h 10672"/>
                <a:gd name="connsiteX36" fmla="*/ 7338 w 10000"/>
                <a:gd name="connsiteY36" fmla="*/ 1194 h 10672"/>
                <a:gd name="connsiteX37" fmla="*/ 7482 w 10000"/>
                <a:gd name="connsiteY37" fmla="*/ 1393 h 10672"/>
                <a:gd name="connsiteX38" fmla="*/ 8273 w 10000"/>
                <a:gd name="connsiteY38" fmla="*/ 1194 h 10672"/>
                <a:gd name="connsiteX39" fmla="*/ 9209 w 10000"/>
                <a:gd name="connsiteY39" fmla="*/ 1791 h 10672"/>
                <a:gd name="connsiteX40" fmla="*/ 9209 w 10000"/>
                <a:gd name="connsiteY40" fmla="*/ 2139 h 10672"/>
                <a:gd name="connsiteX41" fmla="*/ 9353 w 10000"/>
                <a:gd name="connsiteY41" fmla="*/ 3980 h 10672"/>
                <a:gd name="connsiteX42" fmla="*/ 8921 w 10000"/>
                <a:gd name="connsiteY42" fmla="*/ 4229 h 10672"/>
                <a:gd name="connsiteX43" fmla="*/ 9856 w 10000"/>
                <a:gd name="connsiteY43" fmla="*/ 4975 h 10672"/>
                <a:gd name="connsiteX44" fmla="*/ 9496 w 10000"/>
                <a:gd name="connsiteY44" fmla="*/ 5423 h 10672"/>
                <a:gd name="connsiteX45" fmla="*/ 10000 w 10000"/>
                <a:gd name="connsiteY45" fmla="*/ 8557 h 10672"/>
                <a:gd name="connsiteX46" fmla="*/ 9409 w 10000"/>
                <a:gd name="connsiteY46" fmla="*/ 8603 h 10672"/>
                <a:gd name="connsiteX47" fmla="*/ 7770 w 10000"/>
                <a:gd name="connsiteY47" fmla="*/ 8955 h 10672"/>
                <a:gd name="connsiteX48" fmla="*/ 6006 w 10000"/>
                <a:gd name="connsiteY48" fmla="*/ 9850 h 10672"/>
                <a:gd name="connsiteX49" fmla="*/ 4748 w 10000"/>
                <a:gd name="connsiteY49" fmla="*/ 10000 h 10672"/>
                <a:gd name="connsiteX0" fmla="*/ 4748 w 10416"/>
                <a:gd name="connsiteY0" fmla="*/ 10000 h 10672"/>
                <a:gd name="connsiteX1" fmla="*/ 4627 w 10416"/>
                <a:gd name="connsiteY1" fmla="*/ 10196 h 10672"/>
                <a:gd name="connsiteX2" fmla="*/ 3289 w 10416"/>
                <a:gd name="connsiteY2" fmla="*/ 10672 h 10672"/>
                <a:gd name="connsiteX3" fmla="*/ 1144 w 10416"/>
                <a:gd name="connsiteY3" fmla="*/ 10426 h 10672"/>
                <a:gd name="connsiteX4" fmla="*/ 0 w 10416"/>
                <a:gd name="connsiteY4" fmla="*/ 8856 h 10672"/>
                <a:gd name="connsiteX5" fmla="*/ 432 w 10416"/>
                <a:gd name="connsiteY5" fmla="*/ 8209 h 10672"/>
                <a:gd name="connsiteX6" fmla="*/ 0 w 10416"/>
                <a:gd name="connsiteY6" fmla="*/ 7512 h 10672"/>
                <a:gd name="connsiteX7" fmla="*/ 1163 w 10416"/>
                <a:gd name="connsiteY7" fmla="*/ 6932 h 10672"/>
                <a:gd name="connsiteX8" fmla="*/ 1439 w 10416"/>
                <a:gd name="connsiteY8" fmla="*/ 6866 h 10672"/>
                <a:gd name="connsiteX9" fmla="*/ 1367 w 10416"/>
                <a:gd name="connsiteY9" fmla="*/ 6169 h 10672"/>
                <a:gd name="connsiteX10" fmla="*/ 1921 w 10416"/>
                <a:gd name="connsiteY10" fmla="*/ 5874 h 10672"/>
                <a:gd name="connsiteX11" fmla="*/ 1816 w 10416"/>
                <a:gd name="connsiteY11" fmla="*/ 4909 h 10672"/>
                <a:gd name="connsiteX12" fmla="*/ 1727 w 10416"/>
                <a:gd name="connsiteY12" fmla="*/ 4726 h 10672"/>
                <a:gd name="connsiteX13" fmla="*/ 1583 w 10416"/>
                <a:gd name="connsiteY13" fmla="*/ 4279 h 10672"/>
                <a:gd name="connsiteX14" fmla="*/ 2374 w 10416"/>
                <a:gd name="connsiteY14" fmla="*/ 4080 h 10672"/>
                <a:gd name="connsiteX15" fmla="*/ 2854 w 10416"/>
                <a:gd name="connsiteY15" fmla="*/ 3932 h 10672"/>
                <a:gd name="connsiteX16" fmla="*/ 3251 w 10416"/>
                <a:gd name="connsiteY16" fmla="*/ 4051 h 10672"/>
                <a:gd name="connsiteX17" fmla="*/ 1002 w 10416"/>
                <a:gd name="connsiteY17" fmla="*/ 2972 h 10672"/>
                <a:gd name="connsiteX18" fmla="*/ 2014 w 10416"/>
                <a:gd name="connsiteY18" fmla="*/ 2388 h 10672"/>
                <a:gd name="connsiteX19" fmla="*/ 1599 w 10416"/>
                <a:gd name="connsiteY19" fmla="*/ 2202 h 10672"/>
                <a:gd name="connsiteX20" fmla="*/ 2086 w 10416"/>
                <a:gd name="connsiteY20" fmla="*/ 1741 h 10672"/>
                <a:gd name="connsiteX21" fmla="*/ 2446 w 10416"/>
                <a:gd name="connsiteY21" fmla="*/ 1542 h 10672"/>
                <a:gd name="connsiteX22" fmla="*/ 2734 w 10416"/>
                <a:gd name="connsiteY22" fmla="*/ 1542 h 10672"/>
                <a:gd name="connsiteX23" fmla="*/ 2878 w 10416"/>
                <a:gd name="connsiteY23" fmla="*/ 1741 h 10672"/>
                <a:gd name="connsiteX24" fmla="*/ 3201 w 10416"/>
                <a:gd name="connsiteY24" fmla="*/ 1467 h 10672"/>
                <a:gd name="connsiteX25" fmla="*/ 3618 w 10416"/>
                <a:gd name="connsiteY25" fmla="*/ 1038 h 10672"/>
                <a:gd name="connsiteX26" fmla="*/ 4427 w 10416"/>
                <a:gd name="connsiteY26" fmla="*/ 656 h 10672"/>
                <a:gd name="connsiteX27" fmla="*/ 5540 w 10416"/>
                <a:gd name="connsiteY27" fmla="*/ 547 h 10672"/>
                <a:gd name="connsiteX28" fmla="*/ 6475 w 10416"/>
                <a:gd name="connsiteY28" fmla="*/ 597 h 10672"/>
                <a:gd name="connsiteX29" fmla="*/ 6763 w 10416"/>
                <a:gd name="connsiteY29" fmla="*/ 746 h 10672"/>
                <a:gd name="connsiteX30" fmla="*/ 6978 w 10416"/>
                <a:gd name="connsiteY30" fmla="*/ 348 h 10672"/>
                <a:gd name="connsiteX31" fmla="*/ 7410 w 10416"/>
                <a:gd name="connsiteY31" fmla="*/ 0 h 10672"/>
                <a:gd name="connsiteX32" fmla="*/ 7554 w 10416"/>
                <a:gd name="connsiteY32" fmla="*/ 249 h 10672"/>
                <a:gd name="connsiteX33" fmla="*/ 7986 w 10416"/>
                <a:gd name="connsiteY33" fmla="*/ 299 h 10672"/>
                <a:gd name="connsiteX34" fmla="*/ 8129 w 10416"/>
                <a:gd name="connsiteY34" fmla="*/ 746 h 10672"/>
                <a:gd name="connsiteX35" fmla="*/ 7626 w 10416"/>
                <a:gd name="connsiteY35" fmla="*/ 896 h 10672"/>
                <a:gd name="connsiteX36" fmla="*/ 7338 w 10416"/>
                <a:gd name="connsiteY36" fmla="*/ 1194 h 10672"/>
                <a:gd name="connsiteX37" fmla="*/ 7482 w 10416"/>
                <a:gd name="connsiteY37" fmla="*/ 1393 h 10672"/>
                <a:gd name="connsiteX38" fmla="*/ 8273 w 10416"/>
                <a:gd name="connsiteY38" fmla="*/ 1194 h 10672"/>
                <a:gd name="connsiteX39" fmla="*/ 9209 w 10416"/>
                <a:gd name="connsiteY39" fmla="*/ 1791 h 10672"/>
                <a:gd name="connsiteX40" fmla="*/ 9209 w 10416"/>
                <a:gd name="connsiteY40" fmla="*/ 2139 h 10672"/>
                <a:gd name="connsiteX41" fmla="*/ 9353 w 10416"/>
                <a:gd name="connsiteY41" fmla="*/ 3980 h 10672"/>
                <a:gd name="connsiteX42" fmla="*/ 8921 w 10416"/>
                <a:gd name="connsiteY42" fmla="*/ 4229 h 10672"/>
                <a:gd name="connsiteX43" fmla="*/ 9856 w 10416"/>
                <a:gd name="connsiteY43" fmla="*/ 4975 h 10672"/>
                <a:gd name="connsiteX44" fmla="*/ 10416 w 10416"/>
                <a:gd name="connsiteY44" fmla="*/ 7515 h 10672"/>
                <a:gd name="connsiteX45" fmla="*/ 10000 w 10416"/>
                <a:gd name="connsiteY45" fmla="*/ 8557 h 10672"/>
                <a:gd name="connsiteX46" fmla="*/ 9409 w 10416"/>
                <a:gd name="connsiteY46" fmla="*/ 8603 h 10672"/>
                <a:gd name="connsiteX47" fmla="*/ 7770 w 10416"/>
                <a:gd name="connsiteY47" fmla="*/ 8955 h 10672"/>
                <a:gd name="connsiteX48" fmla="*/ 6006 w 10416"/>
                <a:gd name="connsiteY48" fmla="*/ 9850 h 10672"/>
                <a:gd name="connsiteX49" fmla="*/ 4748 w 10416"/>
                <a:gd name="connsiteY49" fmla="*/ 10000 h 10672"/>
                <a:gd name="connsiteX0" fmla="*/ 4748 w 10416"/>
                <a:gd name="connsiteY0" fmla="*/ 10000 h 10672"/>
                <a:gd name="connsiteX1" fmla="*/ 4627 w 10416"/>
                <a:gd name="connsiteY1" fmla="*/ 10196 h 10672"/>
                <a:gd name="connsiteX2" fmla="*/ 3289 w 10416"/>
                <a:gd name="connsiteY2" fmla="*/ 10672 h 10672"/>
                <a:gd name="connsiteX3" fmla="*/ 1144 w 10416"/>
                <a:gd name="connsiteY3" fmla="*/ 10426 h 10672"/>
                <a:gd name="connsiteX4" fmla="*/ 0 w 10416"/>
                <a:gd name="connsiteY4" fmla="*/ 8856 h 10672"/>
                <a:gd name="connsiteX5" fmla="*/ 432 w 10416"/>
                <a:gd name="connsiteY5" fmla="*/ 8209 h 10672"/>
                <a:gd name="connsiteX6" fmla="*/ 0 w 10416"/>
                <a:gd name="connsiteY6" fmla="*/ 7512 h 10672"/>
                <a:gd name="connsiteX7" fmla="*/ 1163 w 10416"/>
                <a:gd name="connsiteY7" fmla="*/ 6932 h 10672"/>
                <a:gd name="connsiteX8" fmla="*/ 1439 w 10416"/>
                <a:gd name="connsiteY8" fmla="*/ 6866 h 10672"/>
                <a:gd name="connsiteX9" fmla="*/ 1367 w 10416"/>
                <a:gd name="connsiteY9" fmla="*/ 6169 h 10672"/>
                <a:gd name="connsiteX10" fmla="*/ 1921 w 10416"/>
                <a:gd name="connsiteY10" fmla="*/ 5874 h 10672"/>
                <a:gd name="connsiteX11" fmla="*/ 1816 w 10416"/>
                <a:gd name="connsiteY11" fmla="*/ 4909 h 10672"/>
                <a:gd name="connsiteX12" fmla="*/ 1727 w 10416"/>
                <a:gd name="connsiteY12" fmla="*/ 4726 h 10672"/>
                <a:gd name="connsiteX13" fmla="*/ 1583 w 10416"/>
                <a:gd name="connsiteY13" fmla="*/ 4279 h 10672"/>
                <a:gd name="connsiteX14" fmla="*/ 2374 w 10416"/>
                <a:gd name="connsiteY14" fmla="*/ 4080 h 10672"/>
                <a:gd name="connsiteX15" fmla="*/ 2854 w 10416"/>
                <a:gd name="connsiteY15" fmla="*/ 3932 h 10672"/>
                <a:gd name="connsiteX16" fmla="*/ 3251 w 10416"/>
                <a:gd name="connsiteY16" fmla="*/ 4051 h 10672"/>
                <a:gd name="connsiteX17" fmla="*/ 1002 w 10416"/>
                <a:gd name="connsiteY17" fmla="*/ 2972 h 10672"/>
                <a:gd name="connsiteX18" fmla="*/ 2014 w 10416"/>
                <a:gd name="connsiteY18" fmla="*/ 2388 h 10672"/>
                <a:gd name="connsiteX19" fmla="*/ 1599 w 10416"/>
                <a:gd name="connsiteY19" fmla="*/ 2202 h 10672"/>
                <a:gd name="connsiteX20" fmla="*/ 2086 w 10416"/>
                <a:gd name="connsiteY20" fmla="*/ 1741 h 10672"/>
                <a:gd name="connsiteX21" fmla="*/ 2446 w 10416"/>
                <a:gd name="connsiteY21" fmla="*/ 1542 h 10672"/>
                <a:gd name="connsiteX22" fmla="*/ 2734 w 10416"/>
                <a:gd name="connsiteY22" fmla="*/ 1542 h 10672"/>
                <a:gd name="connsiteX23" fmla="*/ 2878 w 10416"/>
                <a:gd name="connsiteY23" fmla="*/ 1741 h 10672"/>
                <a:gd name="connsiteX24" fmla="*/ 3201 w 10416"/>
                <a:gd name="connsiteY24" fmla="*/ 1467 h 10672"/>
                <a:gd name="connsiteX25" fmla="*/ 3618 w 10416"/>
                <a:gd name="connsiteY25" fmla="*/ 1038 h 10672"/>
                <a:gd name="connsiteX26" fmla="*/ 4427 w 10416"/>
                <a:gd name="connsiteY26" fmla="*/ 656 h 10672"/>
                <a:gd name="connsiteX27" fmla="*/ 5540 w 10416"/>
                <a:gd name="connsiteY27" fmla="*/ 547 h 10672"/>
                <a:gd name="connsiteX28" fmla="*/ 6475 w 10416"/>
                <a:gd name="connsiteY28" fmla="*/ 597 h 10672"/>
                <a:gd name="connsiteX29" fmla="*/ 6763 w 10416"/>
                <a:gd name="connsiteY29" fmla="*/ 746 h 10672"/>
                <a:gd name="connsiteX30" fmla="*/ 6978 w 10416"/>
                <a:gd name="connsiteY30" fmla="*/ 348 h 10672"/>
                <a:gd name="connsiteX31" fmla="*/ 7410 w 10416"/>
                <a:gd name="connsiteY31" fmla="*/ 0 h 10672"/>
                <a:gd name="connsiteX32" fmla="*/ 7554 w 10416"/>
                <a:gd name="connsiteY32" fmla="*/ 249 h 10672"/>
                <a:gd name="connsiteX33" fmla="*/ 7986 w 10416"/>
                <a:gd name="connsiteY33" fmla="*/ 299 h 10672"/>
                <a:gd name="connsiteX34" fmla="*/ 8129 w 10416"/>
                <a:gd name="connsiteY34" fmla="*/ 746 h 10672"/>
                <a:gd name="connsiteX35" fmla="*/ 7626 w 10416"/>
                <a:gd name="connsiteY35" fmla="*/ 896 h 10672"/>
                <a:gd name="connsiteX36" fmla="*/ 7338 w 10416"/>
                <a:gd name="connsiteY36" fmla="*/ 1194 h 10672"/>
                <a:gd name="connsiteX37" fmla="*/ 7482 w 10416"/>
                <a:gd name="connsiteY37" fmla="*/ 1393 h 10672"/>
                <a:gd name="connsiteX38" fmla="*/ 8273 w 10416"/>
                <a:gd name="connsiteY38" fmla="*/ 1194 h 10672"/>
                <a:gd name="connsiteX39" fmla="*/ 9209 w 10416"/>
                <a:gd name="connsiteY39" fmla="*/ 1791 h 10672"/>
                <a:gd name="connsiteX40" fmla="*/ 9209 w 10416"/>
                <a:gd name="connsiteY40" fmla="*/ 2139 h 10672"/>
                <a:gd name="connsiteX41" fmla="*/ 9353 w 10416"/>
                <a:gd name="connsiteY41" fmla="*/ 3980 h 10672"/>
                <a:gd name="connsiteX42" fmla="*/ 8921 w 10416"/>
                <a:gd name="connsiteY42" fmla="*/ 4229 h 10672"/>
                <a:gd name="connsiteX43" fmla="*/ 9740 w 10416"/>
                <a:gd name="connsiteY43" fmla="*/ 5891 h 10672"/>
                <a:gd name="connsiteX44" fmla="*/ 10416 w 10416"/>
                <a:gd name="connsiteY44" fmla="*/ 7515 h 10672"/>
                <a:gd name="connsiteX45" fmla="*/ 10000 w 10416"/>
                <a:gd name="connsiteY45" fmla="*/ 8557 h 10672"/>
                <a:gd name="connsiteX46" fmla="*/ 9409 w 10416"/>
                <a:gd name="connsiteY46" fmla="*/ 8603 h 10672"/>
                <a:gd name="connsiteX47" fmla="*/ 7770 w 10416"/>
                <a:gd name="connsiteY47" fmla="*/ 8955 h 10672"/>
                <a:gd name="connsiteX48" fmla="*/ 6006 w 10416"/>
                <a:gd name="connsiteY48" fmla="*/ 9850 h 10672"/>
                <a:gd name="connsiteX49" fmla="*/ 4748 w 10416"/>
                <a:gd name="connsiteY49" fmla="*/ 10000 h 10672"/>
                <a:gd name="connsiteX0" fmla="*/ 4748 w 10815"/>
                <a:gd name="connsiteY0" fmla="*/ 10000 h 10672"/>
                <a:gd name="connsiteX1" fmla="*/ 4627 w 10815"/>
                <a:gd name="connsiteY1" fmla="*/ 10196 h 10672"/>
                <a:gd name="connsiteX2" fmla="*/ 3289 w 10815"/>
                <a:gd name="connsiteY2" fmla="*/ 10672 h 10672"/>
                <a:gd name="connsiteX3" fmla="*/ 1144 w 10815"/>
                <a:gd name="connsiteY3" fmla="*/ 10426 h 10672"/>
                <a:gd name="connsiteX4" fmla="*/ 0 w 10815"/>
                <a:gd name="connsiteY4" fmla="*/ 8856 h 10672"/>
                <a:gd name="connsiteX5" fmla="*/ 432 w 10815"/>
                <a:gd name="connsiteY5" fmla="*/ 8209 h 10672"/>
                <a:gd name="connsiteX6" fmla="*/ 0 w 10815"/>
                <a:gd name="connsiteY6" fmla="*/ 7512 h 10672"/>
                <a:gd name="connsiteX7" fmla="*/ 1163 w 10815"/>
                <a:gd name="connsiteY7" fmla="*/ 6932 h 10672"/>
                <a:gd name="connsiteX8" fmla="*/ 1439 w 10815"/>
                <a:gd name="connsiteY8" fmla="*/ 6866 h 10672"/>
                <a:gd name="connsiteX9" fmla="*/ 1367 w 10815"/>
                <a:gd name="connsiteY9" fmla="*/ 6169 h 10672"/>
                <a:gd name="connsiteX10" fmla="*/ 1921 w 10815"/>
                <a:gd name="connsiteY10" fmla="*/ 5874 h 10672"/>
                <a:gd name="connsiteX11" fmla="*/ 1816 w 10815"/>
                <a:gd name="connsiteY11" fmla="*/ 4909 h 10672"/>
                <a:gd name="connsiteX12" fmla="*/ 1727 w 10815"/>
                <a:gd name="connsiteY12" fmla="*/ 4726 h 10672"/>
                <a:gd name="connsiteX13" fmla="*/ 1583 w 10815"/>
                <a:gd name="connsiteY13" fmla="*/ 4279 h 10672"/>
                <a:gd name="connsiteX14" fmla="*/ 2374 w 10815"/>
                <a:gd name="connsiteY14" fmla="*/ 4080 h 10672"/>
                <a:gd name="connsiteX15" fmla="*/ 2854 w 10815"/>
                <a:gd name="connsiteY15" fmla="*/ 3932 h 10672"/>
                <a:gd name="connsiteX16" fmla="*/ 3251 w 10815"/>
                <a:gd name="connsiteY16" fmla="*/ 4051 h 10672"/>
                <a:gd name="connsiteX17" fmla="*/ 1002 w 10815"/>
                <a:gd name="connsiteY17" fmla="*/ 2972 h 10672"/>
                <a:gd name="connsiteX18" fmla="*/ 2014 w 10815"/>
                <a:gd name="connsiteY18" fmla="*/ 2388 h 10672"/>
                <a:gd name="connsiteX19" fmla="*/ 1599 w 10815"/>
                <a:gd name="connsiteY19" fmla="*/ 2202 h 10672"/>
                <a:gd name="connsiteX20" fmla="*/ 2086 w 10815"/>
                <a:gd name="connsiteY20" fmla="*/ 1741 h 10672"/>
                <a:gd name="connsiteX21" fmla="*/ 2446 w 10815"/>
                <a:gd name="connsiteY21" fmla="*/ 1542 h 10672"/>
                <a:gd name="connsiteX22" fmla="*/ 2734 w 10815"/>
                <a:gd name="connsiteY22" fmla="*/ 1542 h 10672"/>
                <a:gd name="connsiteX23" fmla="*/ 2878 w 10815"/>
                <a:gd name="connsiteY23" fmla="*/ 1741 h 10672"/>
                <a:gd name="connsiteX24" fmla="*/ 3201 w 10815"/>
                <a:gd name="connsiteY24" fmla="*/ 1467 h 10672"/>
                <a:gd name="connsiteX25" fmla="*/ 3618 w 10815"/>
                <a:gd name="connsiteY25" fmla="*/ 1038 h 10672"/>
                <a:gd name="connsiteX26" fmla="*/ 4427 w 10815"/>
                <a:gd name="connsiteY26" fmla="*/ 656 h 10672"/>
                <a:gd name="connsiteX27" fmla="*/ 5540 w 10815"/>
                <a:gd name="connsiteY27" fmla="*/ 547 h 10672"/>
                <a:gd name="connsiteX28" fmla="*/ 6475 w 10815"/>
                <a:gd name="connsiteY28" fmla="*/ 597 h 10672"/>
                <a:gd name="connsiteX29" fmla="*/ 6763 w 10815"/>
                <a:gd name="connsiteY29" fmla="*/ 746 h 10672"/>
                <a:gd name="connsiteX30" fmla="*/ 6978 w 10815"/>
                <a:gd name="connsiteY30" fmla="*/ 348 h 10672"/>
                <a:gd name="connsiteX31" fmla="*/ 7410 w 10815"/>
                <a:gd name="connsiteY31" fmla="*/ 0 h 10672"/>
                <a:gd name="connsiteX32" fmla="*/ 7554 w 10815"/>
                <a:gd name="connsiteY32" fmla="*/ 249 h 10672"/>
                <a:gd name="connsiteX33" fmla="*/ 7986 w 10815"/>
                <a:gd name="connsiteY33" fmla="*/ 299 h 10672"/>
                <a:gd name="connsiteX34" fmla="*/ 8129 w 10815"/>
                <a:gd name="connsiteY34" fmla="*/ 746 h 10672"/>
                <a:gd name="connsiteX35" fmla="*/ 7626 w 10815"/>
                <a:gd name="connsiteY35" fmla="*/ 896 h 10672"/>
                <a:gd name="connsiteX36" fmla="*/ 7338 w 10815"/>
                <a:gd name="connsiteY36" fmla="*/ 1194 h 10672"/>
                <a:gd name="connsiteX37" fmla="*/ 7482 w 10815"/>
                <a:gd name="connsiteY37" fmla="*/ 1393 h 10672"/>
                <a:gd name="connsiteX38" fmla="*/ 8273 w 10815"/>
                <a:gd name="connsiteY38" fmla="*/ 1194 h 10672"/>
                <a:gd name="connsiteX39" fmla="*/ 9209 w 10815"/>
                <a:gd name="connsiteY39" fmla="*/ 1791 h 10672"/>
                <a:gd name="connsiteX40" fmla="*/ 9209 w 10815"/>
                <a:gd name="connsiteY40" fmla="*/ 2139 h 10672"/>
                <a:gd name="connsiteX41" fmla="*/ 9353 w 10815"/>
                <a:gd name="connsiteY41" fmla="*/ 3980 h 10672"/>
                <a:gd name="connsiteX42" fmla="*/ 8921 w 10815"/>
                <a:gd name="connsiteY42" fmla="*/ 4229 h 10672"/>
                <a:gd name="connsiteX43" fmla="*/ 9740 w 10815"/>
                <a:gd name="connsiteY43" fmla="*/ 5891 h 10672"/>
                <a:gd name="connsiteX44" fmla="*/ 10815 w 10815"/>
                <a:gd name="connsiteY44" fmla="*/ 7477 h 10672"/>
                <a:gd name="connsiteX45" fmla="*/ 10000 w 10815"/>
                <a:gd name="connsiteY45" fmla="*/ 8557 h 10672"/>
                <a:gd name="connsiteX46" fmla="*/ 9409 w 10815"/>
                <a:gd name="connsiteY46" fmla="*/ 8603 h 10672"/>
                <a:gd name="connsiteX47" fmla="*/ 7770 w 10815"/>
                <a:gd name="connsiteY47" fmla="*/ 8955 h 10672"/>
                <a:gd name="connsiteX48" fmla="*/ 6006 w 10815"/>
                <a:gd name="connsiteY48" fmla="*/ 9850 h 10672"/>
                <a:gd name="connsiteX49" fmla="*/ 4748 w 10815"/>
                <a:gd name="connsiteY49" fmla="*/ 10000 h 10672"/>
                <a:gd name="connsiteX0" fmla="*/ 4748 w 10815"/>
                <a:gd name="connsiteY0" fmla="*/ 10000 h 10672"/>
                <a:gd name="connsiteX1" fmla="*/ 4627 w 10815"/>
                <a:gd name="connsiteY1" fmla="*/ 10196 h 10672"/>
                <a:gd name="connsiteX2" fmla="*/ 3289 w 10815"/>
                <a:gd name="connsiteY2" fmla="*/ 10672 h 10672"/>
                <a:gd name="connsiteX3" fmla="*/ 1144 w 10815"/>
                <a:gd name="connsiteY3" fmla="*/ 10426 h 10672"/>
                <a:gd name="connsiteX4" fmla="*/ 0 w 10815"/>
                <a:gd name="connsiteY4" fmla="*/ 8856 h 10672"/>
                <a:gd name="connsiteX5" fmla="*/ 432 w 10815"/>
                <a:gd name="connsiteY5" fmla="*/ 8209 h 10672"/>
                <a:gd name="connsiteX6" fmla="*/ 0 w 10815"/>
                <a:gd name="connsiteY6" fmla="*/ 7512 h 10672"/>
                <a:gd name="connsiteX7" fmla="*/ 1163 w 10815"/>
                <a:gd name="connsiteY7" fmla="*/ 6932 h 10672"/>
                <a:gd name="connsiteX8" fmla="*/ 1439 w 10815"/>
                <a:gd name="connsiteY8" fmla="*/ 6866 h 10672"/>
                <a:gd name="connsiteX9" fmla="*/ 1367 w 10815"/>
                <a:gd name="connsiteY9" fmla="*/ 6169 h 10672"/>
                <a:gd name="connsiteX10" fmla="*/ 1921 w 10815"/>
                <a:gd name="connsiteY10" fmla="*/ 5874 h 10672"/>
                <a:gd name="connsiteX11" fmla="*/ 1816 w 10815"/>
                <a:gd name="connsiteY11" fmla="*/ 4909 h 10672"/>
                <a:gd name="connsiteX12" fmla="*/ 1727 w 10815"/>
                <a:gd name="connsiteY12" fmla="*/ 4726 h 10672"/>
                <a:gd name="connsiteX13" fmla="*/ 1583 w 10815"/>
                <a:gd name="connsiteY13" fmla="*/ 4279 h 10672"/>
                <a:gd name="connsiteX14" fmla="*/ 2374 w 10815"/>
                <a:gd name="connsiteY14" fmla="*/ 4080 h 10672"/>
                <a:gd name="connsiteX15" fmla="*/ 2854 w 10815"/>
                <a:gd name="connsiteY15" fmla="*/ 3932 h 10672"/>
                <a:gd name="connsiteX16" fmla="*/ 3251 w 10815"/>
                <a:gd name="connsiteY16" fmla="*/ 4051 h 10672"/>
                <a:gd name="connsiteX17" fmla="*/ 1002 w 10815"/>
                <a:gd name="connsiteY17" fmla="*/ 2972 h 10672"/>
                <a:gd name="connsiteX18" fmla="*/ 2014 w 10815"/>
                <a:gd name="connsiteY18" fmla="*/ 2388 h 10672"/>
                <a:gd name="connsiteX19" fmla="*/ 1599 w 10815"/>
                <a:gd name="connsiteY19" fmla="*/ 2202 h 10672"/>
                <a:gd name="connsiteX20" fmla="*/ 2086 w 10815"/>
                <a:gd name="connsiteY20" fmla="*/ 1741 h 10672"/>
                <a:gd name="connsiteX21" fmla="*/ 2446 w 10815"/>
                <a:gd name="connsiteY21" fmla="*/ 1542 h 10672"/>
                <a:gd name="connsiteX22" fmla="*/ 2734 w 10815"/>
                <a:gd name="connsiteY22" fmla="*/ 1542 h 10672"/>
                <a:gd name="connsiteX23" fmla="*/ 2878 w 10815"/>
                <a:gd name="connsiteY23" fmla="*/ 1741 h 10672"/>
                <a:gd name="connsiteX24" fmla="*/ 3201 w 10815"/>
                <a:gd name="connsiteY24" fmla="*/ 1467 h 10672"/>
                <a:gd name="connsiteX25" fmla="*/ 3618 w 10815"/>
                <a:gd name="connsiteY25" fmla="*/ 1038 h 10672"/>
                <a:gd name="connsiteX26" fmla="*/ 4427 w 10815"/>
                <a:gd name="connsiteY26" fmla="*/ 656 h 10672"/>
                <a:gd name="connsiteX27" fmla="*/ 5540 w 10815"/>
                <a:gd name="connsiteY27" fmla="*/ 547 h 10672"/>
                <a:gd name="connsiteX28" fmla="*/ 6475 w 10815"/>
                <a:gd name="connsiteY28" fmla="*/ 597 h 10672"/>
                <a:gd name="connsiteX29" fmla="*/ 6763 w 10815"/>
                <a:gd name="connsiteY29" fmla="*/ 746 h 10672"/>
                <a:gd name="connsiteX30" fmla="*/ 6978 w 10815"/>
                <a:gd name="connsiteY30" fmla="*/ 348 h 10672"/>
                <a:gd name="connsiteX31" fmla="*/ 7410 w 10815"/>
                <a:gd name="connsiteY31" fmla="*/ 0 h 10672"/>
                <a:gd name="connsiteX32" fmla="*/ 7554 w 10815"/>
                <a:gd name="connsiteY32" fmla="*/ 249 h 10672"/>
                <a:gd name="connsiteX33" fmla="*/ 7986 w 10815"/>
                <a:gd name="connsiteY33" fmla="*/ 299 h 10672"/>
                <a:gd name="connsiteX34" fmla="*/ 8129 w 10815"/>
                <a:gd name="connsiteY34" fmla="*/ 746 h 10672"/>
                <a:gd name="connsiteX35" fmla="*/ 7626 w 10815"/>
                <a:gd name="connsiteY35" fmla="*/ 896 h 10672"/>
                <a:gd name="connsiteX36" fmla="*/ 7338 w 10815"/>
                <a:gd name="connsiteY36" fmla="*/ 1194 h 10672"/>
                <a:gd name="connsiteX37" fmla="*/ 7482 w 10815"/>
                <a:gd name="connsiteY37" fmla="*/ 1393 h 10672"/>
                <a:gd name="connsiteX38" fmla="*/ 8273 w 10815"/>
                <a:gd name="connsiteY38" fmla="*/ 1194 h 10672"/>
                <a:gd name="connsiteX39" fmla="*/ 9209 w 10815"/>
                <a:gd name="connsiteY39" fmla="*/ 1791 h 10672"/>
                <a:gd name="connsiteX40" fmla="*/ 9209 w 10815"/>
                <a:gd name="connsiteY40" fmla="*/ 2139 h 10672"/>
                <a:gd name="connsiteX41" fmla="*/ 9353 w 10815"/>
                <a:gd name="connsiteY41" fmla="*/ 3980 h 10672"/>
                <a:gd name="connsiteX42" fmla="*/ 9446 w 10815"/>
                <a:gd name="connsiteY42" fmla="*/ 4549 h 10672"/>
                <a:gd name="connsiteX43" fmla="*/ 9740 w 10815"/>
                <a:gd name="connsiteY43" fmla="*/ 5891 h 10672"/>
                <a:gd name="connsiteX44" fmla="*/ 10815 w 10815"/>
                <a:gd name="connsiteY44" fmla="*/ 7477 h 10672"/>
                <a:gd name="connsiteX45" fmla="*/ 10000 w 10815"/>
                <a:gd name="connsiteY45" fmla="*/ 8557 h 10672"/>
                <a:gd name="connsiteX46" fmla="*/ 9409 w 10815"/>
                <a:gd name="connsiteY46" fmla="*/ 8603 h 10672"/>
                <a:gd name="connsiteX47" fmla="*/ 7770 w 10815"/>
                <a:gd name="connsiteY47" fmla="*/ 8955 h 10672"/>
                <a:gd name="connsiteX48" fmla="*/ 6006 w 10815"/>
                <a:gd name="connsiteY48" fmla="*/ 9850 h 10672"/>
                <a:gd name="connsiteX49" fmla="*/ 4748 w 10815"/>
                <a:gd name="connsiteY49" fmla="*/ 10000 h 10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0815" h="10672">
                  <a:moveTo>
                    <a:pt x="4748" y="10000"/>
                  </a:moveTo>
                  <a:lnTo>
                    <a:pt x="4627" y="10196"/>
                  </a:lnTo>
                  <a:lnTo>
                    <a:pt x="3289" y="10672"/>
                  </a:lnTo>
                  <a:lnTo>
                    <a:pt x="1144" y="10426"/>
                  </a:lnTo>
                  <a:lnTo>
                    <a:pt x="0" y="8856"/>
                  </a:lnTo>
                  <a:lnTo>
                    <a:pt x="432" y="8209"/>
                  </a:lnTo>
                  <a:lnTo>
                    <a:pt x="0" y="7512"/>
                  </a:lnTo>
                  <a:cubicBezTo>
                    <a:pt x="450" y="7340"/>
                    <a:pt x="713" y="7104"/>
                    <a:pt x="1163" y="6932"/>
                  </a:cubicBezTo>
                  <a:lnTo>
                    <a:pt x="1439" y="6866"/>
                  </a:lnTo>
                  <a:cubicBezTo>
                    <a:pt x="1415" y="6634"/>
                    <a:pt x="1391" y="6401"/>
                    <a:pt x="1367" y="6169"/>
                  </a:cubicBezTo>
                  <a:lnTo>
                    <a:pt x="1921" y="5874"/>
                  </a:lnTo>
                  <a:lnTo>
                    <a:pt x="1816" y="4909"/>
                  </a:lnTo>
                  <a:cubicBezTo>
                    <a:pt x="1786" y="4848"/>
                    <a:pt x="1757" y="4787"/>
                    <a:pt x="1727" y="4726"/>
                  </a:cubicBezTo>
                  <a:lnTo>
                    <a:pt x="1583" y="4279"/>
                  </a:lnTo>
                  <a:lnTo>
                    <a:pt x="2374" y="4080"/>
                  </a:lnTo>
                  <a:lnTo>
                    <a:pt x="2854" y="3932"/>
                  </a:lnTo>
                  <a:lnTo>
                    <a:pt x="3251" y="4051"/>
                  </a:lnTo>
                  <a:lnTo>
                    <a:pt x="1002" y="2972"/>
                  </a:lnTo>
                  <a:lnTo>
                    <a:pt x="2014" y="2388"/>
                  </a:lnTo>
                  <a:cubicBezTo>
                    <a:pt x="2132" y="2258"/>
                    <a:pt x="1587" y="2310"/>
                    <a:pt x="1599" y="2202"/>
                  </a:cubicBezTo>
                  <a:cubicBezTo>
                    <a:pt x="1611" y="2094"/>
                    <a:pt x="2013" y="1852"/>
                    <a:pt x="2086" y="1741"/>
                  </a:cubicBezTo>
                  <a:lnTo>
                    <a:pt x="2446" y="1542"/>
                  </a:lnTo>
                  <a:lnTo>
                    <a:pt x="2734" y="1542"/>
                  </a:lnTo>
                  <a:lnTo>
                    <a:pt x="2878" y="1741"/>
                  </a:lnTo>
                  <a:lnTo>
                    <a:pt x="3201" y="1467"/>
                  </a:lnTo>
                  <a:cubicBezTo>
                    <a:pt x="3232" y="1266"/>
                    <a:pt x="3587" y="1239"/>
                    <a:pt x="3618" y="1038"/>
                  </a:cubicBezTo>
                  <a:lnTo>
                    <a:pt x="4427" y="656"/>
                  </a:lnTo>
                  <a:lnTo>
                    <a:pt x="5540" y="547"/>
                  </a:lnTo>
                  <a:lnTo>
                    <a:pt x="6475" y="597"/>
                  </a:lnTo>
                  <a:lnTo>
                    <a:pt x="6763" y="746"/>
                  </a:lnTo>
                  <a:lnTo>
                    <a:pt x="6978" y="348"/>
                  </a:lnTo>
                  <a:lnTo>
                    <a:pt x="7410" y="0"/>
                  </a:lnTo>
                  <a:lnTo>
                    <a:pt x="7554" y="249"/>
                  </a:lnTo>
                  <a:lnTo>
                    <a:pt x="7986" y="299"/>
                  </a:lnTo>
                  <a:cubicBezTo>
                    <a:pt x="8034" y="448"/>
                    <a:pt x="8081" y="597"/>
                    <a:pt x="8129" y="746"/>
                  </a:cubicBezTo>
                  <a:lnTo>
                    <a:pt x="7626" y="896"/>
                  </a:lnTo>
                  <a:lnTo>
                    <a:pt x="7338" y="1194"/>
                  </a:lnTo>
                  <a:lnTo>
                    <a:pt x="7482" y="1393"/>
                  </a:lnTo>
                  <a:lnTo>
                    <a:pt x="8273" y="1194"/>
                  </a:lnTo>
                  <a:lnTo>
                    <a:pt x="9209" y="1791"/>
                  </a:lnTo>
                  <a:lnTo>
                    <a:pt x="9209" y="2139"/>
                  </a:lnTo>
                  <a:lnTo>
                    <a:pt x="9353" y="3980"/>
                  </a:lnTo>
                  <a:cubicBezTo>
                    <a:pt x="9384" y="4170"/>
                    <a:pt x="9415" y="4359"/>
                    <a:pt x="9446" y="4549"/>
                  </a:cubicBezTo>
                  <a:lnTo>
                    <a:pt x="9740" y="5891"/>
                  </a:lnTo>
                  <a:lnTo>
                    <a:pt x="10815" y="7477"/>
                  </a:lnTo>
                  <a:lnTo>
                    <a:pt x="10000" y="8557"/>
                  </a:lnTo>
                  <a:lnTo>
                    <a:pt x="9409" y="8603"/>
                  </a:lnTo>
                  <a:lnTo>
                    <a:pt x="7770" y="8955"/>
                  </a:lnTo>
                  <a:lnTo>
                    <a:pt x="6006" y="9850"/>
                  </a:lnTo>
                  <a:lnTo>
                    <a:pt x="4748" y="100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sp>
          <p:nvSpPr>
            <p:cNvPr id="48" name="EN"/>
            <p:cNvSpPr>
              <a:spLocks/>
            </p:cNvSpPr>
            <p:nvPr/>
          </p:nvSpPr>
          <p:spPr bwMode="auto">
            <a:xfrm rot="1238930">
              <a:off x="5492750" y="3975100"/>
              <a:ext cx="374650" cy="336550"/>
            </a:xfrm>
            <a:custGeom>
              <a:avLst/>
              <a:gdLst>
                <a:gd name="T0" fmla="*/ 2147483647 w 101"/>
                <a:gd name="T1" fmla="*/ 2147483647 h 92"/>
                <a:gd name="T2" fmla="*/ 2147483647 w 101"/>
                <a:gd name="T3" fmla="*/ 2147483647 h 92"/>
                <a:gd name="T4" fmla="*/ 2147483647 w 101"/>
                <a:gd name="T5" fmla="*/ 2147483647 h 92"/>
                <a:gd name="T6" fmla="*/ 2147483647 w 101"/>
                <a:gd name="T7" fmla="*/ 2147483647 h 92"/>
                <a:gd name="T8" fmla="*/ 2147483647 w 101"/>
                <a:gd name="T9" fmla="*/ 2147483647 h 92"/>
                <a:gd name="T10" fmla="*/ 2147483647 w 101"/>
                <a:gd name="T11" fmla="*/ 2147483647 h 92"/>
                <a:gd name="T12" fmla="*/ 2147483647 w 101"/>
                <a:gd name="T13" fmla="*/ 2147483647 h 92"/>
                <a:gd name="T14" fmla="*/ 2147483647 w 101"/>
                <a:gd name="T15" fmla="*/ 2147483647 h 92"/>
                <a:gd name="T16" fmla="*/ 2147483647 w 101"/>
                <a:gd name="T17" fmla="*/ 0 h 92"/>
                <a:gd name="T18" fmla="*/ 2147483647 w 101"/>
                <a:gd name="T19" fmla="*/ 2147483647 h 92"/>
                <a:gd name="T20" fmla="*/ 2147483647 w 101"/>
                <a:gd name="T21" fmla="*/ 2147483647 h 92"/>
                <a:gd name="T22" fmla="*/ 2147483647 w 101"/>
                <a:gd name="T23" fmla="*/ 2147483647 h 92"/>
                <a:gd name="T24" fmla="*/ 2147483647 w 101"/>
                <a:gd name="T25" fmla="*/ 2147483647 h 92"/>
                <a:gd name="T26" fmla="*/ 2147483647 w 101"/>
                <a:gd name="T27" fmla="*/ 2147483647 h 92"/>
                <a:gd name="T28" fmla="*/ 2147483647 w 101"/>
                <a:gd name="T29" fmla="*/ 2147483647 h 92"/>
                <a:gd name="T30" fmla="*/ 2147483647 w 101"/>
                <a:gd name="T31" fmla="*/ 2147483647 h 92"/>
                <a:gd name="T32" fmla="*/ 2147483647 w 101"/>
                <a:gd name="T33" fmla="*/ 2147483647 h 92"/>
                <a:gd name="T34" fmla="*/ 2147483647 w 101"/>
                <a:gd name="T35" fmla="*/ 2147483647 h 92"/>
                <a:gd name="T36" fmla="*/ 2147483647 w 101"/>
                <a:gd name="T37" fmla="*/ 2147483647 h 92"/>
                <a:gd name="T38" fmla="*/ 2147483647 w 101"/>
                <a:gd name="T39" fmla="*/ 2147483647 h 92"/>
                <a:gd name="T40" fmla="*/ 2147483647 w 101"/>
                <a:gd name="T41" fmla="*/ 2147483647 h 92"/>
                <a:gd name="T42" fmla="*/ 2147483647 w 101"/>
                <a:gd name="T43" fmla="*/ 2147483647 h 92"/>
                <a:gd name="T44" fmla="*/ 2147483647 w 101"/>
                <a:gd name="T45" fmla="*/ 2147483647 h 92"/>
                <a:gd name="T46" fmla="*/ 2147483647 w 101"/>
                <a:gd name="T47" fmla="*/ 2147483647 h 92"/>
                <a:gd name="T48" fmla="*/ 2147483647 w 101"/>
                <a:gd name="T49" fmla="*/ 2147483647 h 92"/>
                <a:gd name="T50" fmla="*/ 2147483647 w 101"/>
                <a:gd name="T51" fmla="*/ 2147483647 h 92"/>
                <a:gd name="T52" fmla="*/ 2147483647 w 101"/>
                <a:gd name="T53" fmla="*/ 2147483647 h 92"/>
                <a:gd name="T54" fmla="*/ 0 w 101"/>
                <a:gd name="T55" fmla="*/ 2147483647 h 92"/>
                <a:gd name="T56" fmla="*/ 2147483647 w 101"/>
                <a:gd name="T57" fmla="*/ 2147483647 h 92"/>
                <a:gd name="T58" fmla="*/ 2147483647 w 101"/>
                <a:gd name="T59" fmla="*/ 2147483647 h 92"/>
                <a:gd name="T60" fmla="*/ 2147483647 w 101"/>
                <a:gd name="T61" fmla="*/ 2147483647 h 9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1"/>
                <a:gd name="T94" fmla="*/ 0 h 92"/>
                <a:gd name="T95" fmla="*/ 101 w 101"/>
                <a:gd name="T96" fmla="*/ 92 h 92"/>
                <a:gd name="connsiteX0" fmla="*/ 2772 w 10000"/>
                <a:gd name="connsiteY0" fmla="*/ 3370 h 10000"/>
                <a:gd name="connsiteX1" fmla="*/ 3564 w 10000"/>
                <a:gd name="connsiteY1" fmla="*/ 2065 h 10000"/>
                <a:gd name="connsiteX2" fmla="*/ 3168 w 10000"/>
                <a:gd name="connsiteY2" fmla="*/ 978 h 10000"/>
                <a:gd name="connsiteX3" fmla="*/ 3960 w 10000"/>
                <a:gd name="connsiteY3" fmla="*/ 761 h 10000"/>
                <a:gd name="connsiteX4" fmla="*/ 4356 w 10000"/>
                <a:gd name="connsiteY4" fmla="*/ 1739 h 10000"/>
                <a:gd name="connsiteX5" fmla="*/ 4851 w 10000"/>
                <a:gd name="connsiteY5" fmla="*/ 870 h 10000"/>
                <a:gd name="connsiteX6" fmla="*/ 6040 w 10000"/>
                <a:gd name="connsiteY6" fmla="*/ 870 h 10000"/>
                <a:gd name="connsiteX7" fmla="*/ 5743 w 10000"/>
                <a:gd name="connsiteY7" fmla="*/ 217 h 10000"/>
                <a:gd name="connsiteX8" fmla="*/ 6634 w 10000"/>
                <a:gd name="connsiteY8" fmla="*/ 0 h 10000"/>
                <a:gd name="connsiteX9" fmla="*/ 7921 w 10000"/>
                <a:gd name="connsiteY9" fmla="*/ 1522 h 10000"/>
                <a:gd name="connsiteX10" fmla="*/ 8416 w 10000"/>
                <a:gd name="connsiteY10" fmla="*/ 3478 h 10000"/>
                <a:gd name="connsiteX11" fmla="*/ 9406 w 10000"/>
                <a:gd name="connsiteY11" fmla="*/ 3152 h 10000"/>
                <a:gd name="connsiteX12" fmla="*/ 10000 w 10000"/>
                <a:gd name="connsiteY12" fmla="*/ 3913 h 10000"/>
                <a:gd name="connsiteX13" fmla="*/ 9901 w 10000"/>
                <a:gd name="connsiteY13" fmla="*/ 4239 h 10000"/>
                <a:gd name="connsiteX14" fmla="*/ 8119 w 10000"/>
                <a:gd name="connsiteY14" fmla="*/ 6087 h 10000"/>
                <a:gd name="connsiteX15" fmla="*/ 7426 w 10000"/>
                <a:gd name="connsiteY15" fmla="*/ 6196 h 10000"/>
                <a:gd name="connsiteX16" fmla="*/ 7624 w 10000"/>
                <a:gd name="connsiteY16" fmla="*/ 6957 h 10000"/>
                <a:gd name="connsiteX17" fmla="*/ 8020 w 10000"/>
                <a:gd name="connsiteY17" fmla="*/ 7065 h 10000"/>
                <a:gd name="connsiteX18" fmla="*/ 7921 w 10000"/>
                <a:gd name="connsiteY18" fmla="*/ 9457 h 10000"/>
                <a:gd name="connsiteX19" fmla="*/ 7426 w 10000"/>
                <a:gd name="connsiteY19" fmla="*/ 9565 h 10000"/>
                <a:gd name="connsiteX20" fmla="*/ 7228 w 10000"/>
                <a:gd name="connsiteY20" fmla="*/ 9239 h 10000"/>
                <a:gd name="connsiteX21" fmla="*/ 6238 w 10000"/>
                <a:gd name="connsiteY21" fmla="*/ 10000 h 10000"/>
                <a:gd name="connsiteX22" fmla="*/ 5535 w 10000"/>
                <a:gd name="connsiteY22" fmla="*/ 9801 h 10000"/>
                <a:gd name="connsiteX23" fmla="*/ 3960 w 10000"/>
                <a:gd name="connsiteY23" fmla="*/ 8696 h 10000"/>
                <a:gd name="connsiteX24" fmla="*/ 3168 w 10000"/>
                <a:gd name="connsiteY24" fmla="*/ 9130 h 10000"/>
                <a:gd name="connsiteX25" fmla="*/ 1485 w 10000"/>
                <a:gd name="connsiteY25" fmla="*/ 9239 h 10000"/>
                <a:gd name="connsiteX26" fmla="*/ 792 w 10000"/>
                <a:gd name="connsiteY26" fmla="*/ 10000 h 10000"/>
                <a:gd name="connsiteX27" fmla="*/ 0 w 10000"/>
                <a:gd name="connsiteY27" fmla="*/ 10000 h 10000"/>
                <a:gd name="connsiteX28" fmla="*/ 594 w 10000"/>
                <a:gd name="connsiteY28" fmla="*/ 6630 h 10000"/>
                <a:gd name="connsiteX29" fmla="*/ 1980 w 10000"/>
                <a:gd name="connsiteY29" fmla="*/ 3913 h 10000"/>
                <a:gd name="connsiteX30" fmla="*/ 2772 w 10000"/>
                <a:gd name="connsiteY30" fmla="*/ 3370 h 10000"/>
                <a:gd name="connsiteX0" fmla="*/ 2772 w 10000"/>
                <a:gd name="connsiteY0" fmla="*/ 3370 h 10000"/>
                <a:gd name="connsiteX1" fmla="*/ 3564 w 10000"/>
                <a:gd name="connsiteY1" fmla="*/ 2065 h 10000"/>
                <a:gd name="connsiteX2" fmla="*/ 3168 w 10000"/>
                <a:gd name="connsiteY2" fmla="*/ 978 h 10000"/>
                <a:gd name="connsiteX3" fmla="*/ 3960 w 10000"/>
                <a:gd name="connsiteY3" fmla="*/ 761 h 10000"/>
                <a:gd name="connsiteX4" fmla="*/ 4356 w 10000"/>
                <a:gd name="connsiteY4" fmla="*/ 1739 h 10000"/>
                <a:gd name="connsiteX5" fmla="*/ 4851 w 10000"/>
                <a:gd name="connsiteY5" fmla="*/ 870 h 10000"/>
                <a:gd name="connsiteX6" fmla="*/ 6040 w 10000"/>
                <a:gd name="connsiteY6" fmla="*/ 870 h 10000"/>
                <a:gd name="connsiteX7" fmla="*/ 5743 w 10000"/>
                <a:gd name="connsiteY7" fmla="*/ 217 h 10000"/>
                <a:gd name="connsiteX8" fmla="*/ 6634 w 10000"/>
                <a:gd name="connsiteY8" fmla="*/ 0 h 10000"/>
                <a:gd name="connsiteX9" fmla="*/ 7921 w 10000"/>
                <a:gd name="connsiteY9" fmla="*/ 1522 h 10000"/>
                <a:gd name="connsiteX10" fmla="*/ 8416 w 10000"/>
                <a:gd name="connsiteY10" fmla="*/ 3478 h 10000"/>
                <a:gd name="connsiteX11" fmla="*/ 9406 w 10000"/>
                <a:gd name="connsiteY11" fmla="*/ 3152 h 10000"/>
                <a:gd name="connsiteX12" fmla="*/ 10000 w 10000"/>
                <a:gd name="connsiteY12" fmla="*/ 3913 h 10000"/>
                <a:gd name="connsiteX13" fmla="*/ 9901 w 10000"/>
                <a:gd name="connsiteY13" fmla="*/ 4239 h 10000"/>
                <a:gd name="connsiteX14" fmla="*/ 8119 w 10000"/>
                <a:gd name="connsiteY14" fmla="*/ 6087 h 10000"/>
                <a:gd name="connsiteX15" fmla="*/ 7426 w 10000"/>
                <a:gd name="connsiteY15" fmla="*/ 6196 h 10000"/>
                <a:gd name="connsiteX16" fmla="*/ 7624 w 10000"/>
                <a:gd name="connsiteY16" fmla="*/ 6957 h 10000"/>
                <a:gd name="connsiteX17" fmla="*/ 8020 w 10000"/>
                <a:gd name="connsiteY17" fmla="*/ 7065 h 10000"/>
                <a:gd name="connsiteX18" fmla="*/ 7921 w 10000"/>
                <a:gd name="connsiteY18" fmla="*/ 9457 h 10000"/>
                <a:gd name="connsiteX19" fmla="*/ 7426 w 10000"/>
                <a:gd name="connsiteY19" fmla="*/ 9565 h 10000"/>
                <a:gd name="connsiteX20" fmla="*/ 7228 w 10000"/>
                <a:gd name="connsiteY20" fmla="*/ 9239 h 10000"/>
                <a:gd name="connsiteX21" fmla="*/ 6238 w 10000"/>
                <a:gd name="connsiteY21" fmla="*/ 10000 h 10000"/>
                <a:gd name="connsiteX22" fmla="*/ 5535 w 10000"/>
                <a:gd name="connsiteY22" fmla="*/ 9801 h 10000"/>
                <a:gd name="connsiteX23" fmla="*/ 3960 w 10000"/>
                <a:gd name="connsiteY23" fmla="*/ 8696 h 10000"/>
                <a:gd name="connsiteX24" fmla="*/ 3480 w 10000"/>
                <a:gd name="connsiteY24" fmla="*/ 9544 h 10000"/>
                <a:gd name="connsiteX25" fmla="*/ 1485 w 10000"/>
                <a:gd name="connsiteY25" fmla="*/ 9239 h 10000"/>
                <a:gd name="connsiteX26" fmla="*/ 792 w 10000"/>
                <a:gd name="connsiteY26" fmla="*/ 10000 h 10000"/>
                <a:gd name="connsiteX27" fmla="*/ 0 w 10000"/>
                <a:gd name="connsiteY27" fmla="*/ 10000 h 10000"/>
                <a:gd name="connsiteX28" fmla="*/ 594 w 10000"/>
                <a:gd name="connsiteY28" fmla="*/ 6630 h 10000"/>
                <a:gd name="connsiteX29" fmla="*/ 1980 w 10000"/>
                <a:gd name="connsiteY29" fmla="*/ 3913 h 10000"/>
                <a:gd name="connsiteX30" fmla="*/ 2772 w 10000"/>
                <a:gd name="connsiteY30" fmla="*/ 3370 h 1000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3168 w 10000"/>
                <a:gd name="connsiteY2" fmla="*/ 978 h 10560"/>
                <a:gd name="connsiteX3" fmla="*/ 3960 w 10000"/>
                <a:gd name="connsiteY3" fmla="*/ 761 h 10560"/>
                <a:gd name="connsiteX4" fmla="*/ 4356 w 10000"/>
                <a:gd name="connsiteY4" fmla="*/ 1739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7921 w 10000"/>
                <a:gd name="connsiteY9" fmla="*/ 1522 h 10560"/>
                <a:gd name="connsiteX10" fmla="*/ 8416 w 10000"/>
                <a:gd name="connsiteY10" fmla="*/ 3478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485 w 10000"/>
                <a:gd name="connsiteY26" fmla="*/ 9239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594 w 10000"/>
                <a:gd name="connsiteY29" fmla="*/ 6630 h 10560"/>
                <a:gd name="connsiteX30" fmla="*/ 1980 w 10000"/>
                <a:gd name="connsiteY30" fmla="*/ 3913 h 10560"/>
                <a:gd name="connsiteX31" fmla="*/ 2772 w 10000"/>
                <a:gd name="connsiteY31" fmla="*/ 3370 h 1056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3168 w 10000"/>
                <a:gd name="connsiteY2" fmla="*/ 978 h 10560"/>
                <a:gd name="connsiteX3" fmla="*/ 3960 w 10000"/>
                <a:gd name="connsiteY3" fmla="*/ 761 h 10560"/>
                <a:gd name="connsiteX4" fmla="*/ 4356 w 10000"/>
                <a:gd name="connsiteY4" fmla="*/ 1739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7921 w 10000"/>
                <a:gd name="connsiteY9" fmla="*/ 1522 h 10560"/>
                <a:gd name="connsiteX10" fmla="*/ 8416 w 10000"/>
                <a:gd name="connsiteY10" fmla="*/ 3478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221 w 10000"/>
                <a:gd name="connsiteY26" fmla="*/ 10158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594 w 10000"/>
                <a:gd name="connsiteY29" fmla="*/ 6630 h 10560"/>
                <a:gd name="connsiteX30" fmla="*/ 1980 w 10000"/>
                <a:gd name="connsiteY30" fmla="*/ 3913 h 10560"/>
                <a:gd name="connsiteX31" fmla="*/ 2772 w 10000"/>
                <a:gd name="connsiteY31" fmla="*/ 3370 h 1056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3168 w 10000"/>
                <a:gd name="connsiteY2" fmla="*/ 978 h 10560"/>
                <a:gd name="connsiteX3" fmla="*/ 3960 w 10000"/>
                <a:gd name="connsiteY3" fmla="*/ 761 h 10560"/>
                <a:gd name="connsiteX4" fmla="*/ 4356 w 10000"/>
                <a:gd name="connsiteY4" fmla="*/ 1739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7921 w 10000"/>
                <a:gd name="connsiteY9" fmla="*/ 1522 h 10560"/>
                <a:gd name="connsiteX10" fmla="*/ 8416 w 10000"/>
                <a:gd name="connsiteY10" fmla="*/ 3478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221 w 10000"/>
                <a:gd name="connsiteY26" fmla="*/ 10158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428 w 10000"/>
                <a:gd name="connsiteY29" fmla="*/ 5436 h 10560"/>
                <a:gd name="connsiteX30" fmla="*/ 1980 w 10000"/>
                <a:gd name="connsiteY30" fmla="*/ 3913 h 10560"/>
                <a:gd name="connsiteX31" fmla="*/ 2772 w 10000"/>
                <a:gd name="connsiteY31" fmla="*/ 3370 h 1056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3168 w 10000"/>
                <a:gd name="connsiteY2" fmla="*/ 978 h 10560"/>
                <a:gd name="connsiteX3" fmla="*/ 3960 w 10000"/>
                <a:gd name="connsiteY3" fmla="*/ 761 h 10560"/>
                <a:gd name="connsiteX4" fmla="*/ 4356 w 10000"/>
                <a:gd name="connsiteY4" fmla="*/ 1739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7921 w 10000"/>
                <a:gd name="connsiteY9" fmla="*/ 1522 h 10560"/>
                <a:gd name="connsiteX10" fmla="*/ 8416 w 10000"/>
                <a:gd name="connsiteY10" fmla="*/ 3478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221 w 10000"/>
                <a:gd name="connsiteY26" fmla="*/ 10158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428 w 10000"/>
                <a:gd name="connsiteY29" fmla="*/ 5436 h 10560"/>
                <a:gd name="connsiteX30" fmla="*/ 1083 w 10000"/>
                <a:gd name="connsiteY30" fmla="*/ 3737 h 10560"/>
                <a:gd name="connsiteX31" fmla="*/ 2772 w 10000"/>
                <a:gd name="connsiteY31" fmla="*/ 3370 h 1056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2729 w 10000"/>
                <a:gd name="connsiteY2" fmla="*/ 1156 h 10560"/>
                <a:gd name="connsiteX3" fmla="*/ 3960 w 10000"/>
                <a:gd name="connsiteY3" fmla="*/ 761 h 10560"/>
                <a:gd name="connsiteX4" fmla="*/ 4356 w 10000"/>
                <a:gd name="connsiteY4" fmla="*/ 1739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7921 w 10000"/>
                <a:gd name="connsiteY9" fmla="*/ 1522 h 10560"/>
                <a:gd name="connsiteX10" fmla="*/ 8416 w 10000"/>
                <a:gd name="connsiteY10" fmla="*/ 3478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221 w 10000"/>
                <a:gd name="connsiteY26" fmla="*/ 10158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428 w 10000"/>
                <a:gd name="connsiteY29" fmla="*/ 5436 h 10560"/>
                <a:gd name="connsiteX30" fmla="*/ 1083 w 10000"/>
                <a:gd name="connsiteY30" fmla="*/ 3737 h 10560"/>
                <a:gd name="connsiteX31" fmla="*/ 2772 w 10000"/>
                <a:gd name="connsiteY31" fmla="*/ 3370 h 1056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2729 w 10000"/>
                <a:gd name="connsiteY2" fmla="*/ 1156 h 10560"/>
                <a:gd name="connsiteX3" fmla="*/ 3960 w 10000"/>
                <a:gd name="connsiteY3" fmla="*/ 761 h 10560"/>
                <a:gd name="connsiteX4" fmla="*/ 4675 w 10000"/>
                <a:gd name="connsiteY4" fmla="*/ 978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7921 w 10000"/>
                <a:gd name="connsiteY9" fmla="*/ 1522 h 10560"/>
                <a:gd name="connsiteX10" fmla="*/ 8416 w 10000"/>
                <a:gd name="connsiteY10" fmla="*/ 3478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221 w 10000"/>
                <a:gd name="connsiteY26" fmla="*/ 10158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428 w 10000"/>
                <a:gd name="connsiteY29" fmla="*/ 5436 h 10560"/>
                <a:gd name="connsiteX30" fmla="*/ 1083 w 10000"/>
                <a:gd name="connsiteY30" fmla="*/ 3737 h 10560"/>
                <a:gd name="connsiteX31" fmla="*/ 2772 w 10000"/>
                <a:gd name="connsiteY31" fmla="*/ 3370 h 1056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2729 w 10000"/>
                <a:gd name="connsiteY2" fmla="*/ 1156 h 10560"/>
                <a:gd name="connsiteX3" fmla="*/ 3960 w 10000"/>
                <a:gd name="connsiteY3" fmla="*/ 761 h 10560"/>
                <a:gd name="connsiteX4" fmla="*/ 4675 w 10000"/>
                <a:gd name="connsiteY4" fmla="*/ 978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8698 w 10000"/>
                <a:gd name="connsiteY9" fmla="*/ 1116 h 10560"/>
                <a:gd name="connsiteX10" fmla="*/ 8416 w 10000"/>
                <a:gd name="connsiteY10" fmla="*/ 3478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221 w 10000"/>
                <a:gd name="connsiteY26" fmla="*/ 10158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428 w 10000"/>
                <a:gd name="connsiteY29" fmla="*/ 5436 h 10560"/>
                <a:gd name="connsiteX30" fmla="*/ 1083 w 10000"/>
                <a:gd name="connsiteY30" fmla="*/ 3737 h 10560"/>
                <a:gd name="connsiteX31" fmla="*/ 2772 w 10000"/>
                <a:gd name="connsiteY31" fmla="*/ 3370 h 10560"/>
                <a:gd name="connsiteX0" fmla="*/ 2772 w 10000"/>
                <a:gd name="connsiteY0" fmla="*/ 3370 h 10560"/>
                <a:gd name="connsiteX1" fmla="*/ 3564 w 10000"/>
                <a:gd name="connsiteY1" fmla="*/ 2065 h 10560"/>
                <a:gd name="connsiteX2" fmla="*/ 2729 w 10000"/>
                <a:gd name="connsiteY2" fmla="*/ 1156 h 10560"/>
                <a:gd name="connsiteX3" fmla="*/ 3960 w 10000"/>
                <a:gd name="connsiteY3" fmla="*/ 761 h 10560"/>
                <a:gd name="connsiteX4" fmla="*/ 4675 w 10000"/>
                <a:gd name="connsiteY4" fmla="*/ 978 h 10560"/>
                <a:gd name="connsiteX5" fmla="*/ 4851 w 10000"/>
                <a:gd name="connsiteY5" fmla="*/ 870 h 10560"/>
                <a:gd name="connsiteX6" fmla="*/ 6040 w 10000"/>
                <a:gd name="connsiteY6" fmla="*/ 870 h 10560"/>
                <a:gd name="connsiteX7" fmla="*/ 5743 w 10000"/>
                <a:gd name="connsiteY7" fmla="*/ 217 h 10560"/>
                <a:gd name="connsiteX8" fmla="*/ 6634 w 10000"/>
                <a:gd name="connsiteY8" fmla="*/ 0 h 10560"/>
                <a:gd name="connsiteX9" fmla="*/ 8698 w 10000"/>
                <a:gd name="connsiteY9" fmla="*/ 1116 h 10560"/>
                <a:gd name="connsiteX10" fmla="*/ 9110 w 10000"/>
                <a:gd name="connsiteY10" fmla="*/ 2835 h 10560"/>
                <a:gd name="connsiteX11" fmla="*/ 9406 w 10000"/>
                <a:gd name="connsiteY11" fmla="*/ 3152 h 10560"/>
                <a:gd name="connsiteX12" fmla="*/ 10000 w 10000"/>
                <a:gd name="connsiteY12" fmla="*/ 3913 h 10560"/>
                <a:gd name="connsiteX13" fmla="*/ 9901 w 10000"/>
                <a:gd name="connsiteY13" fmla="*/ 4239 h 10560"/>
                <a:gd name="connsiteX14" fmla="*/ 8119 w 10000"/>
                <a:gd name="connsiteY14" fmla="*/ 6087 h 10560"/>
                <a:gd name="connsiteX15" fmla="*/ 7426 w 10000"/>
                <a:gd name="connsiteY15" fmla="*/ 6196 h 10560"/>
                <a:gd name="connsiteX16" fmla="*/ 7624 w 10000"/>
                <a:gd name="connsiteY16" fmla="*/ 6957 h 10560"/>
                <a:gd name="connsiteX17" fmla="*/ 8020 w 10000"/>
                <a:gd name="connsiteY17" fmla="*/ 7065 h 10560"/>
                <a:gd name="connsiteX18" fmla="*/ 7921 w 10000"/>
                <a:gd name="connsiteY18" fmla="*/ 9457 h 10560"/>
                <a:gd name="connsiteX19" fmla="*/ 7426 w 10000"/>
                <a:gd name="connsiteY19" fmla="*/ 9565 h 10560"/>
                <a:gd name="connsiteX20" fmla="*/ 7228 w 10000"/>
                <a:gd name="connsiteY20" fmla="*/ 9239 h 10560"/>
                <a:gd name="connsiteX21" fmla="*/ 6238 w 10000"/>
                <a:gd name="connsiteY21" fmla="*/ 10000 h 10560"/>
                <a:gd name="connsiteX22" fmla="*/ 5535 w 10000"/>
                <a:gd name="connsiteY22" fmla="*/ 9801 h 10560"/>
                <a:gd name="connsiteX23" fmla="*/ 3960 w 10000"/>
                <a:gd name="connsiteY23" fmla="*/ 8696 h 10560"/>
                <a:gd name="connsiteX24" fmla="*/ 3480 w 10000"/>
                <a:gd name="connsiteY24" fmla="*/ 9544 h 10560"/>
                <a:gd name="connsiteX25" fmla="*/ 2289 w 10000"/>
                <a:gd name="connsiteY25" fmla="*/ 10556 h 10560"/>
                <a:gd name="connsiteX26" fmla="*/ 1221 w 10000"/>
                <a:gd name="connsiteY26" fmla="*/ 10158 h 10560"/>
                <a:gd name="connsiteX27" fmla="*/ 792 w 10000"/>
                <a:gd name="connsiteY27" fmla="*/ 10000 h 10560"/>
                <a:gd name="connsiteX28" fmla="*/ 0 w 10000"/>
                <a:gd name="connsiteY28" fmla="*/ 10000 h 10560"/>
                <a:gd name="connsiteX29" fmla="*/ 428 w 10000"/>
                <a:gd name="connsiteY29" fmla="*/ 5436 h 10560"/>
                <a:gd name="connsiteX30" fmla="*/ 1083 w 10000"/>
                <a:gd name="connsiteY30" fmla="*/ 3737 h 10560"/>
                <a:gd name="connsiteX31" fmla="*/ 2772 w 10000"/>
                <a:gd name="connsiteY31" fmla="*/ 3370 h 10560"/>
                <a:gd name="connsiteX0" fmla="*/ 2772 w 10821"/>
                <a:gd name="connsiteY0" fmla="*/ 3370 h 10560"/>
                <a:gd name="connsiteX1" fmla="*/ 3564 w 10821"/>
                <a:gd name="connsiteY1" fmla="*/ 2065 h 10560"/>
                <a:gd name="connsiteX2" fmla="*/ 2729 w 10821"/>
                <a:gd name="connsiteY2" fmla="*/ 1156 h 10560"/>
                <a:gd name="connsiteX3" fmla="*/ 3960 w 10821"/>
                <a:gd name="connsiteY3" fmla="*/ 761 h 10560"/>
                <a:gd name="connsiteX4" fmla="*/ 4675 w 10821"/>
                <a:gd name="connsiteY4" fmla="*/ 978 h 10560"/>
                <a:gd name="connsiteX5" fmla="*/ 4851 w 10821"/>
                <a:gd name="connsiteY5" fmla="*/ 870 h 10560"/>
                <a:gd name="connsiteX6" fmla="*/ 6040 w 10821"/>
                <a:gd name="connsiteY6" fmla="*/ 870 h 10560"/>
                <a:gd name="connsiteX7" fmla="*/ 5743 w 10821"/>
                <a:gd name="connsiteY7" fmla="*/ 217 h 10560"/>
                <a:gd name="connsiteX8" fmla="*/ 6634 w 10821"/>
                <a:gd name="connsiteY8" fmla="*/ 0 h 10560"/>
                <a:gd name="connsiteX9" fmla="*/ 8698 w 10821"/>
                <a:gd name="connsiteY9" fmla="*/ 1116 h 10560"/>
                <a:gd name="connsiteX10" fmla="*/ 9110 w 10821"/>
                <a:gd name="connsiteY10" fmla="*/ 2835 h 10560"/>
                <a:gd name="connsiteX11" fmla="*/ 9406 w 10821"/>
                <a:gd name="connsiteY11" fmla="*/ 3152 h 10560"/>
                <a:gd name="connsiteX12" fmla="*/ 10821 w 10821"/>
                <a:gd name="connsiteY12" fmla="*/ 2678 h 10560"/>
                <a:gd name="connsiteX13" fmla="*/ 9901 w 10821"/>
                <a:gd name="connsiteY13" fmla="*/ 4239 h 10560"/>
                <a:gd name="connsiteX14" fmla="*/ 8119 w 10821"/>
                <a:gd name="connsiteY14" fmla="*/ 6087 h 10560"/>
                <a:gd name="connsiteX15" fmla="*/ 7426 w 10821"/>
                <a:gd name="connsiteY15" fmla="*/ 6196 h 10560"/>
                <a:gd name="connsiteX16" fmla="*/ 7624 w 10821"/>
                <a:gd name="connsiteY16" fmla="*/ 6957 h 10560"/>
                <a:gd name="connsiteX17" fmla="*/ 8020 w 10821"/>
                <a:gd name="connsiteY17" fmla="*/ 7065 h 10560"/>
                <a:gd name="connsiteX18" fmla="*/ 7921 w 10821"/>
                <a:gd name="connsiteY18" fmla="*/ 9457 h 10560"/>
                <a:gd name="connsiteX19" fmla="*/ 7426 w 10821"/>
                <a:gd name="connsiteY19" fmla="*/ 9565 h 10560"/>
                <a:gd name="connsiteX20" fmla="*/ 7228 w 10821"/>
                <a:gd name="connsiteY20" fmla="*/ 9239 h 10560"/>
                <a:gd name="connsiteX21" fmla="*/ 6238 w 10821"/>
                <a:gd name="connsiteY21" fmla="*/ 10000 h 10560"/>
                <a:gd name="connsiteX22" fmla="*/ 5535 w 10821"/>
                <a:gd name="connsiteY22" fmla="*/ 9801 h 10560"/>
                <a:gd name="connsiteX23" fmla="*/ 3960 w 10821"/>
                <a:gd name="connsiteY23" fmla="*/ 8696 h 10560"/>
                <a:gd name="connsiteX24" fmla="*/ 3480 w 10821"/>
                <a:gd name="connsiteY24" fmla="*/ 9544 h 10560"/>
                <a:gd name="connsiteX25" fmla="*/ 2289 w 10821"/>
                <a:gd name="connsiteY25" fmla="*/ 10556 h 10560"/>
                <a:gd name="connsiteX26" fmla="*/ 1221 w 10821"/>
                <a:gd name="connsiteY26" fmla="*/ 10158 h 10560"/>
                <a:gd name="connsiteX27" fmla="*/ 792 w 10821"/>
                <a:gd name="connsiteY27" fmla="*/ 10000 h 10560"/>
                <a:gd name="connsiteX28" fmla="*/ 0 w 10821"/>
                <a:gd name="connsiteY28" fmla="*/ 10000 h 10560"/>
                <a:gd name="connsiteX29" fmla="*/ 428 w 10821"/>
                <a:gd name="connsiteY29" fmla="*/ 5436 h 10560"/>
                <a:gd name="connsiteX30" fmla="*/ 1083 w 10821"/>
                <a:gd name="connsiteY30" fmla="*/ 3737 h 10560"/>
                <a:gd name="connsiteX31" fmla="*/ 2772 w 10821"/>
                <a:gd name="connsiteY31" fmla="*/ 3370 h 10560"/>
                <a:gd name="connsiteX0" fmla="*/ 2772 w 10821"/>
                <a:gd name="connsiteY0" fmla="*/ 3370 h 10560"/>
                <a:gd name="connsiteX1" fmla="*/ 3564 w 10821"/>
                <a:gd name="connsiteY1" fmla="*/ 2065 h 10560"/>
                <a:gd name="connsiteX2" fmla="*/ 2729 w 10821"/>
                <a:gd name="connsiteY2" fmla="*/ 1156 h 10560"/>
                <a:gd name="connsiteX3" fmla="*/ 3960 w 10821"/>
                <a:gd name="connsiteY3" fmla="*/ 761 h 10560"/>
                <a:gd name="connsiteX4" fmla="*/ 4675 w 10821"/>
                <a:gd name="connsiteY4" fmla="*/ 978 h 10560"/>
                <a:gd name="connsiteX5" fmla="*/ 4851 w 10821"/>
                <a:gd name="connsiteY5" fmla="*/ 870 h 10560"/>
                <a:gd name="connsiteX6" fmla="*/ 6040 w 10821"/>
                <a:gd name="connsiteY6" fmla="*/ 870 h 10560"/>
                <a:gd name="connsiteX7" fmla="*/ 5743 w 10821"/>
                <a:gd name="connsiteY7" fmla="*/ 217 h 10560"/>
                <a:gd name="connsiteX8" fmla="*/ 6634 w 10821"/>
                <a:gd name="connsiteY8" fmla="*/ 0 h 10560"/>
                <a:gd name="connsiteX9" fmla="*/ 8698 w 10821"/>
                <a:gd name="connsiteY9" fmla="*/ 1116 h 10560"/>
                <a:gd name="connsiteX10" fmla="*/ 9110 w 10821"/>
                <a:gd name="connsiteY10" fmla="*/ 2835 h 10560"/>
                <a:gd name="connsiteX11" fmla="*/ 10466 w 10821"/>
                <a:gd name="connsiteY11" fmla="*/ 2360 h 10560"/>
                <a:gd name="connsiteX12" fmla="*/ 10821 w 10821"/>
                <a:gd name="connsiteY12" fmla="*/ 2678 h 10560"/>
                <a:gd name="connsiteX13" fmla="*/ 9901 w 10821"/>
                <a:gd name="connsiteY13" fmla="*/ 4239 h 10560"/>
                <a:gd name="connsiteX14" fmla="*/ 8119 w 10821"/>
                <a:gd name="connsiteY14" fmla="*/ 6087 h 10560"/>
                <a:gd name="connsiteX15" fmla="*/ 7426 w 10821"/>
                <a:gd name="connsiteY15" fmla="*/ 6196 h 10560"/>
                <a:gd name="connsiteX16" fmla="*/ 7624 w 10821"/>
                <a:gd name="connsiteY16" fmla="*/ 6957 h 10560"/>
                <a:gd name="connsiteX17" fmla="*/ 8020 w 10821"/>
                <a:gd name="connsiteY17" fmla="*/ 7065 h 10560"/>
                <a:gd name="connsiteX18" fmla="*/ 7921 w 10821"/>
                <a:gd name="connsiteY18" fmla="*/ 9457 h 10560"/>
                <a:gd name="connsiteX19" fmla="*/ 7426 w 10821"/>
                <a:gd name="connsiteY19" fmla="*/ 9565 h 10560"/>
                <a:gd name="connsiteX20" fmla="*/ 7228 w 10821"/>
                <a:gd name="connsiteY20" fmla="*/ 9239 h 10560"/>
                <a:gd name="connsiteX21" fmla="*/ 6238 w 10821"/>
                <a:gd name="connsiteY21" fmla="*/ 10000 h 10560"/>
                <a:gd name="connsiteX22" fmla="*/ 5535 w 10821"/>
                <a:gd name="connsiteY22" fmla="*/ 9801 h 10560"/>
                <a:gd name="connsiteX23" fmla="*/ 3960 w 10821"/>
                <a:gd name="connsiteY23" fmla="*/ 8696 h 10560"/>
                <a:gd name="connsiteX24" fmla="*/ 3480 w 10821"/>
                <a:gd name="connsiteY24" fmla="*/ 9544 h 10560"/>
                <a:gd name="connsiteX25" fmla="*/ 2289 w 10821"/>
                <a:gd name="connsiteY25" fmla="*/ 10556 h 10560"/>
                <a:gd name="connsiteX26" fmla="*/ 1221 w 10821"/>
                <a:gd name="connsiteY26" fmla="*/ 10158 h 10560"/>
                <a:gd name="connsiteX27" fmla="*/ 792 w 10821"/>
                <a:gd name="connsiteY27" fmla="*/ 10000 h 10560"/>
                <a:gd name="connsiteX28" fmla="*/ 0 w 10821"/>
                <a:gd name="connsiteY28" fmla="*/ 10000 h 10560"/>
                <a:gd name="connsiteX29" fmla="*/ 428 w 10821"/>
                <a:gd name="connsiteY29" fmla="*/ 5436 h 10560"/>
                <a:gd name="connsiteX30" fmla="*/ 1083 w 10821"/>
                <a:gd name="connsiteY30" fmla="*/ 3737 h 10560"/>
                <a:gd name="connsiteX31" fmla="*/ 2772 w 10821"/>
                <a:gd name="connsiteY31" fmla="*/ 3370 h 10560"/>
                <a:gd name="connsiteX0" fmla="*/ 2772 w 10821"/>
                <a:gd name="connsiteY0" fmla="*/ 3370 h 10560"/>
                <a:gd name="connsiteX1" fmla="*/ 3564 w 10821"/>
                <a:gd name="connsiteY1" fmla="*/ 2065 h 10560"/>
                <a:gd name="connsiteX2" fmla="*/ 2729 w 10821"/>
                <a:gd name="connsiteY2" fmla="*/ 1156 h 10560"/>
                <a:gd name="connsiteX3" fmla="*/ 3960 w 10821"/>
                <a:gd name="connsiteY3" fmla="*/ 761 h 10560"/>
                <a:gd name="connsiteX4" fmla="*/ 4675 w 10821"/>
                <a:gd name="connsiteY4" fmla="*/ 978 h 10560"/>
                <a:gd name="connsiteX5" fmla="*/ 4851 w 10821"/>
                <a:gd name="connsiteY5" fmla="*/ 870 h 10560"/>
                <a:gd name="connsiteX6" fmla="*/ 6040 w 10821"/>
                <a:gd name="connsiteY6" fmla="*/ 870 h 10560"/>
                <a:gd name="connsiteX7" fmla="*/ 5743 w 10821"/>
                <a:gd name="connsiteY7" fmla="*/ 217 h 10560"/>
                <a:gd name="connsiteX8" fmla="*/ 6634 w 10821"/>
                <a:gd name="connsiteY8" fmla="*/ 0 h 10560"/>
                <a:gd name="connsiteX9" fmla="*/ 8698 w 10821"/>
                <a:gd name="connsiteY9" fmla="*/ 1116 h 10560"/>
                <a:gd name="connsiteX10" fmla="*/ 9658 w 10821"/>
                <a:gd name="connsiteY10" fmla="*/ 2252 h 10560"/>
                <a:gd name="connsiteX11" fmla="*/ 10466 w 10821"/>
                <a:gd name="connsiteY11" fmla="*/ 2360 h 10560"/>
                <a:gd name="connsiteX12" fmla="*/ 10821 w 10821"/>
                <a:gd name="connsiteY12" fmla="*/ 2678 h 10560"/>
                <a:gd name="connsiteX13" fmla="*/ 9901 w 10821"/>
                <a:gd name="connsiteY13" fmla="*/ 4239 h 10560"/>
                <a:gd name="connsiteX14" fmla="*/ 8119 w 10821"/>
                <a:gd name="connsiteY14" fmla="*/ 6087 h 10560"/>
                <a:gd name="connsiteX15" fmla="*/ 7426 w 10821"/>
                <a:gd name="connsiteY15" fmla="*/ 6196 h 10560"/>
                <a:gd name="connsiteX16" fmla="*/ 7624 w 10821"/>
                <a:gd name="connsiteY16" fmla="*/ 6957 h 10560"/>
                <a:gd name="connsiteX17" fmla="*/ 8020 w 10821"/>
                <a:gd name="connsiteY17" fmla="*/ 7065 h 10560"/>
                <a:gd name="connsiteX18" fmla="*/ 7921 w 10821"/>
                <a:gd name="connsiteY18" fmla="*/ 9457 h 10560"/>
                <a:gd name="connsiteX19" fmla="*/ 7426 w 10821"/>
                <a:gd name="connsiteY19" fmla="*/ 9565 h 10560"/>
                <a:gd name="connsiteX20" fmla="*/ 7228 w 10821"/>
                <a:gd name="connsiteY20" fmla="*/ 9239 h 10560"/>
                <a:gd name="connsiteX21" fmla="*/ 6238 w 10821"/>
                <a:gd name="connsiteY21" fmla="*/ 10000 h 10560"/>
                <a:gd name="connsiteX22" fmla="*/ 5535 w 10821"/>
                <a:gd name="connsiteY22" fmla="*/ 9801 h 10560"/>
                <a:gd name="connsiteX23" fmla="*/ 3960 w 10821"/>
                <a:gd name="connsiteY23" fmla="*/ 8696 h 10560"/>
                <a:gd name="connsiteX24" fmla="*/ 3480 w 10821"/>
                <a:gd name="connsiteY24" fmla="*/ 9544 h 10560"/>
                <a:gd name="connsiteX25" fmla="*/ 2289 w 10821"/>
                <a:gd name="connsiteY25" fmla="*/ 10556 h 10560"/>
                <a:gd name="connsiteX26" fmla="*/ 1221 w 10821"/>
                <a:gd name="connsiteY26" fmla="*/ 10158 h 10560"/>
                <a:gd name="connsiteX27" fmla="*/ 792 w 10821"/>
                <a:gd name="connsiteY27" fmla="*/ 10000 h 10560"/>
                <a:gd name="connsiteX28" fmla="*/ 0 w 10821"/>
                <a:gd name="connsiteY28" fmla="*/ 10000 h 10560"/>
                <a:gd name="connsiteX29" fmla="*/ 428 w 10821"/>
                <a:gd name="connsiteY29" fmla="*/ 5436 h 10560"/>
                <a:gd name="connsiteX30" fmla="*/ 1083 w 10821"/>
                <a:gd name="connsiteY30" fmla="*/ 3737 h 10560"/>
                <a:gd name="connsiteX31" fmla="*/ 2772 w 10821"/>
                <a:gd name="connsiteY31" fmla="*/ 3370 h 10560"/>
                <a:gd name="connsiteX0" fmla="*/ 2772 w 10821"/>
                <a:gd name="connsiteY0" fmla="*/ 3370 h 10560"/>
                <a:gd name="connsiteX1" fmla="*/ 3564 w 10821"/>
                <a:gd name="connsiteY1" fmla="*/ 2065 h 10560"/>
                <a:gd name="connsiteX2" fmla="*/ 2729 w 10821"/>
                <a:gd name="connsiteY2" fmla="*/ 1156 h 10560"/>
                <a:gd name="connsiteX3" fmla="*/ 3960 w 10821"/>
                <a:gd name="connsiteY3" fmla="*/ 761 h 10560"/>
                <a:gd name="connsiteX4" fmla="*/ 4675 w 10821"/>
                <a:gd name="connsiteY4" fmla="*/ 978 h 10560"/>
                <a:gd name="connsiteX5" fmla="*/ 4851 w 10821"/>
                <a:gd name="connsiteY5" fmla="*/ 870 h 10560"/>
                <a:gd name="connsiteX6" fmla="*/ 6040 w 10821"/>
                <a:gd name="connsiteY6" fmla="*/ 870 h 10560"/>
                <a:gd name="connsiteX7" fmla="*/ 5743 w 10821"/>
                <a:gd name="connsiteY7" fmla="*/ 217 h 10560"/>
                <a:gd name="connsiteX8" fmla="*/ 6634 w 10821"/>
                <a:gd name="connsiteY8" fmla="*/ 0 h 10560"/>
                <a:gd name="connsiteX9" fmla="*/ 8698 w 10821"/>
                <a:gd name="connsiteY9" fmla="*/ 1116 h 10560"/>
                <a:gd name="connsiteX10" fmla="*/ 9658 w 10821"/>
                <a:gd name="connsiteY10" fmla="*/ 2252 h 10560"/>
                <a:gd name="connsiteX11" fmla="*/ 10466 w 10821"/>
                <a:gd name="connsiteY11" fmla="*/ 2360 h 10560"/>
                <a:gd name="connsiteX12" fmla="*/ 10821 w 10821"/>
                <a:gd name="connsiteY12" fmla="*/ 2678 h 10560"/>
                <a:gd name="connsiteX13" fmla="*/ 9901 w 10821"/>
                <a:gd name="connsiteY13" fmla="*/ 4239 h 10560"/>
                <a:gd name="connsiteX14" fmla="*/ 8119 w 10821"/>
                <a:gd name="connsiteY14" fmla="*/ 6087 h 10560"/>
                <a:gd name="connsiteX15" fmla="*/ 7426 w 10821"/>
                <a:gd name="connsiteY15" fmla="*/ 6196 h 10560"/>
                <a:gd name="connsiteX16" fmla="*/ 7624 w 10821"/>
                <a:gd name="connsiteY16" fmla="*/ 6957 h 10560"/>
                <a:gd name="connsiteX17" fmla="*/ 8882 w 10821"/>
                <a:gd name="connsiteY17" fmla="*/ 8337 h 10560"/>
                <a:gd name="connsiteX18" fmla="*/ 7921 w 10821"/>
                <a:gd name="connsiteY18" fmla="*/ 9457 h 10560"/>
                <a:gd name="connsiteX19" fmla="*/ 7426 w 10821"/>
                <a:gd name="connsiteY19" fmla="*/ 9565 h 10560"/>
                <a:gd name="connsiteX20" fmla="*/ 7228 w 10821"/>
                <a:gd name="connsiteY20" fmla="*/ 9239 h 10560"/>
                <a:gd name="connsiteX21" fmla="*/ 6238 w 10821"/>
                <a:gd name="connsiteY21" fmla="*/ 10000 h 10560"/>
                <a:gd name="connsiteX22" fmla="*/ 5535 w 10821"/>
                <a:gd name="connsiteY22" fmla="*/ 9801 h 10560"/>
                <a:gd name="connsiteX23" fmla="*/ 3960 w 10821"/>
                <a:gd name="connsiteY23" fmla="*/ 8696 h 10560"/>
                <a:gd name="connsiteX24" fmla="*/ 3480 w 10821"/>
                <a:gd name="connsiteY24" fmla="*/ 9544 h 10560"/>
                <a:gd name="connsiteX25" fmla="*/ 2289 w 10821"/>
                <a:gd name="connsiteY25" fmla="*/ 10556 h 10560"/>
                <a:gd name="connsiteX26" fmla="*/ 1221 w 10821"/>
                <a:gd name="connsiteY26" fmla="*/ 10158 h 10560"/>
                <a:gd name="connsiteX27" fmla="*/ 792 w 10821"/>
                <a:gd name="connsiteY27" fmla="*/ 10000 h 10560"/>
                <a:gd name="connsiteX28" fmla="*/ 0 w 10821"/>
                <a:gd name="connsiteY28" fmla="*/ 10000 h 10560"/>
                <a:gd name="connsiteX29" fmla="*/ 428 w 10821"/>
                <a:gd name="connsiteY29" fmla="*/ 5436 h 10560"/>
                <a:gd name="connsiteX30" fmla="*/ 1083 w 10821"/>
                <a:gd name="connsiteY30" fmla="*/ 3737 h 10560"/>
                <a:gd name="connsiteX31" fmla="*/ 2772 w 10821"/>
                <a:gd name="connsiteY31" fmla="*/ 3370 h 10560"/>
                <a:gd name="connsiteX0" fmla="*/ 2772 w 10821"/>
                <a:gd name="connsiteY0" fmla="*/ 3370 h 10560"/>
                <a:gd name="connsiteX1" fmla="*/ 3564 w 10821"/>
                <a:gd name="connsiteY1" fmla="*/ 2065 h 10560"/>
                <a:gd name="connsiteX2" fmla="*/ 2729 w 10821"/>
                <a:gd name="connsiteY2" fmla="*/ 1156 h 10560"/>
                <a:gd name="connsiteX3" fmla="*/ 3960 w 10821"/>
                <a:gd name="connsiteY3" fmla="*/ 761 h 10560"/>
                <a:gd name="connsiteX4" fmla="*/ 4675 w 10821"/>
                <a:gd name="connsiteY4" fmla="*/ 978 h 10560"/>
                <a:gd name="connsiteX5" fmla="*/ 4851 w 10821"/>
                <a:gd name="connsiteY5" fmla="*/ 870 h 10560"/>
                <a:gd name="connsiteX6" fmla="*/ 6040 w 10821"/>
                <a:gd name="connsiteY6" fmla="*/ 870 h 10560"/>
                <a:gd name="connsiteX7" fmla="*/ 5743 w 10821"/>
                <a:gd name="connsiteY7" fmla="*/ 217 h 10560"/>
                <a:gd name="connsiteX8" fmla="*/ 6634 w 10821"/>
                <a:gd name="connsiteY8" fmla="*/ 0 h 10560"/>
                <a:gd name="connsiteX9" fmla="*/ 8698 w 10821"/>
                <a:gd name="connsiteY9" fmla="*/ 1116 h 10560"/>
                <a:gd name="connsiteX10" fmla="*/ 9658 w 10821"/>
                <a:gd name="connsiteY10" fmla="*/ 2252 h 10560"/>
                <a:gd name="connsiteX11" fmla="*/ 10466 w 10821"/>
                <a:gd name="connsiteY11" fmla="*/ 2360 h 10560"/>
                <a:gd name="connsiteX12" fmla="*/ 10821 w 10821"/>
                <a:gd name="connsiteY12" fmla="*/ 2678 h 10560"/>
                <a:gd name="connsiteX13" fmla="*/ 9901 w 10821"/>
                <a:gd name="connsiteY13" fmla="*/ 4239 h 10560"/>
                <a:gd name="connsiteX14" fmla="*/ 8119 w 10821"/>
                <a:gd name="connsiteY14" fmla="*/ 6087 h 10560"/>
                <a:gd name="connsiteX15" fmla="*/ 7426 w 10821"/>
                <a:gd name="connsiteY15" fmla="*/ 6196 h 10560"/>
                <a:gd name="connsiteX16" fmla="*/ 9573 w 10821"/>
                <a:gd name="connsiteY16" fmla="*/ 7516 h 10560"/>
                <a:gd name="connsiteX17" fmla="*/ 8882 w 10821"/>
                <a:gd name="connsiteY17" fmla="*/ 8337 h 10560"/>
                <a:gd name="connsiteX18" fmla="*/ 7921 w 10821"/>
                <a:gd name="connsiteY18" fmla="*/ 9457 h 10560"/>
                <a:gd name="connsiteX19" fmla="*/ 7426 w 10821"/>
                <a:gd name="connsiteY19" fmla="*/ 9565 h 10560"/>
                <a:gd name="connsiteX20" fmla="*/ 7228 w 10821"/>
                <a:gd name="connsiteY20" fmla="*/ 9239 h 10560"/>
                <a:gd name="connsiteX21" fmla="*/ 6238 w 10821"/>
                <a:gd name="connsiteY21" fmla="*/ 10000 h 10560"/>
                <a:gd name="connsiteX22" fmla="*/ 5535 w 10821"/>
                <a:gd name="connsiteY22" fmla="*/ 9801 h 10560"/>
                <a:gd name="connsiteX23" fmla="*/ 3960 w 10821"/>
                <a:gd name="connsiteY23" fmla="*/ 8696 h 10560"/>
                <a:gd name="connsiteX24" fmla="*/ 3480 w 10821"/>
                <a:gd name="connsiteY24" fmla="*/ 9544 h 10560"/>
                <a:gd name="connsiteX25" fmla="*/ 2289 w 10821"/>
                <a:gd name="connsiteY25" fmla="*/ 10556 h 10560"/>
                <a:gd name="connsiteX26" fmla="*/ 1221 w 10821"/>
                <a:gd name="connsiteY26" fmla="*/ 10158 h 10560"/>
                <a:gd name="connsiteX27" fmla="*/ 792 w 10821"/>
                <a:gd name="connsiteY27" fmla="*/ 10000 h 10560"/>
                <a:gd name="connsiteX28" fmla="*/ 0 w 10821"/>
                <a:gd name="connsiteY28" fmla="*/ 10000 h 10560"/>
                <a:gd name="connsiteX29" fmla="*/ 428 w 10821"/>
                <a:gd name="connsiteY29" fmla="*/ 5436 h 10560"/>
                <a:gd name="connsiteX30" fmla="*/ 1083 w 10821"/>
                <a:gd name="connsiteY30" fmla="*/ 3737 h 10560"/>
                <a:gd name="connsiteX31" fmla="*/ 2772 w 10821"/>
                <a:gd name="connsiteY31" fmla="*/ 3370 h 10560"/>
                <a:gd name="connsiteX0" fmla="*/ 2772 w 10821"/>
                <a:gd name="connsiteY0" fmla="*/ 3370 h 10560"/>
                <a:gd name="connsiteX1" fmla="*/ 3564 w 10821"/>
                <a:gd name="connsiteY1" fmla="*/ 2065 h 10560"/>
                <a:gd name="connsiteX2" fmla="*/ 2729 w 10821"/>
                <a:gd name="connsiteY2" fmla="*/ 1156 h 10560"/>
                <a:gd name="connsiteX3" fmla="*/ 3960 w 10821"/>
                <a:gd name="connsiteY3" fmla="*/ 761 h 10560"/>
                <a:gd name="connsiteX4" fmla="*/ 4675 w 10821"/>
                <a:gd name="connsiteY4" fmla="*/ 978 h 10560"/>
                <a:gd name="connsiteX5" fmla="*/ 4851 w 10821"/>
                <a:gd name="connsiteY5" fmla="*/ 870 h 10560"/>
                <a:gd name="connsiteX6" fmla="*/ 6040 w 10821"/>
                <a:gd name="connsiteY6" fmla="*/ 870 h 10560"/>
                <a:gd name="connsiteX7" fmla="*/ 5743 w 10821"/>
                <a:gd name="connsiteY7" fmla="*/ 217 h 10560"/>
                <a:gd name="connsiteX8" fmla="*/ 6634 w 10821"/>
                <a:gd name="connsiteY8" fmla="*/ 0 h 10560"/>
                <a:gd name="connsiteX9" fmla="*/ 8698 w 10821"/>
                <a:gd name="connsiteY9" fmla="*/ 1116 h 10560"/>
                <a:gd name="connsiteX10" fmla="*/ 9658 w 10821"/>
                <a:gd name="connsiteY10" fmla="*/ 2252 h 10560"/>
                <a:gd name="connsiteX11" fmla="*/ 10466 w 10821"/>
                <a:gd name="connsiteY11" fmla="*/ 2360 h 10560"/>
                <a:gd name="connsiteX12" fmla="*/ 10821 w 10821"/>
                <a:gd name="connsiteY12" fmla="*/ 2678 h 10560"/>
                <a:gd name="connsiteX13" fmla="*/ 9901 w 10821"/>
                <a:gd name="connsiteY13" fmla="*/ 4239 h 10560"/>
                <a:gd name="connsiteX14" fmla="*/ 9235 w 10821"/>
                <a:gd name="connsiteY14" fmla="*/ 6174 h 10560"/>
                <a:gd name="connsiteX15" fmla="*/ 7426 w 10821"/>
                <a:gd name="connsiteY15" fmla="*/ 6196 h 10560"/>
                <a:gd name="connsiteX16" fmla="*/ 9573 w 10821"/>
                <a:gd name="connsiteY16" fmla="*/ 7516 h 10560"/>
                <a:gd name="connsiteX17" fmla="*/ 8882 w 10821"/>
                <a:gd name="connsiteY17" fmla="*/ 8337 h 10560"/>
                <a:gd name="connsiteX18" fmla="*/ 7921 w 10821"/>
                <a:gd name="connsiteY18" fmla="*/ 9457 h 10560"/>
                <a:gd name="connsiteX19" fmla="*/ 7426 w 10821"/>
                <a:gd name="connsiteY19" fmla="*/ 9565 h 10560"/>
                <a:gd name="connsiteX20" fmla="*/ 7228 w 10821"/>
                <a:gd name="connsiteY20" fmla="*/ 9239 h 10560"/>
                <a:gd name="connsiteX21" fmla="*/ 6238 w 10821"/>
                <a:gd name="connsiteY21" fmla="*/ 10000 h 10560"/>
                <a:gd name="connsiteX22" fmla="*/ 5535 w 10821"/>
                <a:gd name="connsiteY22" fmla="*/ 9801 h 10560"/>
                <a:gd name="connsiteX23" fmla="*/ 3960 w 10821"/>
                <a:gd name="connsiteY23" fmla="*/ 8696 h 10560"/>
                <a:gd name="connsiteX24" fmla="*/ 3480 w 10821"/>
                <a:gd name="connsiteY24" fmla="*/ 9544 h 10560"/>
                <a:gd name="connsiteX25" fmla="*/ 2289 w 10821"/>
                <a:gd name="connsiteY25" fmla="*/ 10556 h 10560"/>
                <a:gd name="connsiteX26" fmla="*/ 1221 w 10821"/>
                <a:gd name="connsiteY26" fmla="*/ 10158 h 10560"/>
                <a:gd name="connsiteX27" fmla="*/ 792 w 10821"/>
                <a:gd name="connsiteY27" fmla="*/ 10000 h 10560"/>
                <a:gd name="connsiteX28" fmla="*/ 0 w 10821"/>
                <a:gd name="connsiteY28" fmla="*/ 10000 h 10560"/>
                <a:gd name="connsiteX29" fmla="*/ 428 w 10821"/>
                <a:gd name="connsiteY29" fmla="*/ 5436 h 10560"/>
                <a:gd name="connsiteX30" fmla="*/ 1083 w 10821"/>
                <a:gd name="connsiteY30" fmla="*/ 3737 h 10560"/>
                <a:gd name="connsiteX31" fmla="*/ 2772 w 10821"/>
                <a:gd name="connsiteY31" fmla="*/ 3370 h 10560"/>
                <a:gd name="connsiteX0" fmla="*/ 2772 w 10821"/>
                <a:gd name="connsiteY0" fmla="*/ 3370 h 10560"/>
                <a:gd name="connsiteX1" fmla="*/ 3564 w 10821"/>
                <a:gd name="connsiteY1" fmla="*/ 2065 h 10560"/>
                <a:gd name="connsiteX2" fmla="*/ 2729 w 10821"/>
                <a:gd name="connsiteY2" fmla="*/ 1156 h 10560"/>
                <a:gd name="connsiteX3" fmla="*/ 3960 w 10821"/>
                <a:gd name="connsiteY3" fmla="*/ 761 h 10560"/>
                <a:gd name="connsiteX4" fmla="*/ 4675 w 10821"/>
                <a:gd name="connsiteY4" fmla="*/ 978 h 10560"/>
                <a:gd name="connsiteX5" fmla="*/ 4851 w 10821"/>
                <a:gd name="connsiteY5" fmla="*/ 870 h 10560"/>
                <a:gd name="connsiteX6" fmla="*/ 6040 w 10821"/>
                <a:gd name="connsiteY6" fmla="*/ 870 h 10560"/>
                <a:gd name="connsiteX7" fmla="*/ 5743 w 10821"/>
                <a:gd name="connsiteY7" fmla="*/ 217 h 10560"/>
                <a:gd name="connsiteX8" fmla="*/ 6634 w 10821"/>
                <a:gd name="connsiteY8" fmla="*/ 0 h 10560"/>
                <a:gd name="connsiteX9" fmla="*/ 8698 w 10821"/>
                <a:gd name="connsiteY9" fmla="*/ 1116 h 10560"/>
                <a:gd name="connsiteX10" fmla="*/ 9658 w 10821"/>
                <a:gd name="connsiteY10" fmla="*/ 2252 h 10560"/>
                <a:gd name="connsiteX11" fmla="*/ 10466 w 10821"/>
                <a:gd name="connsiteY11" fmla="*/ 2360 h 10560"/>
                <a:gd name="connsiteX12" fmla="*/ 10821 w 10821"/>
                <a:gd name="connsiteY12" fmla="*/ 2678 h 10560"/>
                <a:gd name="connsiteX13" fmla="*/ 9901 w 10821"/>
                <a:gd name="connsiteY13" fmla="*/ 4239 h 10560"/>
                <a:gd name="connsiteX14" fmla="*/ 9235 w 10821"/>
                <a:gd name="connsiteY14" fmla="*/ 6174 h 10560"/>
                <a:gd name="connsiteX15" fmla="*/ 9412 w 10821"/>
                <a:gd name="connsiteY15" fmla="*/ 7101 h 10560"/>
                <a:gd name="connsiteX16" fmla="*/ 9573 w 10821"/>
                <a:gd name="connsiteY16" fmla="*/ 7516 h 10560"/>
                <a:gd name="connsiteX17" fmla="*/ 8882 w 10821"/>
                <a:gd name="connsiteY17" fmla="*/ 8337 h 10560"/>
                <a:gd name="connsiteX18" fmla="*/ 7921 w 10821"/>
                <a:gd name="connsiteY18" fmla="*/ 9457 h 10560"/>
                <a:gd name="connsiteX19" fmla="*/ 7426 w 10821"/>
                <a:gd name="connsiteY19" fmla="*/ 9565 h 10560"/>
                <a:gd name="connsiteX20" fmla="*/ 7228 w 10821"/>
                <a:gd name="connsiteY20" fmla="*/ 9239 h 10560"/>
                <a:gd name="connsiteX21" fmla="*/ 6238 w 10821"/>
                <a:gd name="connsiteY21" fmla="*/ 10000 h 10560"/>
                <a:gd name="connsiteX22" fmla="*/ 5535 w 10821"/>
                <a:gd name="connsiteY22" fmla="*/ 9801 h 10560"/>
                <a:gd name="connsiteX23" fmla="*/ 3960 w 10821"/>
                <a:gd name="connsiteY23" fmla="*/ 8696 h 10560"/>
                <a:gd name="connsiteX24" fmla="*/ 3480 w 10821"/>
                <a:gd name="connsiteY24" fmla="*/ 9544 h 10560"/>
                <a:gd name="connsiteX25" fmla="*/ 2289 w 10821"/>
                <a:gd name="connsiteY25" fmla="*/ 10556 h 10560"/>
                <a:gd name="connsiteX26" fmla="*/ 1221 w 10821"/>
                <a:gd name="connsiteY26" fmla="*/ 10158 h 10560"/>
                <a:gd name="connsiteX27" fmla="*/ 792 w 10821"/>
                <a:gd name="connsiteY27" fmla="*/ 10000 h 10560"/>
                <a:gd name="connsiteX28" fmla="*/ 0 w 10821"/>
                <a:gd name="connsiteY28" fmla="*/ 10000 h 10560"/>
                <a:gd name="connsiteX29" fmla="*/ 428 w 10821"/>
                <a:gd name="connsiteY29" fmla="*/ 5436 h 10560"/>
                <a:gd name="connsiteX30" fmla="*/ 1083 w 10821"/>
                <a:gd name="connsiteY30" fmla="*/ 3737 h 10560"/>
                <a:gd name="connsiteX31" fmla="*/ 2772 w 10821"/>
                <a:gd name="connsiteY31" fmla="*/ 3370 h 10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821" h="10560">
                  <a:moveTo>
                    <a:pt x="2772" y="3370"/>
                  </a:moveTo>
                  <a:lnTo>
                    <a:pt x="3564" y="2065"/>
                  </a:lnTo>
                  <a:lnTo>
                    <a:pt x="2729" y="1156"/>
                  </a:lnTo>
                  <a:lnTo>
                    <a:pt x="3960" y="761"/>
                  </a:lnTo>
                  <a:lnTo>
                    <a:pt x="4675" y="978"/>
                  </a:lnTo>
                  <a:lnTo>
                    <a:pt x="4851" y="870"/>
                  </a:lnTo>
                  <a:lnTo>
                    <a:pt x="6040" y="870"/>
                  </a:lnTo>
                  <a:lnTo>
                    <a:pt x="5743" y="217"/>
                  </a:lnTo>
                  <a:lnTo>
                    <a:pt x="6634" y="0"/>
                  </a:lnTo>
                  <a:lnTo>
                    <a:pt x="8698" y="1116"/>
                  </a:lnTo>
                  <a:cubicBezTo>
                    <a:pt x="8835" y="1689"/>
                    <a:pt x="9521" y="1679"/>
                    <a:pt x="9658" y="2252"/>
                  </a:cubicBezTo>
                  <a:lnTo>
                    <a:pt x="10466" y="2360"/>
                  </a:lnTo>
                  <a:lnTo>
                    <a:pt x="10821" y="2678"/>
                  </a:lnTo>
                  <a:cubicBezTo>
                    <a:pt x="10788" y="2787"/>
                    <a:pt x="9934" y="4130"/>
                    <a:pt x="9901" y="4239"/>
                  </a:cubicBezTo>
                  <a:lnTo>
                    <a:pt x="9235" y="6174"/>
                  </a:lnTo>
                  <a:lnTo>
                    <a:pt x="9412" y="7101"/>
                  </a:lnTo>
                  <a:cubicBezTo>
                    <a:pt x="9466" y="7239"/>
                    <a:pt x="9519" y="7378"/>
                    <a:pt x="9573" y="7516"/>
                  </a:cubicBezTo>
                  <a:lnTo>
                    <a:pt x="8882" y="8337"/>
                  </a:lnTo>
                  <a:cubicBezTo>
                    <a:pt x="8849" y="9134"/>
                    <a:pt x="7954" y="8660"/>
                    <a:pt x="7921" y="9457"/>
                  </a:cubicBezTo>
                  <a:lnTo>
                    <a:pt x="7426" y="9565"/>
                  </a:lnTo>
                  <a:lnTo>
                    <a:pt x="7228" y="9239"/>
                  </a:lnTo>
                  <a:lnTo>
                    <a:pt x="6238" y="10000"/>
                  </a:lnTo>
                  <a:lnTo>
                    <a:pt x="5535" y="9801"/>
                  </a:lnTo>
                  <a:lnTo>
                    <a:pt x="3960" y="8696"/>
                  </a:lnTo>
                  <a:lnTo>
                    <a:pt x="3480" y="9544"/>
                  </a:lnTo>
                  <a:cubicBezTo>
                    <a:pt x="2936" y="9460"/>
                    <a:pt x="2833" y="10640"/>
                    <a:pt x="2289" y="10556"/>
                  </a:cubicBezTo>
                  <a:lnTo>
                    <a:pt x="1221" y="10158"/>
                  </a:lnTo>
                  <a:lnTo>
                    <a:pt x="792" y="10000"/>
                  </a:lnTo>
                  <a:lnTo>
                    <a:pt x="0" y="10000"/>
                  </a:lnTo>
                  <a:cubicBezTo>
                    <a:pt x="143" y="8479"/>
                    <a:pt x="285" y="6957"/>
                    <a:pt x="428" y="5436"/>
                  </a:cubicBezTo>
                  <a:lnTo>
                    <a:pt x="1083" y="3737"/>
                  </a:lnTo>
                  <a:lnTo>
                    <a:pt x="2772" y="337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grpSp>
          <p:nvGrpSpPr>
            <p:cNvPr id="49" name="Am"/>
            <p:cNvGrpSpPr>
              <a:grpSpLocks/>
            </p:cNvGrpSpPr>
            <p:nvPr/>
          </p:nvGrpSpPr>
          <p:grpSpPr bwMode="auto">
            <a:xfrm rot="712744">
              <a:off x="5339298" y="3478563"/>
              <a:ext cx="690458" cy="800203"/>
              <a:chOff x="2287936" y="3796326"/>
              <a:chExt cx="143" cy="227"/>
            </a:xfrm>
            <a:solidFill>
              <a:schemeClr val="bg1">
                <a:lumMod val="95000"/>
              </a:schemeClr>
            </a:solidFill>
            <a:effectLst/>
          </p:grpSpPr>
          <p:sp>
            <p:nvSpPr>
              <p:cNvPr id="54" name="2aD"/>
              <p:cNvSpPr>
                <a:spLocks/>
              </p:cNvSpPr>
              <p:nvPr/>
            </p:nvSpPr>
            <p:spPr bwMode="auto">
              <a:xfrm>
                <a:off x="2287936" y="3796326"/>
                <a:ext cx="88" cy="168"/>
              </a:xfrm>
              <a:custGeom>
                <a:avLst/>
                <a:gdLst>
                  <a:gd name="T0" fmla="*/ 55 w 77"/>
                  <a:gd name="T1" fmla="*/ 160 h 160"/>
                  <a:gd name="T2" fmla="*/ 30 w 77"/>
                  <a:gd name="T3" fmla="*/ 153 h 160"/>
                  <a:gd name="T4" fmla="*/ 9 w 77"/>
                  <a:gd name="T5" fmla="*/ 142 h 160"/>
                  <a:gd name="T6" fmla="*/ 10 w 77"/>
                  <a:gd name="T7" fmla="*/ 130 h 160"/>
                  <a:gd name="T8" fmla="*/ 11 w 77"/>
                  <a:gd name="T9" fmla="*/ 122 h 160"/>
                  <a:gd name="T10" fmla="*/ 6 w 77"/>
                  <a:gd name="T11" fmla="*/ 114 h 160"/>
                  <a:gd name="T12" fmla="*/ 4 w 77"/>
                  <a:gd name="T13" fmla="*/ 108 h 160"/>
                  <a:gd name="T14" fmla="*/ 12 w 77"/>
                  <a:gd name="T15" fmla="*/ 98 h 160"/>
                  <a:gd name="T16" fmla="*/ 3 w 77"/>
                  <a:gd name="T17" fmla="*/ 89 h 160"/>
                  <a:gd name="T18" fmla="*/ 0 w 77"/>
                  <a:gd name="T19" fmla="*/ 66 h 160"/>
                  <a:gd name="T20" fmla="*/ 7 w 77"/>
                  <a:gd name="T21" fmla="*/ 62 h 160"/>
                  <a:gd name="T22" fmla="*/ 7 w 77"/>
                  <a:gd name="T23" fmla="*/ 43 h 160"/>
                  <a:gd name="T24" fmla="*/ 2 w 77"/>
                  <a:gd name="T25" fmla="*/ 38 h 160"/>
                  <a:gd name="T26" fmla="*/ 8 w 77"/>
                  <a:gd name="T27" fmla="*/ 33 h 160"/>
                  <a:gd name="T28" fmla="*/ 28 w 77"/>
                  <a:gd name="T29" fmla="*/ 33 h 160"/>
                  <a:gd name="T30" fmla="*/ 34 w 77"/>
                  <a:gd name="T31" fmla="*/ 26 h 160"/>
                  <a:gd name="T32" fmla="*/ 33 w 77"/>
                  <a:gd name="T33" fmla="*/ 1 h 160"/>
                  <a:gd name="T34" fmla="*/ 40 w 77"/>
                  <a:gd name="T35" fmla="*/ 0 h 160"/>
                  <a:gd name="T36" fmla="*/ 49 w 77"/>
                  <a:gd name="T37" fmla="*/ 10 h 160"/>
                  <a:gd name="T38" fmla="*/ 61 w 77"/>
                  <a:gd name="T39" fmla="*/ 0 h 160"/>
                  <a:gd name="T40" fmla="*/ 67 w 77"/>
                  <a:gd name="T41" fmla="*/ 18 h 160"/>
                  <a:gd name="T42" fmla="*/ 62 w 77"/>
                  <a:gd name="T43" fmla="*/ 35 h 160"/>
                  <a:gd name="T44" fmla="*/ 62 w 77"/>
                  <a:gd name="T45" fmla="*/ 48 h 160"/>
                  <a:gd name="T46" fmla="*/ 75 w 77"/>
                  <a:gd name="T47" fmla="*/ 48 h 160"/>
                  <a:gd name="T48" fmla="*/ 62 w 77"/>
                  <a:gd name="T49" fmla="*/ 59 h 160"/>
                  <a:gd name="T50" fmla="*/ 68 w 77"/>
                  <a:gd name="T51" fmla="*/ 67 h 160"/>
                  <a:gd name="T52" fmla="*/ 57 w 77"/>
                  <a:gd name="T53" fmla="*/ 80 h 160"/>
                  <a:gd name="T54" fmla="*/ 51 w 77"/>
                  <a:gd name="T55" fmla="*/ 85 h 160"/>
                  <a:gd name="T56" fmla="*/ 55 w 77"/>
                  <a:gd name="T57" fmla="*/ 102 h 160"/>
                  <a:gd name="T58" fmla="*/ 62 w 77"/>
                  <a:gd name="T59" fmla="*/ 104 h 160"/>
                  <a:gd name="T60" fmla="*/ 60 w 77"/>
                  <a:gd name="T61" fmla="*/ 114 h 160"/>
                  <a:gd name="T62" fmla="*/ 76 w 77"/>
                  <a:gd name="T63" fmla="*/ 115 h 160"/>
                  <a:gd name="T64" fmla="*/ 77 w 77"/>
                  <a:gd name="T65" fmla="*/ 137 h 160"/>
                  <a:gd name="T66" fmla="*/ 71 w 77"/>
                  <a:gd name="T67" fmla="*/ 145 h 160"/>
                  <a:gd name="T68" fmla="*/ 68 w 77"/>
                  <a:gd name="T69" fmla="*/ 136 h 160"/>
                  <a:gd name="T70" fmla="*/ 59 w 77"/>
                  <a:gd name="T71" fmla="*/ 139 h 160"/>
                  <a:gd name="T72" fmla="*/ 63 w 77"/>
                  <a:gd name="T73" fmla="*/ 148 h 160"/>
                  <a:gd name="T74" fmla="*/ 55 w 77"/>
                  <a:gd name="T75" fmla="*/ 160 h 16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77"/>
                  <a:gd name="T115" fmla="*/ 0 h 160"/>
                  <a:gd name="T116" fmla="*/ 77 w 77"/>
                  <a:gd name="T117" fmla="*/ 160 h 160"/>
                  <a:gd name="connsiteX0" fmla="*/ 7143 w 10000"/>
                  <a:gd name="connsiteY0" fmla="*/ 10000 h 10000"/>
                  <a:gd name="connsiteX1" fmla="*/ 3896 w 10000"/>
                  <a:gd name="connsiteY1" fmla="*/ 9563 h 10000"/>
                  <a:gd name="connsiteX2" fmla="*/ 1169 w 10000"/>
                  <a:gd name="connsiteY2" fmla="*/ 8875 h 10000"/>
                  <a:gd name="connsiteX3" fmla="*/ 1299 w 10000"/>
                  <a:gd name="connsiteY3" fmla="*/ 8125 h 10000"/>
                  <a:gd name="connsiteX4" fmla="*/ 1429 w 10000"/>
                  <a:gd name="connsiteY4" fmla="*/ 7625 h 10000"/>
                  <a:gd name="connsiteX5" fmla="*/ 779 w 10000"/>
                  <a:gd name="connsiteY5" fmla="*/ 7125 h 10000"/>
                  <a:gd name="connsiteX6" fmla="*/ 519 w 10000"/>
                  <a:gd name="connsiteY6" fmla="*/ 6750 h 10000"/>
                  <a:gd name="connsiteX7" fmla="*/ 1558 w 10000"/>
                  <a:gd name="connsiteY7" fmla="*/ 6125 h 10000"/>
                  <a:gd name="connsiteX8" fmla="*/ 390 w 10000"/>
                  <a:gd name="connsiteY8" fmla="*/ 5563 h 10000"/>
                  <a:gd name="connsiteX9" fmla="*/ 0 w 10000"/>
                  <a:gd name="connsiteY9" fmla="*/ 4125 h 10000"/>
                  <a:gd name="connsiteX10" fmla="*/ 909 w 10000"/>
                  <a:gd name="connsiteY10" fmla="*/ 3875 h 10000"/>
                  <a:gd name="connsiteX11" fmla="*/ 909 w 10000"/>
                  <a:gd name="connsiteY11" fmla="*/ 2688 h 10000"/>
                  <a:gd name="connsiteX12" fmla="*/ 260 w 10000"/>
                  <a:gd name="connsiteY12" fmla="*/ 2375 h 10000"/>
                  <a:gd name="connsiteX13" fmla="*/ 1039 w 10000"/>
                  <a:gd name="connsiteY13" fmla="*/ 2063 h 10000"/>
                  <a:gd name="connsiteX14" fmla="*/ 3636 w 10000"/>
                  <a:gd name="connsiteY14" fmla="*/ 2063 h 10000"/>
                  <a:gd name="connsiteX15" fmla="*/ 4416 w 10000"/>
                  <a:gd name="connsiteY15" fmla="*/ 1625 h 10000"/>
                  <a:gd name="connsiteX16" fmla="*/ 4286 w 10000"/>
                  <a:gd name="connsiteY16" fmla="*/ 63 h 10000"/>
                  <a:gd name="connsiteX17" fmla="*/ 5195 w 10000"/>
                  <a:gd name="connsiteY17" fmla="*/ 0 h 10000"/>
                  <a:gd name="connsiteX18" fmla="*/ 6364 w 10000"/>
                  <a:gd name="connsiteY18" fmla="*/ 625 h 10000"/>
                  <a:gd name="connsiteX19" fmla="*/ 7922 w 10000"/>
                  <a:gd name="connsiteY19" fmla="*/ 0 h 10000"/>
                  <a:gd name="connsiteX20" fmla="*/ 8701 w 10000"/>
                  <a:gd name="connsiteY20" fmla="*/ 1125 h 10000"/>
                  <a:gd name="connsiteX21" fmla="*/ 8052 w 10000"/>
                  <a:gd name="connsiteY21" fmla="*/ 2188 h 10000"/>
                  <a:gd name="connsiteX22" fmla="*/ 8052 w 10000"/>
                  <a:gd name="connsiteY22" fmla="*/ 3000 h 10000"/>
                  <a:gd name="connsiteX23" fmla="*/ 9740 w 10000"/>
                  <a:gd name="connsiteY23" fmla="*/ 3000 h 10000"/>
                  <a:gd name="connsiteX24" fmla="*/ 8052 w 10000"/>
                  <a:gd name="connsiteY24" fmla="*/ 3688 h 10000"/>
                  <a:gd name="connsiteX25" fmla="*/ 8831 w 10000"/>
                  <a:gd name="connsiteY25" fmla="*/ 4188 h 10000"/>
                  <a:gd name="connsiteX26" fmla="*/ 7403 w 10000"/>
                  <a:gd name="connsiteY26" fmla="*/ 5000 h 10000"/>
                  <a:gd name="connsiteX27" fmla="*/ 7740 w 10000"/>
                  <a:gd name="connsiteY27" fmla="*/ 6033 h 10000"/>
                  <a:gd name="connsiteX28" fmla="*/ 7143 w 10000"/>
                  <a:gd name="connsiteY28" fmla="*/ 6375 h 10000"/>
                  <a:gd name="connsiteX29" fmla="*/ 8052 w 10000"/>
                  <a:gd name="connsiteY29" fmla="*/ 6500 h 10000"/>
                  <a:gd name="connsiteX30" fmla="*/ 7792 w 10000"/>
                  <a:gd name="connsiteY30" fmla="*/ 7125 h 10000"/>
                  <a:gd name="connsiteX31" fmla="*/ 9870 w 10000"/>
                  <a:gd name="connsiteY31" fmla="*/ 7188 h 10000"/>
                  <a:gd name="connsiteX32" fmla="*/ 10000 w 10000"/>
                  <a:gd name="connsiteY32" fmla="*/ 8563 h 10000"/>
                  <a:gd name="connsiteX33" fmla="*/ 9221 w 10000"/>
                  <a:gd name="connsiteY33" fmla="*/ 9063 h 10000"/>
                  <a:gd name="connsiteX34" fmla="*/ 8831 w 10000"/>
                  <a:gd name="connsiteY34" fmla="*/ 8500 h 10000"/>
                  <a:gd name="connsiteX35" fmla="*/ 7662 w 10000"/>
                  <a:gd name="connsiteY35" fmla="*/ 8688 h 10000"/>
                  <a:gd name="connsiteX36" fmla="*/ 8182 w 10000"/>
                  <a:gd name="connsiteY36" fmla="*/ 9250 h 10000"/>
                  <a:gd name="connsiteX37" fmla="*/ 7143 w 10000"/>
                  <a:gd name="connsiteY37" fmla="*/ 10000 h 10000"/>
                  <a:gd name="connsiteX0" fmla="*/ 7143 w 10000"/>
                  <a:gd name="connsiteY0" fmla="*/ 10000 h 10000"/>
                  <a:gd name="connsiteX1" fmla="*/ 3896 w 10000"/>
                  <a:gd name="connsiteY1" fmla="*/ 9563 h 10000"/>
                  <a:gd name="connsiteX2" fmla="*/ 1169 w 10000"/>
                  <a:gd name="connsiteY2" fmla="*/ 8875 h 10000"/>
                  <a:gd name="connsiteX3" fmla="*/ 1299 w 10000"/>
                  <a:gd name="connsiteY3" fmla="*/ 8125 h 10000"/>
                  <a:gd name="connsiteX4" fmla="*/ 1429 w 10000"/>
                  <a:gd name="connsiteY4" fmla="*/ 7625 h 10000"/>
                  <a:gd name="connsiteX5" fmla="*/ 779 w 10000"/>
                  <a:gd name="connsiteY5" fmla="*/ 7125 h 10000"/>
                  <a:gd name="connsiteX6" fmla="*/ 519 w 10000"/>
                  <a:gd name="connsiteY6" fmla="*/ 6750 h 10000"/>
                  <a:gd name="connsiteX7" fmla="*/ 1558 w 10000"/>
                  <a:gd name="connsiteY7" fmla="*/ 6125 h 10000"/>
                  <a:gd name="connsiteX8" fmla="*/ 390 w 10000"/>
                  <a:gd name="connsiteY8" fmla="*/ 5563 h 10000"/>
                  <a:gd name="connsiteX9" fmla="*/ 0 w 10000"/>
                  <a:gd name="connsiteY9" fmla="*/ 4125 h 10000"/>
                  <a:gd name="connsiteX10" fmla="*/ 909 w 10000"/>
                  <a:gd name="connsiteY10" fmla="*/ 3875 h 10000"/>
                  <a:gd name="connsiteX11" fmla="*/ 909 w 10000"/>
                  <a:gd name="connsiteY11" fmla="*/ 2688 h 10000"/>
                  <a:gd name="connsiteX12" fmla="*/ 260 w 10000"/>
                  <a:gd name="connsiteY12" fmla="*/ 2375 h 10000"/>
                  <a:gd name="connsiteX13" fmla="*/ 1039 w 10000"/>
                  <a:gd name="connsiteY13" fmla="*/ 2063 h 10000"/>
                  <a:gd name="connsiteX14" fmla="*/ 3636 w 10000"/>
                  <a:gd name="connsiteY14" fmla="*/ 2063 h 10000"/>
                  <a:gd name="connsiteX15" fmla="*/ 4416 w 10000"/>
                  <a:gd name="connsiteY15" fmla="*/ 1625 h 10000"/>
                  <a:gd name="connsiteX16" fmla="*/ 4286 w 10000"/>
                  <a:gd name="connsiteY16" fmla="*/ 63 h 10000"/>
                  <a:gd name="connsiteX17" fmla="*/ 5195 w 10000"/>
                  <a:gd name="connsiteY17" fmla="*/ 0 h 10000"/>
                  <a:gd name="connsiteX18" fmla="*/ 6364 w 10000"/>
                  <a:gd name="connsiteY18" fmla="*/ 625 h 10000"/>
                  <a:gd name="connsiteX19" fmla="*/ 7922 w 10000"/>
                  <a:gd name="connsiteY19" fmla="*/ 0 h 10000"/>
                  <a:gd name="connsiteX20" fmla="*/ 8701 w 10000"/>
                  <a:gd name="connsiteY20" fmla="*/ 1125 h 10000"/>
                  <a:gd name="connsiteX21" fmla="*/ 8052 w 10000"/>
                  <a:gd name="connsiteY21" fmla="*/ 2188 h 10000"/>
                  <a:gd name="connsiteX22" fmla="*/ 8052 w 10000"/>
                  <a:gd name="connsiteY22" fmla="*/ 3000 h 10000"/>
                  <a:gd name="connsiteX23" fmla="*/ 9740 w 10000"/>
                  <a:gd name="connsiteY23" fmla="*/ 3000 h 10000"/>
                  <a:gd name="connsiteX24" fmla="*/ 8052 w 10000"/>
                  <a:gd name="connsiteY24" fmla="*/ 3688 h 10000"/>
                  <a:gd name="connsiteX25" fmla="*/ 8831 w 10000"/>
                  <a:gd name="connsiteY25" fmla="*/ 4188 h 10000"/>
                  <a:gd name="connsiteX26" fmla="*/ 8393 w 10000"/>
                  <a:gd name="connsiteY26" fmla="*/ 5505 h 10000"/>
                  <a:gd name="connsiteX27" fmla="*/ 7740 w 10000"/>
                  <a:gd name="connsiteY27" fmla="*/ 6033 h 10000"/>
                  <a:gd name="connsiteX28" fmla="*/ 7143 w 10000"/>
                  <a:gd name="connsiteY28" fmla="*/ 6375 h 10000"/>
                  <a:gd name="connsiteX29" fmla="*/ 8052 w 10000"/>
                  <a:gd name="connsiteY29" fmla="*/ 6500 h 10000"/>
                  <a:gd name="connsiteX30" fmla="*/ 7792 w 10000"/>
                  <a:gd name="connsiteY30" fmla="*/ 7125 h 10000"/>
                  <a:gd name="connsiteX31" fmla="*/ 9870 w 10000"/>
                  <a:gd name="connsiteY31" fmla="*/ 7188 h 10000"/>
                  <a:gd name="connsiteX32" fmla="*/ 10000 w 10000"/>
                  <a:gd name="connsiteY32" fmla="*/ 8563 h 10000"/>
                  <a:gd name="connsiteX33" fmla="*/ 9221 w 10000"/>
                  <a:gd name="connsiteY33" fmla="*/ 9063 h 10000"/>
                  <a:gd name="connsiteX34" fmla="*/ 8831 w 10000"/>
                  <a:gd name="connsiteY34" fmla="*/ 8500 h 10000"/>
                  <a:gd name="connsiteX35" fmla="*/ 7662 w 10000"/>
                  <a:gd name="connsiteY35" fmla="*/ 8688 h 10000"/>
                  <a:gd name="connsiteX36" fmla="*/ 8182 w 10000"/>
                  <a:gd name="connsiteY36" fmla="*/ 9250 h 10000"/>
                  <a:gd name="connsiteX37" fmla="*/ 7143 w 10000"/>
                  <a:gd name="connsiteY37" fmla="*/ 10000 h 10000"/>
                  <a:gd name="connsiteX0" fmla="*/ 7143 w 10000"/>
                  <a:gd name="connsiteY0" fmla="*/ 10000 h 10000"/>
                  <a:gd name="connsiteX1" fmla="*/ 3896 w 10000"/>
                  <a:gd name="connsiteY1" fmla="*/ 9563 h 10000"/>
                  <a:gd name="connsiteX2" fmla="*/ 1169 w 10000"/>
                  <a:gd name="connsiteY2" fmla="*/ 8875 h 10000"/>
                  <a:gd name="connsiteX3" fmla="*/ 1299 w 10000"/>
                  <a:gd name="connsiteY3" fmla="*/ 8125 h 10000"/>
                  <a:gd name="connsiteX4" fmla="*/ 1429 w 10000"/>
                  <a:gd name="connsiteY4" fmla="*/ 7625 h 10000"/>
                  <a:gd name="connsiteX5" fmla="*/ 779 w 10000"/>
                  <a:gd name="connsiteY5" fmla="*/ 7125 h 10000"/>
                  <a:gd name="connsiteX6" fmla="*/ 519 w 10000"/>
                  <a:gd name="connsiteY6" fmla="*/ 6750 h 10000"/>
                  <a:gd name="connsiteX7" fmla="*/ 1558 w 10000"/>
                  <a:gd name="connsiteY7" fmla="*/ 6125 h 10000"/>
                  <a:gd name="connsiteX8" fmla="*/ 390 w 10000"/>
                  <a:gd name="connsiteY8" fmla="*/ 5563 h 10000"/>
                  <a:gd name="connsiteX9" fmla="*/ 0 w 10000"/>
                  <a:gd name="connsiteY9" fmla="*/ 4125 h 10000"/>
                  <a:gd name="connsiteX10" fmla="*/ 909 w 10000"/>
                  <a:gd name="connsiteY10" fmla="*/ 3875 h 10000"/>
                  <a:gd name="connsiteX11" fmla="*/ 909 w 10000"/>
                  <a:gd name="connsiteY11" fmla="*/ 2688 h 10000"/>
                  <a:gd name="connsiteX12" fmla="*/ 260 w 10000"/>
                  <a:gd name="connsiteY12" fmla="*/ 2375 h 10000"/>
                  <a:gd name="connsiteX13" fmla="*/ 1039 w 10000"/>
                  <a:gd name="connsiteY13" fmla="*/ 2063 h 10000"/>
                  <a:gd name="connsiteX14" fmla="*/ 3636 w 10000"/>
                  <a:gd name="connsiteY14" fmla="*/ 2063 h 10000"/>
                  <a:gd name="connsiteX15" fmla="*/ 2711 w 10000"/>
                  <a:gd name="connsiteY15" fmla="*/ 666 h 10000"/>
                  <a:gd name="connsiteX16" fmla="*/ 4286 w 10000"/>
                  <a:gd name="connsiteY16" fmla="*/ 63 h 10000"/>
                  <a:gd name="connsiteX17" fmla="*/ 5195 w 10000"/>
                  <a:gd name="connsiteY17" fmla="*/ 0 h 10000"/>
                  <a:gd name="connsiteX18" fmla="*/ 6364 w 10000"/>
                  <a:gd name="connsiteY18" fmla="*/ 625 h 10000"/>
                  <a:gd name="connsiteX19" fmla="*/ 7922 w 10000"/>
                  <a:gd name="connsiteY19" fmla="*/ 0 h 10000"/>
                  <a:gd name="connsiteX20" fmla="*/ 8701 w 10000"/>
                  <a:gd name="connsiteY20" fmla="*/ 1125 h 10000"/>
                  <a:gd name="connsiteX21" fmla="*/ 8052 w 10000"/>
                  <a:gd name="connsiteY21" fmla="*/ 2188 h 10000"/>
                  <a:gd name="connsiteX22" fmla="*/ 8052 w 10000"/>
                  <a:gd name="connsiteY22" fmla="*/ 3000 h 10000"/>
                  <a:gd name="connsiteX23" fmla="*/ 9740 w 10000"/>
                  <a:gd name="connsiteY23" fmla="*/ 3000 h 10000"/>
                  <a:gd name="connsiteX24" fmla="*/ 8052 w 10000"/>
                  <a:gd name="connsiteY24" fmla="*/ 3688 h 10000"/>
                  <a:gd name="connsiteX25" fmla="*/ 8831 w 10000"/>
                  <a:gd name="connsiteY25" fmla="*/ 4188 h 10000"/>
                  <a:gd name="connsiteX26" fmla="*/ 8393 w 10000"/>
                  <a:gd name="connsiteY26" fmla="*/ 5505 h 10000"/>
                  <a:gd name="connsiteX27" fmla="*/ 7740 w 10000"/>
                  <a:gd name="connsiteY27" fmla="*/ 6033 h 10000"/>
                  <a:gd name="connsiteX28" fmla="*/ 7143 w 10000"/>
                  <a:gd name="connsiteY28" fmla="*/ 6375 h 10000"/>
                  <a:gd name="connsiteX29" fmla="*/ 8052 w 10000"/>
                  <a:gd name="connsiteY29" fmla="*/ 6500 h 10000"/>
                  <a:gd name="connsiteX30" fmla="*/ 7792 w 10000"/>
                  <a:gd name="connsiteY30" fmla="*/ 7125 h 10000"/>
                  <a:gd name="connsiteX31" fmla="*/ 9870 w 10000"/>
                  <a:gd name="connsiteY31" fmla="*/ 7188 h 10000"/>
                  <a:gd name="connsiteX32" fmla="*/ 10000 w 10000"/>
                  <a:gd name="connsiteY32" fmla="*/ 8563 h 10000"/>
                  <a:gd name="connsiteX33" fmla="*/ 9221 w 10000"/>
                  <a:gd name="connsiteY33" fmla="*/ 9063 h 10000"/>
                  <a:gd name="connsiteX34" fmla="*/ 8831 w 10000"/>
                  <a:gd name="connsiteY34" fmla="*/ 8500 h 10000"/>
                  <a:gd name="connsiteX35" fmla="*/ 7662 w 10000"/>
                  <a:gd name="connsiteY35" fmla="*/ 8688 h 10000"/>
                  <a:gd name="connsiteX36" fmla="*/ 8182 w 10000"/>
                  <a:gd name="connsiteY36" fmla="*/ 9250 h 10000"/>
                  <a:gd name="connsiteX37" fmla="*/ 7143 w 10000"/>
                  <a:gd name="connsiteY37" fmla="*/ 10000 h 10000"/>
                  <a:gd name="connsiteX0" fmla="*/ 7143 w 10000"/>
                  <a:gd name="connsiteY0" fmla="*/ 10000 h 10000"/>
                  <a:gd name="connsiteX1" fmla="*/ 3896 w 10000"/>
                  <a:gd name="connsiteY1" fmla="*/ 9563 h 10000"/>
                  <a:gd name="connsiteX2" fmla="*/ 1169 w 10000"/>
                  <a:gd name="connsiteY2" fmla="*/ 8875 h 10000"/>
                  <a:gd name="connsiteX3" fmla="*/ 1299 w 10000"/>
                  <a:gd name="connsiteY3" fmla="*/ 8125 h 10000"/>
                  <a:gd name="connsiteX4" fmla="*/ 1429 w 10000"/>
                  <a:gd name="connsiteY4" fmla="*/ 7625 h 10000"/>
                  <a:gd name="connsiteX5" fmla="*/ 779 w 10000"/>
                  <a:gd name="connsiteY5" fmla="*/ 7125 h 10000"/>
                  <a:gd name="connsiteX6" fmla="*/ 519 w 10000"/>
                  <a:gd name="connsiteY6" fmla="*/ 6750 h 10000"/>
                  <a:gd name="connsiteX7" fmla="*/ 1558 w 10000"/>
                  <a:gd name="connsiteY7" fmla="*/ 6125 h 10000"/>
                  <a:gd name="connsiteX8" fmla="*/ 390 w 10000"/>
                  <a:gd name="connsiteY8" fmla="*/ 5563 h 10000"/>
                  <a:gd name="connsiteX9" fmla="*/ 0 w 10000"/>
                  <a:gd name="connsiteY9" fmla="*/ 4125 h 10000"/>
                  <a:gd name="connsiteX10" fmla="*/ 909 w 10000"/>
                  <a:gd name="connsiteY10" fmla="*/ 3875 h 10000"/>
                  <a:gd name="connsiteX11" fmla="*/ 909 w 10000"/>
                  <a:gd name="connsiteY11" fmla="*/ 2688 h 10000"/>
                  <a:gd name="connsiteX12" fmla="*/ 260 w 10000"/>
                  <a:gd name="connsiteY12" fmla="*/ 2375 h 10000"/>
                  <a:gd name="connsiteX13" fmla="*/ 1039 w 10000"/>
                  <a:gd name="connsiteY13" fmla="*/ 2063 h 10000"/>
                  <a:gd name="connsiteX14" fmla="*/ 3110 w 10000"/>
                  <a:gd name="connsiteY14" fmla="*/ 1815 h 10000"/>
                  <a:gd name="connsiteX15" fmla="*/ 2711 w 10000"/>
                  <a:gd name="connsiteY15" fmla="*/ 666 h 10000"/>
                  <a:gd name="connsiteX16" fmla="*/ 4286 w 10000"/>
                  <a:gd name="connsiteY16" fmla="*/ 63 h 10000"/>
                  <a:gd name="connsiteX17" fmla="*/ 5195 w 10000"/>
                  <a:gd name="connsiteY17" fmla="*/ 0 h 10000"/>
                  <a:gd name="connsiteX18" fmla="*/ 6364 w 10000"/>
                  <a:gd name="connsiteY18" fmla="*/ 625 h 10000"/>
                  <a:gd name="connsiteX19" fmla="*/ 7922 w 10000"/>
                  <a:gd name="connsiteY19" fmla="*/ 0 h 10000"/>
                  <a:gd name="connsiteX20" fmla="*/ 8701 w 10000"/>
                  <a:gd name="connsiteY20" fmla="*/ 1125 h 10000"/>
                  <a:gd name="connsiteX21" fmla="*/ 8052 w 10000"/>
                  <a:gd name="connsiteY21" fmla="*/ 2188 h 10000"/>
                  <a:gd name="connsiteX22" fmla="*/ 8052 w 10000"/>
                  <a:gd name="connsiteY22" fmla="*/ 3000 h 10000"/>
                  <a:gd name="connsiteX23" fmla="*/ 9740 w 10000"/>
                  <a:gd name="connsiteY23" fmla="*/ 3000 h 10000"/>
                  <a:gd name="connsiteX24" fmla="*/ 8052 w 10000"/>
                  <a:gd name="connsiteY24" fmla="*/ 3688 h 10000"/>
                  <a:gd name="connsiteX25" fmla="*/ 8831 w 10000"/>
                  <a:gd name="connsiteY25" fmla="*/ 4188 h 10000"/>
                  <a:gd name="connsiteX26" fmla="*/ 8393 w 10000"/>
                  <a:gd name="connsiteY26" fmla="*/ 5505 h 10000"/>
                  <a:gd name="connsiteX27" fmla="*/ 7740 w 10000"/>
                  <a:gd name="connsiteY27" fmla="*/ 6033 h 10000"/>
                  <a:gd name="connsiteX28" fmla="*/ 7143 w 10000"/>
                  <a:gd name="connsiteY28" fmla="*/ 6375 h 10000"/>
                  <a:gd name="connsiteX29" fmla="*/ 8052 w 10000"/>
                  <a:gd name="connsiteY29" fmla="*/ 6500 h 10000"/>
                  <a:gd name="connsiteX30" fmla="*/ 7792 w 10000"/>
                  <a:gd name="connsiteY30" fmla="*/ 7125 h 10000"/>
                  <a:gd name="connsiteX31" fmla="*/ 9870 w 10000"/>
                  <a:gd name="connsiteY31" fmla="*/ 7188 h 10000"/>
                  <a:gd name="connsiteX32" fmla="*/ 10000 w 10000"/>
                  <a:gd name="connsiteY32" fmla="*/ 8563 h 10000"/>
                  <a:gd name="connsiteX33" fmla="*/ 9221 w 10000"/>
                  <a:gd name="connsiteY33" fmla="*/ 9063 h 10000"/>
                  <a:gd name="connsiteX34" fmla="*/ 8831 w 10000"/>
                  <a:gd name="connsiteY34" fmla="*/ 8500 h 10000"/>
                  <a:gd name="connsiteX35" fmla="*/ 7662 w 10000"/>
                  <a:gd name="connsiteY35" fmla="*/ 8688 h 10000"/>
                  <a:gd name="connsiteX36" fmla="*/ 8182 w 10000"/>
                  <a:gd name="connsiteY36" fmla="*/ 9250 h 10000"/>
                  <a:gd name="connsiteX37" fmla="*/ 7143 w 10000"/>
                  <a:gd name="connsiteY37" fmla="*/ 10000 h 10000"/>
                  <a:gd name="connsiteX0" fmla="*/ 7143 w 10000"/>
                  <a:gd name="connsiteY0" fmla="*/ 11300 h 11300"/>
                  <a:gd name="connsiteX1" fmla="*/ 3896 w 10000"/>
                  <a:gd name="connsiteY1" fmla="*/ 10863 h 11300"/>
                  <a:gd name="connsiteX2" fmla="*/ 1169 w 10000"/>
                  <a:gd name="connsiteY2" fmla="*/ 10175 h 11300"/>
                  <a:gd name="connsiteX3" fmla="*/ 1299 w 10000"/>
                  <a:gd name="connsiteY3" fmla="*/ 9425 h 11300"/>
                  <a:gd name="connsiteX4" fmla="*/ 1429 w 10000"/>
                  <a:gd name="connsiteY4" fmla="*/ 8925 h 11300"/>
                  <a:gd name="connsiteX5" fmla="*/ 779 w 10000"/>
                  <a:gd name="connsiteY5" fmla="*/ 8425 h 11300"/>
                  <a:gd name="connsiteX6" fmla="*/ 519 w 10000"/>
                  <a:gd name="connsiteY6" fmla="*/ 8050 h 11300"/>
                  <a:gd name="connsiteX7" fmla="*/ 1558 w 10000"/>
                  <a:gd name="connsiteY7" fmla="*/ 7425 h 11300"/>
                  <a:gd name="connsiteX8" fmla="*/ 390 w 10000"/>
                  <a:gd name="connsiteY8" fmla="*/ 6863 h 11300"/>
                  <a:gd name="connsiteX9" fmla="*/ 0 w 10000"/>
                  <a:gd name="connsiteY9" fmla="*/ 5425 h 11300"/>
                  <a:gd name="connsiteX10" fmla="*/ 909 w 10000"/>
                  <a:gd name="connsiteY10" fmla="*/ 5175 h 11300"/>
                  <a:gd name="connsiteX11" fmla="*/ 909 w 10000"/>
                  <a:gd name="connsiteY11" fmla="*/ 3988 h 11300"/>
                  <a:gd name="connsiteX12" fmla="*/ 260 w 10000"/>
                  <a:gd name="connsiteY12" fmla="*/ 3675 h 11300"/>
                  <a:gd name="connsiteX13" fmla="*/ 1039 w 10000"/>
                  <a:gd name="connsiteY13" fmla="*/ 3363 h 11300"/>
                  <a:gd name="connsiteX14" fmla="*/ 3110 w 10000"/>
                  <a:gd name="connsiteY14" fmla="*/ 3115 h 11300"/>
                  <a:gd name="connsiteX15" fmla="*/ 2711 w 10000"/>
                  <a:gd name="connsiteY15" fmla="*/ 1966 h 11300"/>
                  <a:gd name="connsiteX16" fmla="*/ 3695 w 10000"/>
                  <a:gd name="connsiteY16" fmla="*/ 0 h 11300"/>
                  <a:gd name="connsiteX17" fmla="*/ 5195 w 10000"/>
                  <a:gd name="connsiteY17" fmla="*/ 1300 h 11300"/>
                  <a:gd name="connsiteX18" fmla="*/ 6364 w 10000"/>
                  <a:gd name="connsiteY18" fmla="*/ 1925 h 11300"/>
                  <a:gd name="connsiteX19" fmla="*/ 7922 w 10000"/>
                  <a:gd name="connsiteY19" fmla="*/ 1300 h 11300"/>
                  <a:gd name="connsiteX20" fmla="*/ 8701 w 10000"/>
                  <a:gd name="connsiteY20" fmla="*/ 2425 h 11300"/>
                  <a:gd name="connsiteX21" fmla="*/ 8052 w 10000"/>
                  <a:gd name="connsiteY21" fmla="*/ 3488 h 11300"/>
                  <a:gd name="connsiteX22" fmla="*/ 8052 w 10000"/>
                  <a:gd name="connsiteY22" fmla="*/ 4300 h 11300"/>
                  <a:gd name="connsiteX23" fmla="*/ 9740 w 10000"/>
                  <a:gd name="connsiteY23" fmla="*/ 4300 h 11300"/>
                  <a:gd name="connsiteX24" fmla="*/ 8052 w 10000"/>
                  <a:gd name="connsiteY24" fmla="*/ 4988 h 11300"/>
                  <a:gd name="connsiteX25" fmla="*/ 8831 w 10000"/>
                  <a:gd name="connsiteY25" fmla="*/ 5488 h 11300"/>
                  <a:gd name="connsiteX26" fmla="*/ 8393 w 10000"/>
                  <a:gd name="connsiteY26" fmla="*/ 6805 h 11300"/>
                  <a:gd name="connsiteX27" fmla="*/ 7740 w 10000"/>
                  <a:gd name="connsiteY27" fmla="*/ 7333 h 11300"/>
                  <a:gd name="connsiteX28" fmla="*/ 7143 w 10000"/>
                  <a:gd name="connsiteY28" fmla="*/ 7675 h 11300"/>
                  <a:gd name="connsiteX29" fmla="*/ 8052 w 10000"/>
                  <a:gd name="connsiteY29" fmla="*/ 7800 h 11300"/>
                  <a:gd name="connsiteX30" fmla="*/ 7792 w 10000"/>
                  <a:gd name="connsiteY30" fmla="*/ 8425 h 11300"/>
                  <a:gd name="connsiteX31" fmla="*/ 9870 w 10000"/>
                  <a:gd name="connsiteY31" fmla="*/ 8488 h 11300"/>
                  <a:gd name="connsiteX32" fmla="*/ 10000 w 10000"/>
                  <a:gd name="connsiteY32" fmla="*/ 9863 h 11300"/>
                  <a:gd name="connsiteX33" fmla="*/ 9221 w 10000"/>
                  <a:gd name="connsiteY33" fmla="*/ 10363 h 11300"/>
                  <a:gd name="connsiteX34" fmla="*/ 8831 w 10000"/>
                  <a:gd name="connsiteY34" fmla="*/ 9800 h 11300"/>
                  <a:gd name="connsiteX35" fmla="*/ 7662 w 10000"/>
                  <a:gd name="connsiteY35" fmla="*/ 9988 h 11300"/>
                  <a:gd name="connsiteX36" fmla="*/ 8182 w 10000"/>
                  <a:gd name="connsiteY36" fmla="*/ 10550 h 11300"/>
                  <a:gd name="connsiteX37" fmla="*/ 7143 w 10000"/>
                  <a:gd name="connsiteY37" fmla="*/ 11300 h 11300"/>
                  <a:gd name="connsiteX0" fmla="*/ 7143 w 10000"/>
                  <a:gd name="connsiteY0" fmla="*/ 11300 h 11300"/>
                  <a:gd name="connsiteX1" fmla="*/ 3896 w 10000"/>
                  <a:gd name="connsiteY1" fmla="*/ 10863 h 11300"/>
                  <a:gd name="connsiteX2" fmla="*/ 1169 w 10000"/>
                  <a:gd name="connsiteY2" fmla="*/ 10175 h 11300"/>
                  <a:gd name="connsiteX3" fmla="*/ 1299 w 10000"/>
                  <a:gd name="connsiteY3" fmla="*/ 9425 h 11300"/>
                  <a:gd name="connsiteX4" fmla="*/ 1429 w 10000"/>
                  <a:gd name="connsiteY4" fmla="*/ 8925 h 11300"/>
                  <a:gd name="connsiteX5" fmla="*/ 779 w 10000"/>
                  <a:gd name="connsiteY5" fmla="*/ 8425 h 11300"/>
                  <a:gd name="connsiteX6" fmla="*/ 519 w 10000"/>
                  <a:gd name="connsiteY6" fmla="*/ 8050 h 11300"/>
                  <a:gd name="connsiteX7" fmla="*/ 1558 w 10000"/>
                  <a:gd name="connsiteY7" fmla="*/ 7425 h 11300"/>
                  <a:gd name="connsiteX8" fmla="*/ 390 w 10000"/>
                  <a:gd name="connsiteY8" fmla="*/ 6863 h 11300"/>
                  <a:gd name="connsiteX9" fmla="*/ 0 w 10000"/>
                  <a:gd name="connsiteY9" fmla="*/ 5425 h 11300"/>
                  <a:gd name="connsiteX10" fmla="*/ 909 w 10000"/>
                  <a:gd name="connsiteY10" fmla="*/ 5175 h 11300"/>
                  <a:gd name="connsiteX11" fmla="*/ 909 w 10000"/>
                  <a:gd name="connsiteY11" fmla="*/ 3988 h 11300"/>
                  <a:gd name="connsiteX12" fmla="*/ 260 w 10000"/>
                  <a:gd name="connsiteY12" fmla="*/ 3675 h 11300"/>
                  <a:gd name="connsiteX13" fmla="*/ 1039 w 10000"/>
                  <a:gd name="connsiteY13" fmla="*/ 3363 h 11300"/>
                  <a:gd name="connsiteX14" fmla="*/ 3110 w 10000"/>
                  <a:gd name="connsiteY14" fmla="*/ 3115 h 11300"/>
                  <a:gd name="connsiteX15" fmla="*/ 2711 w 10000"/>
                  <a:gd name="connsiteY15" fmla="*/ 1966 h 11300"/>
                  <a:gd name="connsiteX16" fmla="*/ 3695 w 10000"/>
                  <a:gd name="connsiteY16" fmla="*/ 0 h 11300"/>
                  <a:gd name="connsiteX17" fmla="*/ 5195 w 10000"/>
                  <a:gd name="connsiteY17" fmla="*/ 1300 h 11300"/>
                  <a:gd name="connsiteX18" fmla="*/ 6364 w 10000"/>
                  <a:gd name="connsiteY18" fmla="*/ 1925 h 11300"/>
                  <a:gd name="connsiteX19" fmla="*/ 7922 w 10000"/>
                  <a:gd name="connsiteY19" fmla="*/ 1300 h 11300"/>
                  <a:gd name="connsiteX20" fmla="*/ 8701 w 10000"/>
                  <a:gd name="connsiteY20" fmla="*/ 2425 h 11300"/>
                  <a:gd name="connsiteX21" fmla="*/ 8052 w 10000"/>
                  <a:gd name="connsiteY21" fmla="*/ 3488 h 11300"/>
                  <a:gd name="connsiteX22" fmla="*/ 8052 w 10000"/>
                  <a:gd name="connsiteY22" fmla="*/ 4300 h 11300"/>
                  <a:gd name="connsiteX23" fmla="*/ 9740 w 10000"/>
                  <a:gd name="connsiteY23" fmla="*/ 4300 h 11300"/>
                  <a:gd name="connsiteX24" fmla="*/ 8052 w 10000"/>
                  <a:gd name="connsiteY24" fmla="*/ 4988 h 11300"/>
                  <a:gd name="connsiteX25" fmla="*/ 8831 w 10000"/>
                  <a:gd name="connsiteY25" fmla="*/ 5488 h 11300"/>
                  <a:gd name="connsiteX26" fmla="*/ 8393 w 10000"/>
                  <a:gd name="connsiteY26" fmla="*/ 6805 h 11300"/>
                  <a:gd name="connsiteX27" fmla="*/ 7740 w 10000"/>
                  <a:gd name="connsiteY27" fmla="*/ 7333 h 11300"/>
                  <a:gd name="connsiteX28" fmla="*/ 7143 w 10000"/>
                  <a:gd name="connsiteY28" fmla="*/ 7675 h 11300"/>
                  <a:gd name="connsiteX29" fmla="*/ 8052 w 10000"/>
                  <a:gd name="connsiteY29" fmla="*/ 7800 h 11300"/>
                  <a:gd name="connsiteX30" fmla="*/ 7792 w 10000"/>
                  <a:gd name="connsiteY30" fmla="*/ 8425 h 11300"/>
                  <a:gd name="connsiteX31" fmla="*/ 9870 w 10000"/>
                  <a:gd name="connsiteY31" fmla="*/ 8488 h 11300"/>
                  <a:gd name="connsiteX32" fmla="*/ 10000 w 10000"/>
                  <a:gd name="connsiteY32" fmla="*/ 9863 h 11300"/>
                  <a:gd name="connsiteX33" fmla="*/ 9221 w 10000"/>
                  <a:gd name="connsiteY33" fmla="*/ 10363 h 11300"/>
                  <a:gd name="connsiteX34" fmla="*/ 8831 w 10000"/>
                  <a:gd name="connsiteY34" fmla="*/ 9800 h 11300"/>
                  <a:gd name="connsiteX35" fmla="*/ 7662 w 10000"/>
                  <a:gd name="connsiteY35" fmla="*/ 9988 h 11300"/>
                  <a:gd name="connsiteX36" fmla="*/ 8182 w 10000"/>
                  <a:gd name="connsiteY36" fmla="*/ 10550 h 11300"/>
                  <a:gd name="connsiteX37" fmla="*/ 7143 w 10000"/>
                  <a:gd name="connsiteY37" fmla="*/ 11300 h 11300"/>
                  <a:gd name="connsiteX0" fmla="*/ 7143 w 10000"/>
                  <a:gd name="connsiteY0" fmla="*/ 10127 h 10127"/>
                  <a:gd name="connsiteX1" fmla="*/ 3896 w 10000"/>
                  <a:gd name="connsiteY1" fmla="*/ 9690 h 10127"/>
                  <a:gd name="connsiteX2" fmla="*/ 1169 w 10000"/>
                  <a:gd name="connsiteY2" fmla="*/ 9002 h 10127"/>
                  <a:gd name="connsiteX3" fmla="*/ 1299 w 10000"/>
                  <a:gd name="connsiteY3" fmla="*/ 8252 h 10127"/>
                  <a:gd name="connsiteX4" fmla="*/ 1429 w 10000"/>
                  <a:gd name="connsiteY4" fmla="*/ 7752 h 10127"/>
                  <a:gd name="connsiteX5" fmla="*/ 779 w 10000"/>
                  <a:gd name="connsiteY5" fmla="*/ 7252 h 10127"/>
                  <a:gd name="connsiteX6" fmla="*/ 519 w 10000"/>
                  <a:gd name="connsiteY6" fmla="*/ 6877 h 10127"/>
                  <a:gd name="connsiteX7" fmla="*/ 1558 w 10000"/>
                  <a:gd name="connsiteY7" fmla="*/ 6252 h 10127"/>
                  <a:gd name="connsiteX8" fmla="*/ 390 w 10000"/>
                  <a:gd name="connsiteY8" fmla="*/ 5690 h 10127"/>
                  <a:gd name="connsiteX9" fmla="*/ 0 w 10000"/>
                  <a:gd name="connsiteY9" fmla="*/ 4252 h 10127"/>
                  <a:gd name="connsiteX10" fmla="*/ 909 w 10000"/>
                  <a:gd name="connsiteY10" fmla="*/ 4002 h 10127"/>
                  <a:gd name="connsiteX11" fmla="*/ 909 w 10000"/>
                  <a:gd name="connsiteY11" fmla="*/ 2815 h 10127"/>
                  <a:gd name="connsiteX12" fmla="*/ 260 w 10000"/>
                  <a:gd name="connsiteY12" fmla="*/ 2502 h 10127"/>
                  <a:gd name="connsiteX13" fmla="*/ 1039 w 10000"/>
                  <a:gd name="connsiteY13" fmla="*/ 2190 h 10127"/>
                  <a:gd name="connsiteX14" fmla="*/ 3110 w 10000"/>
                  <a:gd name="connsiteY14" fmla="*/ 1942 h 10127"/>
                  <a:gd name="connsiteX15" fmla="*/ 2711 w 10000"/>
                  <a:gd name="connsiteY15" fmla="*/ 793 h 10127"/>
                  <a:gd name="connsiteX16" fmla="*/ 3972 w 10000"/>
                  <a:gd name="connsiteY16" fmla="*/ 0 h 10127"/>
                  <a:gd name="connsiteX17" fmla="*/ 5195 w 10000"/>
                  <a:gd name="connsiteY17" fmla="*/ 127 h 10127"/>
                  <a:gd name="connsiteX18" fmla="*/ 6364 w 10000"/>
                  <a:gd name="connsiteY18" fmla="*/ 752 h 10127"/>
                  <a:gd name="connsiteX19" fmla="*/ 7922 w 10000"/>
                  <a:gd name="connsiteY19" fmla="*/ 127 h 10127"/>
                  <a:gd name="connsiteX20" fmla="*/ 8701 w 10000"/>
                  <a:gd name="connsiteY20" fmla="*/ 1252 h 10127"/>
                  <a:gd name="connsiteX21" fmla="*/ 8052 w 10000"/>
                  <a:gd name="connsiteY21" fmla="*/ 2315 h 10127"/>
                  <a:gd name="connsiteX22" fmla="*/ 8052 w 10000"/>
                  <a:gd name="connsiteY22" fmla="*/ 3127 h 10127"/>
                  <a:gd name="connsiteX23" fmla="*/ 9740 w 10000"/>
                  <a:gd name="connsiteY23" fmla="*/ 3127 h 10127"/>
                  <a:gd name="connsiteX24" fmla="*/ 8052 w 10000"/>
                  <a:gd name="connsiteY24" fmla="*/ 3815 h 10127"/>
                  <a:gd name="connsiteX25" fmla="*/ 8831 w 10000"/>
                  <a:gd name="connsiteY25" fmla="*/ 4315 h 10127"/>
                  <a:gd name="connsiteX26" fmla="*/ 8393 w 10000"/>
                  <a:gd name="connsiteY26" fmla="*/ 5632 h 10127"/>
                  <a:gd name="connsiteX27" fmla="*/ 7740 w 10000"/>
                  <a:gd name="connsiteY27" fmla="*/ 6160 h 10127"/>
                  <a:gd name="connsiteX28" fmla="*/ 7143 w 10000"/>
                  <a:gd name="connsiteY28" fmla="*/ 6502 h 10127"/>
                  <a:gd name="connsiteX29" fmla="*/ 8052 w 10000"/>
                  <a:gd name="connsiteY29" fmla="*/ 6627 h 10127"/>
                  <a:gd name="connsiteX30" fmla="*/ 7792 w 10000"/>
                  <a:gd name="connsiteY30" fmla="*/ 7252 h 10127"/>
                  <a:gd name="connsiteX31" fmla="*/ 9870 w 10000"/>
                  <a:gd name="connsiteY31" fmla="*/ 7315 h 10127"/>
                  <a:gd name="connsiteX32" fmla="*/ 10000 w 10000"/>
                  <a:gd name="connsiteY32" fmla="*/ 8690 h 10127"/>
                  <a:gd name="connsiteX33" fmla="*/ 9221 w 10000"/>
                  <a:gd name="connsiteY33" fmla="*/ 9190 h 10127"/>
                  <a:gd name="connsiteX34" fmla="*/ 8831 w 10000"/>
                  <a:gd name="connsiteY34" fmla="*/ 8627 h 10127"/>
                  <a:gd name="connsiteX35" fmla="*/ 7662 w 10000"/>
                  <a:gd name="connsiteY35" fmla="*/ 8815 h 10127"/>
                  <a:gd name="connsiteX36" fmla="*/ 8182 w 10000"/>
                  <a:gd name="connsiteY36" fmla="*/ 9377 h 10127"/>
                  <a:gd name="connsiteX37" fmla="*/ 7143 w 10000"/>
                  <a:gd name="connsiteY37" fmla="*/ 10127 h 10127"/>
                  <a:gd name="connsiteX0" fmla="*/ 7143 w 10000"/>
                  <a:gd name="connsiteY0" fmla="*/ 10127 h 10127"/>
                  <a:gd name="connsiteX1" fmla="*/ 3896 w 10000"/>
                  <a:gd name="connsiteY1" fmla="*/ 9690 h 10127"/>
                  <a:gd name="connsiteX2" fmla="*/ 1169 w 10000"/>
                  <a:gd name="connsiteY2" fmla="*/ 9002 h 10127"/>
                  <a:gd name="connsiteX3" fmla="*/ 1299 w 10000"/>
                  <a:gd name="connsiteY3" fmla="*/ 8252 h 10127"/>
                  <a:gd name="connsiteX4" fmla="*/ 1429 w 10000"/>
                  <a:gd name="connsiteY4" fmla="*/ 7752 h 10127"/>
                  <a:gd name="connsiteX5" fmla="*/ 779 w 10000"/>
                  <a:gd name="connsiteY5" fmla="*/ 7252 h 10127"/>
                  <a:gd name="connsiteX6" fmla="*/ 519 w 10000"/>
                  <a:gd name="connsiteY6" fmla="*/ 6877 h 10127"/>
                  <a:gd name="connsiteX7" fmla="*/ 1558 w 10000"/>
                  <a:gd name="connsiteY7" fmla="*/ 6252 h 10127"/>
                  <a:gd name="connsiteX8" fmla="*/ 390 w 10000"/>
                  <a:gd name="connsiteY8" fmla="*/ 5690 h 10127"/>
                  <a:gd name="connsiteX9" fmla="*/ 0 w 10000"/>
                  <a:gd name="connsiteY9" fmla="*/ 4252 h 10127"/>
                  <a:gd name="connsiteX10" fmla="*/ 909 w 10000"/>
                  <a:gd name="connsiteY10" fmla="*/ 4002 h 10127"/>
                  <a:gd name="connsiteX11" fmla="*/ 909 w 10000"/>
                  <a:gd name="connsiteY11" fmla="*/ 2815 h 10127"/>
                  <a:gd name="connsiteX12" fmla="*/ 260 w 10000"/>
                  <a:gd name="connsiteY12" fmla="*/ 2502 h 10127"/>
                  <a:gd name="connsiteX13" fmla="*/ 1039 w 10000"/>
                  <a:gd name="connsiteY13" fmla="*/ 2190 h 10127"/>
                  <a:gd name="connsiteX14" fmla="*/ 3110 w 10000"/>
                  <a:gd name="connsiteY14" fmla="*/ 1942 h 10127"/>
                  <a:gd name="connsiteX15" fmla="*/ 2711 w 10000"/>
                  <a:gd name="connsiteY15" fmla="*/ 793 h 10127"/>
                  <a:gd name="connsiteX16" fmla="*/ 3972 w 10000"/>
                  <a:gd name="connsiteY16" fmla="*/ 0 h 10127"/>
                  <a:gd name="connsiteX17" fmla="*/ 5195 w 10000"/>
                  <a:gd name="connsiteY17" fmla="*/ 127 h 10127"/>
                  <a:gd name="connsiteX18" fmla="*/ 6364 w 10000"/>
                  <a:gd name="connsiteY18" fmla="*/ 752 h 10127"/>
                  <a:gd name="connsiteX19" fmla="*/ 7922 w 10000"/>
                  <a:gd name="connsiteY19" fmla="*/ 127 h 10127"/>
                  <a:gd name="connsiteX20" fmla="*/ 8701 w 10000"/>
                  <a:gd name="connsiteY20" fmla="*/ 1252 h 10127"/>
                  <a:gd name="connsiteX21" fmla="*/ 8052 w 10000"/>
                  <a:gd name="connsiteY21" fmla="*/ 2315 h 10127"/>
                  <a:gd name="connsiteX22" fmla="*/ 8052 w 10000"/>
                  <a:gd name="connsiteY22" fmla="*/ 3127 h 10127"/>
                  <a:gd name="connsiteX23" fmla="*/ 9740 w 10000"/>
                  <a:gd name="connsiteY23" fmla="*/ 3127 h 10127"/>
                  <a:gd name="connsiteX24" fmla="*/ 8052 w 10000"/>
                  <a:gd name="connsiteY24" fmla="*/ 3815 h 10127"/>
                  <a:gd name="connsiteX25" fmla="*/ 8831 w 10000"/>
                  <a:gd name="connsiteY25" fmla="*/ 4315 h 10127"/>
                  <a:gd name="connsiteX26" fmla="*/ 8393 w 10000"/>
                  <a:gd name="connsiteY26" fmla="*/ 5632 h 10127"/>
                  <a:gd name="connsiteX27" fmla="*/ 7740 w 10000"/>
                  <a:gd name="connsiteY27" fmla="*/ 6160 h 10127"/>
                  <a:gd name="connsiteX28" fmla="*/ 7143 w 10000"/>
                  <a:gd name="connsiteY28" fmla="*/ 6502 h 10127"/>
                  <a:gd name="connsiteX29" fmla="*/ 8052 w 10000"/>
                  <a:gd name="connsiteY29" fmla="*/ 6627 h 10127"/>
                  <a:gd name="connsiteX30" fmla="*/ 7792 w 10000"/>
                  <a:gd name="connsiteY30" fmla="*/ 7252 h 10127"/>
                  <a:gd name="connsiteX31" fmla="*/ 9870 w 10000"/>
                  <a:gd name="connsiteY31" fmla="*/ 7315 h 10127"/>
                  <a:gd name="connsiteX32" fmla="*/ 10000 w 10000"/>
                  <a:gd name="connsiteY32" fmla="*/ 8690 h 10127"/>
                  <a:gd name="connsiteX33" fmla="*/ 9221 w 10000"/>
                  <a:gd name="connsiteY33" fmla="*/ 9190 h 10127"/>
                  <a:gd name="connsiteX34" fmla="*/ 8831 w 10000"/>
                  <a:gd name="connsiteY34" fmla="*/ 8627 h 10127"/>
                  <a:gd name="connsiteX35" fmla="*/ 7662 w 10000"/>
                  <a:gd name="connsiteY35" fmla="*/ 8815 h 10127"/>
                  <a:gd name="connsiteX36" fmla="*/ 8182 w 10000"/>
                  <a:gd name="connsiteY36" fmla="*/ 9377 h 10127"/>
                  <a:gd name="connsiteX37" fmla="*/ 7143 w 10000"/>
                  <a:gd name="connsiteY37" fmla="*/ 10127 h 10127"/>
                  <a:gd name="connsiteX0" fmla="*/ 7143 w 10000"/>
                  <a:gd name="connsiteY0" fmla="*/ 10127 h 10127"/>
                  <a:gd name="connsiteX1" fmla="*/ 2752 w 10000"/>
                  <a:gd name="connsiteY1" fmla="*/ 9770 h 10127"/>
                  <a:gd name="connsiteX2" fmla="*/ 1169 w 10000"/>
                  <a:gd name="connsiteY2" fmla="*/ 9002 h 10127"/>
                  <a:gd name="connsiteX3" fmla="*/ 1299 w 10000"/>
                  <a:gd name="connsiteY3" fmla="*/ 8252 h 10127"/>
                  <a:gd name="connsiteX4" fmla="*/ 1429 w 10000"/>
                  <a:gd name="connsiteY4" fmla="*/ 7752 h 10127"/>
                  <a:gd name="connsiteX5" fmla="*/ 779 w 10000"/>
                  <a:gd name="connsiteY5" fmla="*/ 7252 h 10127"/>
                  <a:gd name="connsiteX6" fmla="*/ 519 w 10000"/>
                  <a:gd name="connsiteY6" fmla="*/ 6877 h 10127"/>
                  <a:gd name="connsiteX7" fmla="*/ 1558 w 10000"/>
                  <a:gd name="connsiteY7" fmla="*/ 6252 h 10127"/>
                  <a:gd name="connsiteX8" fmla="*/ 390 w 10000"/>
                  <a:gd name="connsiteY8" fmla="*/ 5690 h 10127"/>
                  <a:gd name="connsiteX9" fmla="*/ 0 w 10000"/>
                  <a:gd name="connsiteY9" fmla="*/ 4252 h 10127"/>
                  <a:gd name="connsiteX10" fmla="*/ 909 w 10000"/>
                  <a:gd name="connsiteY10" fmla="*/ 4002 h 10127"/>
                  <a:gd name="connsiteX11" fmla="*/ 909 w 10000"/>
                  <a:gd name="connsiteY11" fmla="*/ 2815 h 10127"/>
                  <a:gd name="connsiteX12" fmla="*/ 260 w 10000"/>
                  <a:gd name="connsiteY12" fmla="*/ 2502 h 10127"/>
                  <a:gd name="connsiteX13" fmla="*/ 1039 w 10000"/>
                  <a:gd name="connsiteY13" fmla="*/ 2190 h 10127"/>
                  <a:gd name="connsiteX14" fmla="*/ 3110 w 10000"/>
                  <a:gd name="connsiteY14" fmla="*/ 1942 h 10127"/>
                  <a:gd name="connsiteX15" fmla="*/ 2711 w 10000"/>
                  <a:gd name="connsiteY15" fmla="*/ 793 h 10127"/>
                  <a:gd name="connsiteX16" fmla="*/ 3972 w 10000"/>
                  <a:gd name="connsiteY16" fmla="*/ 0 h 10127"/>
                  <a:gd name="connsiteX17" fmla="*/ 5195 w 10000"/>
                  <a:gd name="connsiteY17" fmla="*/ 127 h 10127"/>
                  <a:gd name="connsiteX18" fmla="*/ 6364 w 10000"/>
                  <a:gd name="connsiteY18" fmla="*/ 752 h 10127"/>
                  <a:gd name="connsiteX19" fmla="*/ 7922 w 10000"/>
                  <a:gd name="connsiteY19" fmla="*/ 127 h 10127"/>
                  <a:gd name="connsiteX20" fmla="*/ 8701 w 10000"/>
                  <a:gd name="connsiteY20" fmla="*/ 1252 h 10127"/>
                  <a:gd name="connsiteX21" fmla="*/ 8052 w 10000"/>
                  <a:gd name="connsiteY21" fmla="*/ 2315 h 10127"/>
                  <a:gd name="connsiteX22" fmla="*/ 8052 w 10000"/>
                  <a:gd name="connsiteY22" fmla="*/ 3127 h 10127"/>
                  <a:gd name="connsiteX23" fmla="*/ 9740 w 10000"/>
                  <a:gd name="connsiteY23" fmla="*/ 3127 h 10127"/>
                  <a:gd name="connsiteX24" fmla="*/ 8052 w 10000"/>
                  <a:gd name="connsiteY24" fmla="*/ 3815 h 10127"/>
                  <a:gd name="connsiteX25" fmla="*/ 8831 w 10000"/>
                  <a:gd name="connsiteY25" fmla="*/ 4315 h 10127"/>
                  <a:gd name="connsiteX26" fmla="*/ 8393 w 10000"/>
                  <a:gd name="connsiteY26" fmla="*/ 5632 h 10127"/>
                  <a:gd name="connsiteX27" fmla="*/ 7740 w 10000"/>
                  <a:gd name="connsiteY27" fmla="*/ 6160 h 10127"/>
                  <a:gd name="connsiteX28" fmla="*/ 7143 w 10000"/>
                  <a:gd name="connsiteY28" fmla="*/ 6502 h 10127"/>
                  <a:gd name="connsiteX29" fmla="*/ 8052 w 10000"/>
                  <a:gd name="connsiteY29" fmla="*/ 6627 h 10127"/>
                  <a:gd name="connsiteX30" fmla="*/ 7792 w 10000"/>
                  <a:gd name="connsiteY30" fmla="*/ 7252 h 10127"/>
                  <a:gd name="connsiteX31" fmla="*/ 9870 w 10000"/>
                  <a:gd name="connsiteY31" fmla="*/ 7315 h 10127"/>
                  <a:gd name="connsiteX32" fmla="*/ 10000 w 10000"/>
                  <a:gd name="connsiteY32" fmla="*/ 8690 h 10127"/>
                  <a:gd name="connsiteX33" fmla="*/ 9221 w 10000"/>
                  <a:gd name="connsiteY33" fmla="*/ 9190 h 10127"/>
                  <a:gd name="connsiteX34" fmla="*/ 8831 w 10000"/>
                  <a:gd name="connsiteY34" fmla="*/ 8627 h 10127"/>
                  <a:gd name="connsiteX35" fmla="*/ 7662 w 10000"/>
                  <a:gd name="connsiteY35" fmla="*/ 8815 h 10127"/>
                  <a:gd name="connsiteX36" fmla="*/ 8182 w 10000"/>
                  <a:gd name="connsiteY36" fmla="*/ 9377 h 10127"/>
                  <a:gd name="connsiteX37" fmla="*/ 7143 w 10000"/>
                  <a:gd name="connsiteY37" fmla="*/ 10127 h 10127"/>
                  <a:gd name="connsiteX0" fmla="*/ 7143 w 10000"/>
                  <a:gd name="connsiteY0" fmla="*/ 10127 h 10127"/>
                  <a:gd name="connsiteX1" fmla="*/ 2752 w 10000"/>
                  <a:gd name="connsiteY1" fmla="*/ 9770 h 10127"/>
                  <a:gd name="connsiteX2" fmla="*/ 1169 w 10000"/>
                  <a:gd name="connsiteY2" fmla="*/ 9002 h 10127"/>
                  <a:gd name="connsiteX3" fmla="*/ 1299 w 10000"/>
                  <a:gd name="connsiteY3" fmla="*/ 8252 h 10127"/>
                  <a:gd name="connsiteX4" fmla="*/ 1429 w 10000"/>
                  <a:gd name="connsiteY4" fmla="*/ 7752 h 10127"/>
                  <a:gd name="connsiteX5" fmla="*/ 779 w 10000"/>
                  <a:gd name="connsiteY5" fmla="*/ 7252 h 10127"/>
                  <a:gd name="connsiteX6" fmla="*/ 519 w 10000"/>
                  <a:gd name="connsiteY6" fmla="*/ 6877 h 10127"/>
                  <a:gd name="connsiteX7" fmla="*/ 1558 w 10000"/>
                  <a:gd name="connsiteY7" fmla="*/ 6252 h 10127"/>
                  <a:gd name="connsiteX8" fmla="*/ 390 w 10000"/>
                  <a:gd name="connsiteY8" fmla="*/ 5690 h 10127"/>
                  <a:gd name="connsiteX9" fmla="*/ 0 w 10000"/>
                  <a:gd name="connsiteY9" fmla="*/ 4252 h 10127"/>
                  <a:gd name="connsiteX10" fmla="*/ 909 w 10000"/>
                  <a:gd name="connsiteY10" fmla="*/ 4002 h 10127"/>
                  <a:gd name="connsiteX11" fmla="*/ 909 w 10000"/>
                  <a:gd name="connsiteY11" fmla="*/ 2815 h 10127"/>
                  <a:gd name="connsiteX12" fmla="*/ 260 w 10000"/>
                  <a:gd name="connsiteY12" fmla="*/ 2502 h 10127"/>
                  <a:gd name="connsiteX13" fmla="*/ 1039 w 10000"/>
                  <a:gd name="connsiteY13" fmla="*/ 2190 h 10127"/>
                  <a:gd name="connsiteX14" fmla="*/ 3110 w 10000"/>
                  <a:gd name="connsiteY14" fmla="*/ 1942 h 10127"/>
                  <a:gd name="connsiteX15" fmla="*/ 2711 w 10000"/>
                  <a:gd name="connsiteY15" fmla="*/ 793 h 10127"/>
                  <a:gd name="connsiteX16" fmla="*/ 3972 w 10000"/>
                  <a:gd name="connsiteY16" fmla="*/ 0 h 10127"/>
                  <a:gd name="connsiteX17" fmla="*/ 5195 w 10000"/>
                  <a:gd name="connsiteY17" fmla="*/ 127 h 10127"/>
                  <a:gd name="connsiteX18" fmla="*/ 6364 w 10000"/>
                  <a:gd name="connsiteY18" fmla="*/ 752 h 10127"/>
                  <a:gd name="connsiteX19" fmla="*/ 7922 w 10000"/>
                  <a:gd name="connsiteY19" fmla="*/ 127 h 10127"/>
                  <a:gd name="connsiteX20" fmla="*/ 8701 w 10000"/>
                  <a:gd name="connsiteY20" fmla="*/ 1252 h 10127"/>
                  <a:gd name="connsiteX21" fmla="*/ 8052 w 10000"/>
                  <a:gd name="connsiteY21" fmla="*/ 2315 h 10127"/>
                  <a:gd name="connsiteX22" fmla="*/ 8052 w 10000"/>
                  <a:gd name="connsiteY22" fmla="*/ 3127 h 10127"/>
                  <a:gd name="connsiteX23" fmla="*/ 9740 w 10000"/>
                  <a:gd name="connsiteY23" fmla="*/ 3127 h 10127"/>
                  <a:gd name="connsiteX24" fmla="*/ 8052 w 10000"/>
                  <a:gd name="connsiteY24" fmla="*/ 3815 h 10127"/>
                  <a:gd name="connsiteX25" fmla="*/ 8831 w 10000"/>
                  <a:gd name="connsiteY25" fmla="*/ 4315 h 10127"/>
                  <a:gd name="connsiteX26" fmla="*/ 8393 w 10000"/>
                  <a:gd name="connsiteY26" fmla="*/ 5632 h 10127"/>
                  <a:gd name="connsiteX27" fmla="*/ 7740 w 10000"/>
                  <a:gd name="connsiteY27" fmla="*/ 6160 h 10127"/>
                  <a:gd name="connsiteX28" fmla="*/ 7143 w 10000"/>
                  <a:gd name="connsiteY28" fmla="*/ 6502 h 10127"/>
                  <a:gd name="connsiteX29" fmla="*/ 8052 w 10000"/>
                  <a:gd name="connsiteY29" fmla="*/ 6627 h 10127"/>
                  <a:gd name="connsiteX30" fmla="*/ 7792 w 10000"/>
                  <a:gd name="connsiteY30" fmla="*/ 7252 h 10127"/>
                  <a:gd name="connsiteX31" fmla="*/ 9870 w 10000"/>
                  <a:gd name="connsiteY31" fmla="*/ 7315 h 10127"/>
                  <a:gd name="connsiteX32" fmla="*/ 10000 w 10000"/>
                  <a:gd name="connsiteY32" fmla="*/ 8690 h 10127"/>
                  <a:gd name="connsiteX33" fmla="*/ 9221 w 10000"/>
                  <a:gd name="connsiteY33" fmla="*/ 9190 h 10127"/>
                  <a:gd name="connsiteX34" fmla="*/ 8831 w 10000"/>
                  <a:gd name="connsiteY34" fmla="*/ 8627 h 10127"/>
                  <a:gd name="connsiteX35" fmla="*/ 7662 w 10000"/>
                  <a:gd name="connsiteY35" fmla="*/ 8815 h 10127"/>
                  <a:gd name="connsiteX36" fmla="*/ 8182 w 10000"/>
                  <a:gd name="connsiteY36" fmla="*/ 9377 h 10127"/>
                  <a:gd name="connsiteX37" fmla="*/ 7143 w 10000"/>
                  <a:gd name="connsiteY37" fmla="*/ 10127 h 10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000" h="10127">
                    <a:moveTo>
                      <a:pt x="7143" y="10127"/>
                    </a:moveTo>
                    <a:cubicBezTo>
                      <a:pt x="5679" y="10008"/>
                      <a:pt x="4723" y="9624"/>
                      <a:pt x="2752" y="9770"/>
                    </a:cubicBezTo>
                    <a:lnTo>
                      <a:pt x="1169" y="9002"/>
                    </a:lnTo>
                    <a:cubicBezTo>
                      <a:pt x="1212" y="8752"/>
                      <a:pt x="1256" y="8502"/>
                      <a:pt x="1299" y="8252"/>
                    </a:cubicBezTo>
                    <a:cubicBezTo>
                      <a:pt x="1342" y="8085"/>
                      <a:pt x="1386" y="7919"/>
                      <a:pt x="1429" y="7752"/>
                    </a:cubicBezTo>
                    <a:lnTo>
                      <a:pt x="779" y="7252"/>
                    </a:lnTo>
                    <a:lnTo>
                      <a:pt x="519" y="6877"/>
                    </a:lnTo>
                    <a:lnTo>
                      <a:pt x="1558" y="6252"/>
                    </a:lnTo>
                    <a:lnTo>
                      <a:pt x="390" y="5690"/>
                    </a:lnTo>
                    <a:lnTo>
                      <a:pt x="0" y="4252"/>
                    </a:lnTo>
                    <a:lnTo>
                      <a:pt x="909" y="4002"/>
                    </a:lnTo>
                    <a:lnTo>
                      <a:pt x="909" y="2815"/>
                    </a:lnTo>
                    <a:lnTo>
                      <a:pt x="260" y="2502"/>
                    </a:lnTo>
                    <a:lnTo>
                      <a:pt x="1039" y="2190"/>
                    </a:lnTo>
                    <a:lnTo>
                      <a:pt x="3110" y="1942"/>
                    </a:lnTo>
                    <a:lnTo>
                      <a:pt x="2711" y="793"/>
                    </a:lnTo>
                    <a:cubicBezTo>
                      <a:pt x="2668" y="272"/>
                      <a:pt x="3600" y="206"/>
                      <a:pt x="3972" y="0"/>
                    </a:cubicBezTo>
                    <a:lnTo>
                      <a:pt x="5195" y="127"/>
                    </a:lnTo>
                    <a:lnTo>
                      <a:pt x="6364" y="752"/>
                    </a:lnTo>
                    <a:lnTo>
                      <a:pt x="7922" y="127"/>
                    </a:lnTo>
                    <a:lnTo>
                      <a:pt x="8701" y="1252"/>
                    </a:lnTo>
                    <a:lnTo>
                      <a:pt x="8052" y="2315"/>
                    </a:lnTo>
                    <a:lnTo>
                      <a:pt x="8052" y="3127"/>
                    </a:lnTo>
                    <a:lnTo>
                      <a:pt x="9740" y="3127"/>
                    </a:lnTo>
                    <a:lnTo>
                      <a:pt x="8052" y="3815"/>
                    </a:lnTo>
                    <a:lnTo>
                      <a:pt x="8831" y="4315"/>
                    </a:lnTo>
                    <a:lnTo>
                      <a:pt x="8393" y="5632"/>
                    </a:lnTo>
                    <a:lnTo>
                      <a:pt x="7740" y="6160"/>
                    </a:lnTo>
                    <a:lnTo>
                      <a:pt x="7143" y="6502"/>
                    </a:lnTo>
                    <a:lnTo>
                      <a:pt x="8052" y="6627"/>
                    </a:lnTo>
                    <a:cubicBezTo>
                      <a:pt x="7965" y="6835"/>
                      <a:pt x="7879" y="7044"/>
                      <a:pt x="7792" y="7252"/>
                    </a:cubicBezTo>
                    <a:lnTo>
                      <a:pt x="9870" y="7315"/>
                    </a:lnTo>
                    <a:cubicBezTo>
                      <a:pt x="9913" y="7773"/>
                      <a:pt x="9957" y="8232"/>
                      <a:pt x="10000" y="8690"/>
                    </a:cubicBezTo>
                    <a:lnTo>
                      <a:pt x="9221" y="9190"/>
                    </a:lnTo>
                    <a:lnTo>
                      <a:pt x="8831" y="8627"/>
                    </a:lnTo>
                    <a:lnTo>
                      <a:pt x="7662" y="8815"/>
                    </a:lnTo>
                    <a:lnTo>
                      <a:pt x="8182" y="9377"/>
                    </a:lnTo>
                    <a:lnTo>
                      <a:pt x="7143" y="1012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/>
              </a:p>
            </p:txBody>
          </p:sp>
          <p:sp>
            <p:nvSpPr>
              <p:cNvPr id="55" name="2bD"/>
              <p:cNvSpPr>
                <a:spLocks/>
              </p:cNvSpPr>
              <p:nvPr/>
            </p:nvSpPr>
            <p:spPr bwMode="auto">
              <a:xfrm>
                <a:off x="2288038" y="3796492"/>
                <a:ext cx="41" cy="61"/>
              </a:xfrm>
              <a:custGeom>
                <a:avLst/>
                <a:gdLst>
                  <a:gd name="T0" fmla="*/ 6 w 41"/>
                  <a:gd name="T1" fmla="*/ 61 h 61"/>
                  <a:gd name="T2" fmla="*/ 18 w 41"/>
                  <a:gd name="T3" fmla="*/ 61 h 61"/>
                  <a:gd name="T4" fmla="*/ 22 w 41"/>
                  <a:gd name="T5" fmla="*/ 58 h 61"/>
                  <a:gd name="T6" fmla="*/ 28 w 41"/>
                  <a:gd name="T7" fmla="*/ 59 h 61"/>
                  <a:gd name="T8" fmla="*/ 34 w 41"/>
                  <a:gd name="T9" fmla="*/ 61 h 61"/>
                  <a:gd name="T10" fmla="*/ 35 w 41"/>
                  <a:gd name="T11" fmla="*/ 34 h 61"/>
                  <a:gd name="T12" fmla="*/ 41 w 41"/>
                  <a:gd name="T13" fmla="*/ 6 h 61"/>
                  <a:gd name="T14" fmla="*/ 25 w 41"/>
                  <a:gd name="T15" fmla="*/ 0 h 61"/>
                  <a:gd name="T16" fmla="*/ 25 w 41"/>
                  <a:gd name="T17" fmla="*/ 4 h 61"/>
                  <a:gd name="T18" fmla="*/ 7 w 41"/>
                  <a:gd name="T19" fmla="*/ 21 h 61"/>
                  <a:gd name="T20" fmla="*/ 0 w 41"/>
                  <a:gd name="T21" fmla="*/ 22 h 61"/>
                  <a:gd name="T22" fmla="*/ 1 w 41"/>
                  <a:gd name="T23" fmla="*/ 29 h 61"/>
                  <a:gd name="T24" fmla="*/ 6 w 41"/>
                  <a:gd name="T25" fmla="*/ 30 h 61"/>
                  <a:gd name="T26" fmla="*/ 5 w 41"/>
                  <a:gd name="T27" fmla="*/ 53 h 61"/>
                  <a:gd name="T28" fmla="*/ 0 w 41"/>
                  <a:gd name="T29" fmla="*/ 52 h 61"/>
                  <a:gd name="T30" fmla="*/ 6 w 41"/>
                  <a:gd name="T31" fmla="*/ 61 h 6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1"/>
                  <a:gd name="T49" fmla="*/ 0 h 61"/>
                  <a:gd name="T50" fmla="*/ 41 w 41"/>
                  <a:gd name="T51" fmla="*/ 61 h 6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1" h="61">
                    <a:moveTo>
                      <a:pt x="6" y="61"/>
                    </a:moveTo>
                    <a:lnTo>
                      <a:pt x="18" y="61"/>
                    </a:lnTo>
                    <a:lnTo>
                      <a:pt x="22" y="58"/>
                    </a:lnTo>
                    <a:lnTo>
                      <a:pt x="28" y="59"/>
                    </a:lnTo>
                    <a:lnTo>
                      <a:pt x="34" y="61"/>
                    </a:lnTo>
                    <a:lnTo>
                      <a:pt x="35" y="34"/>
                    </a:lnTo>
                    <a:lnTo>
                      <a:pt x="41" y="6"/>
                    </a:lnTo>
                    <a:lnTo>
                      <a:pt x="25" y="0"/>
                    </a:lnTo>
                    <a:lnTo>
                      <a:pt x="25" y="4"/>
                    </a:lnTo>
                    <a:lnTo>
                      <a:pt x="7" y="21"/>
                    </a:lnTo>
                    <a:lnTo>
                      <a:pt x="0" y="22"/>
                    </a:lnTo>
                    <a:lnTo>
                      <a:pt x="1" y="29"/>
                    </a:lnTo>
                    <a:lnTo>
                      <a:pt x="6" y="30"/>
                    </a:lnTo>
                    <a:lnTo>
                      <a:pt x="5" y="53"/>
                    </a:lnTo>
                    <a:lnTo>
                      <a:pt x="0" y="52"/>
                    </a:lnTo>
                    <a:lnTo>
                      <a:pt x="6" y="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/>
              </a:p>
            </p:txBody>
          </p:sp>
        </p:grpSp>
        <p:sp>
          <p:nvSpPr>
            <p:cNvPr id="50" name="MT"/>
            <p:cNvSpPr>
              <a:spLocks noChangeAspect="1"/>
            </p:cNvSpPr>
            <p:nvPr/>
          </p:nvSpPr>
          <p:spPr bwMode="auto">
            <a:xfrm rot="13083780">
              <a:off x="5983288" y="6127750"/>
              <a:ext cx="142875" cy="46038"/>
            </a:xfrm>
            <a:custGeom>
              <a:avLst/>
              <a:gdLst>
                <a:gd name="connsiteX0" fmla="*/ 0 w 10000"/>
                <a:gd name="connsiteY0" fmla="*/ 7919 h 14586"/>
                <a:gd name="connsiteX1" fmla="*/ 257 w 10000"/>
                <a:gd name="connsiteY1" fmla="*/ 12364 h 14586"/>
                <a:gd name="connsiteX2" fmla="*/ 1061 w 10000"/>
                <a:gd name="connsiteY2" fmla="*/ 13475 h 14586"/>
                <a:gd name="connsiteX3" fmla="*/ 2154 w 10000"/>
                <a:gd name="connsiteY3" fmla="*/ 13475 h 14586"/>
                <a:gd name="connsiteX4" fmla="*/ 4051 w 10000"/>
                <a:gd name="connsiteY4" fmla="*/ 12364 h 14586"/>
                <a:gd name="connsiteX5" fmla="*/ 4598 w 10000"/>
                <a:gd name="connsiteY5" fmla="*/ 12364 h 14586"/>
                <a:gd name="connsiteX6" fmla="*/ 4598 w 10000"/>
                <a:gd name="connsiteY6" fmla="*/ 14586 h 14586"/>
                <a:gd name="connsiteX7" fmla="*/ 6206 w 10000"/>
                <a:gd name="connsiteY7" fmla="*/ 14586 h 14586"/>
                <a:gd name="connsiteX8" fmla="*/ 7042 w 10000"/>
                <a:gd name="connsiteY8" fmla="*/ 12364 h 14586"/>
                <a:gd name="connsiteX9" fmla="*/ 8103 w 10000"/>
                <a:gd name="connsiteY9" fmla="*/ 12364 h 14586"/>
                <a:gd name="connsiteX10" fmla="*/ 8939 w 10000"/>
                <a:gd name="connsiteY10" fmla="*/ 10142 h 14586"/>
                <a:gd name="connsiteX11" fmla="*/ 10000 w 10000"/>
                <a:gd name="connsiteY11" fmla="*/ 9030 h 14586"/>
                <a:gd name="connsiteX12" fmla="*/ 10000 w 10000"/>
                <a:gd name="connsiteY12" fmla="*/ 4586 h 14586"/>
                <a:gd name="connsiteX13" fmla="*/ 9196 w 10000"/>
                <a:gd name="connsiteY13" fmla="*/ 6808 h 14586"/>
                <a:gd name="connsiteX14" fmla="*/ 8650 w 10000"/>
                <a:gd name="connsiteY14" fmla="*/ 7919 h 14586"/>
                <a:gd name="connsiteX15" fmla="*/ 8103 w 10000"/>
                <a:gd name="connsiteY15" fmla="*/ 7919 h 14586"/>
                <a:gd name="connsiteX16" fmla="*/ 7846 w 10000"/>
                <a:gd name="connsiteY16" fmla="*/ 5697 h 14586"/>
                <a:gd name="connsiteX17" fmla="*/ 7042 w 10000"/>
                <a:gd name="connsiteY17" fmla="*/ 6808 h 14586"/>
                <a:gd name="connsiteX18" fmla="*/ 5402 w 10000"/>
                <a:gd name="connsiteY18" fmla="*/ 7919 h 14586"/>
                <a:gd name="connsiteX19" fmla="*/ 5402 w 10000"/>
                <a:gd name="connsiteY19" fmla="*/ 5697 h 14586"/>
                <a:gd name="connsiteX20" fmla="*/ 3529 w 10000"/>
                <a:gd name="connsiteY20" fmla="*/ 1111 h 14586"/>
                <a:gd name="connsiteX21" fmla="*/ 2412 w 10000"/>
                <a:gd name="connsiteY21" fmla="*/ 6808 h 14586"/>
                <a:gd name="connsiteX22" fmla="*/ 1897 w 10000"/>
                <a:gd name="connsiteY22" fmla="*/ 5697 h 14586"/>
                <a:gd name="connsiteX23" fmla="*/ 1897 w 10000"/>
                <a:gd name="connsiteY23" fmla="*/ 7919 h 14586"/>
                <a:gd name="connsiteX24" fmla="*/ 1061 w 10000"/>
                <a:gd name="connsiteY24" fmla="*/ 7919 h 14586"/>
                <a:gd name="connsiteX25" fmla="*/ 514 w 10000"/>
                <a:gd name="connsiteY25" fmla="*/ 4586 h 14586"/>
                <a:gd name="connsiteX26" fmla="*/ 514 w 10000"/>
                <a:gd name="connsiteY26" fmla="*/ 6808 h 14586"/>
                <a:gd name="connsiteX27" fmla="*/ 0 w 10000"/>
                <a:gd name="connsiteY27" fmla="*/ 7919 h 14586"/>
                <a:gd name="connsiteX0" fmla="*/ 0 w 10000"/>
                <a:gd name="connsiteY0" fmla="*/ 7919 h 14586"/>
                <a:gd name="connsiteX1" fmla="*/ 257 w 10000"/>
                <a:gd name="connsiteY1" fmla="*/ 12364 h 14586"/>
                <a:gd name="connsiteX2" fmla="*/ 1061 w 10000"/>
                <a:gd name="connsiteY2" fmla="*/ 13475 h 14586"/>
                <a:gd name="connsiteX3" fmla="*/ 2154 w 10000"/>
                <a:gd name="connsiteY3" fmla="*/ 13475 h 14586"/>
                <a:gd name="connsiteX4" fmla="*/ 4051 w 10000"/>
                <a:gd name="connsiteY4" fmla="*/ 12364 h 14586"/>
                <a:gd name="connsiteX5" fmla="*/ 4598 w 10000"/>
                <a:gd name="connsiteY5" fmla="*/ 12364 h 14586"/>
                <a:gd name="connsiteX6" fmla="*/ 4598 w 10000"/>
                <a:gd name="connsiteY6" fmla="*/ 14586 h 14586"/>
                <a:gd name="connsiteX7" fmla="*/ 6206 w 10000"/>
                <a:gd name="connsiteY7" fmla="*/ 14586 h 14586"/>
                <a:gd name="connsiteX8" fmla="*/ 7042 w 10000"/>
                <a:gd name="connsiteY8" fmla="*/ 12364 h 14586"/>
                <a:gd name="connsiteX9" fmla="*/ 8103 w 10000"/>
                <a:gd name="connsiteY9" fmla="*/ 12364 h 14586"/>
                <a:gd name="connsiteX10" fmla="*/ 8939 w 10000"/>
                <a:gd name="connsiteY10" fmla="*/ 10142 h 14586"/>
                <a:gd name="connsiteX11" fmla="*/ 10000 w 10000"/>
                <a:gd name="connsiteY11" fmla="*/ 9030 h 14586"/>
                <a:gd name="connsiteX12" fmla="*/ 10000 w 10000"/>
                <a:gd name="connsiteY12" fmla="*/ 4586 h 14586"/>
                <a:gd name="connsiteX13" fmla="*/ 9196 w 10000"/>
                <a:gd name="connsiteY13" fmla="*/ 6808 h 14586"/>
                <a:gd name="connsiteX14" fmla="*/ 8650 w 10000"/>
                <a:gd name="connsiteY14" fmla="*/ 7919 h 14586"/>
                <a:gd name="connsiteX15" fmla="*/ 8103 w 10000"/>
                <a:gd name="connsiteY15" fmla="*/ 7919 h 14586"/>
                <a:gd name="connsiteX16" fmla="*/ 7846 w 10000"/>
                <a:gd name="connsiteY16" fmla="*/ 5697 h 14586"/>
                <a:gd name="connsiteX17" fmla="*/ 7042 w 10000"/>
                <a:gd name="connsiteY17" fmla="*/ 6808 h 14586"/>
                <a:gd name="connsiteX18" fmla="*/ 5402 w 10000"/>
                <a:gd name="connsiteY18" fmla="*/ 7919 h 14586"/>
                <a:gd name="connsiteX19" fmla="*/ 5402 w 10000"/>
                <a:gd name="connsiteY19" fmla="*/ 5697 h 14586"/>
                <a:gd name="connsiteX20" fmla="*/ 3529 w 10000"/>
                <a:gd name="connsiteY20" fmla="*/ 1111 h 14586"/>
                <a:gd name="connsiteX21" fmla="*/ 2412 w 10000"/>
                <a:gd name="connsiteY21" fmla="*/ 6808 h 14586"/>
                <a:gd name="connsiteX22" fmla="*/ 1176 w 10000"/>
                <a:gd name="connsiteY22" fmla="*/ 0 h 14586"/>
                <a:gd name="connsiteX23" fmla="*/ 1897 w 10000"/>
                <a:gd name="connsiteY23" fmla="*/ 7919 h 14586"/>
                <a:gd name="connsiteX24" fmla="*/ 1061 w 10000"/>
                <a:gd name="connsiteY24" fmla="*/ 7919 h 14586"/>
                <a:gd name="connsiteX25" fmla="*/ 514 w 10000"/>
                <a:gd name="connsiteY25" fmla="*/ 4586 h 14586"/>
                <a:gd name="connsiteX26" fmla="*/ 514 w 10000"/>
                <a:gd name="connsiteY26" fmla="*/ 6808 h 14586"/>
                <a:gd name="connsiteX27" fmla="*/ 0 w 10000"/>
                <a:gd name="connsiteY27" fmla="*/ 7919 h 14586"/>
                <a:gd name="connsiteX0" fmla="*/ 0 w 10000"/>
                <a:gd name="connsiteY0" fmla="*/ 7919 h 14586"/>
                <a:gd name="connsiteX1" fmla="*/ 257 w 10000"/>
                <a:gd name="connsiteY1" fmla="*/ 12364 h 14586"/>
                <a:gd name="connsiteX2" fmla="*/ 1061 w 10000"/>
                <a:gd name="connsiteY2" fmla="*/ 13475 h 14586"/>
                <a:gd name="connsiteX3" fmla="*/ 2154 w 10000"/>
                <a:gd name="connsiteY3" fmla="*/ 13475 h 14586"/>
                <a:gd name="connsiteX4" fmla="*/ 4051 w 10000"/>
                <a:gd name="connsiteY4" fmla="*/ 12364 h 14586"/>
                <a:gd name="connsiteX5" fmla="*/ 4598 w 10000"/>
                <a:gd name="connsiteY5" fmla="*/ 12364 h 14586"/>
                <a:gd name="connsiteX6" fmla="*/ 4598 w 10000"/>
                <a:gd name="connsiteY6" fmla="*/ 14586 h 14586"/>
                <a:gd name="connsiteX7" fmla="*/ 6206 w 10000"/>
                <a:gd name="connsiteY7" fmla="*/ 14586 h 14586"/>
                <a:gd name="connsiteX8" fmla="*/ 7042 w 10000"/>
                <a:gd name="connsiteY8" fmla="*/ 12364 h 14586"/>
                <a:gd name="connsiteX9" fmla="*/ 8103 w 10000"/>
                <a:gd name="connsiteY9" fmla="*/ 12364 h 14586"/>
                <a:gd name="connsiteX10" fmla="*/ 8939 w 10000"/>
                <a:gd name="connsiteY10" fmla="*/ 10142 h 14586"/>
                <a:gd name="connsiteX11" fmla="*/ 10000 w 10000"/>
                <a:gd name="connsiteY11" fmla="*/ 9030 h 14586"/>
                <a:gd name="connsiteX12" fmla="*/ 10000 w 10000"/>
                <a:gd name="connsiteY12" fmla="*/ 4586 h 14586"/>
                <a:gd name="connsiteX13" fmla="*/ 9196 w 10000"/>
                <a:gd name="connsiteY13" fmla="*/ 6808 h 14586"/>
                <a:gd name="connsiteX14" fmla="*/ 8650 w 10000"/>
                <a:gd name="connsiteY14" fmla="*/ 7919 h 14586"/>
                <a:gd name="connsiteX15" fmla="*/ 8103 w 10000"/>
                <a:gd name="connsiteY15" fmla="*/ 7919 h 14586"/>
                <a:gd name="connsiteX16" fmla="*/ 7846 w 10000"/>
                <a:gd name="connsiteY16" fmla="*/ 5697 h 14586"/>
                <a:gd name="connsiteX17" fmla="*/ 7042 w 10000"/>
                <a:gd name="connsiteY17" fmla="*/ 6808 h 14586"/>
                <a:gd name="connsiteX18" fmla="*/ 5402 w 10000"/>
                <a:gd name="connsiteY18" fmla="*/ 7919 h 14586"/>
                <a:gd name="connsiteX19" fmla="*/ 5402 w 10000"/>
                <a:gd name="connsiteY19" fmla="*/ 5697 h 14586"/>
                <a:gd name="connsiteX20" fmla="*/ 3529 w 10000"/>
                <a:gd name="connsiteY20" fmla="*/ 1111 h 14586"/>
                <a:gd name="connsiteX21" fmla="*/ 2353 w 10000"/>
                <a:gd name="connsiteY21" fmla="*/ 1111 h 14586"/>
                <a:gd name="connsiteX22" fmla="*/ 1176 w 10000"/>
                <a:gd name="connsiteY22" fmla="*/ 0 h 14586"/>
                <a:gd name="connsiteX23" fmla="*/ 1897 w 10000"/>
                <a:gd name="connsiteY23" fmla="*/ 7919 h 14586"/>
                <a:gd name="connsiteX24" fmla="*/ 1061 w 10000"/>
                <a:gd name="connsiteY24" fmla="*/ 7919 h 14586"/>
                <a:gd name="connsiteX25" fmla="*/ 514 w 10000"/>
                <a:gd name="connsiteY25" fmla="*/ 4586 h 14586"/>
                <a:gd name="connsiteX26" fmla="*/ 514 w 10000"/>
                <a:gd name="connsiteY26" fmla="*/ 6808 h 14586"/>
                <a:gd name="connsiteX27" fmla="*/ 0 w 10000"/>
                <a:gd name="connsiteY27" fmla="*/ 7919 h 14586"/>
                <a:gd name="connsiteX0" fmla="*/ 0 w 10000"/>
                <a:gd name="connsiteY0" fmla="*/ 7919 h 14586"/>
                <a:gd name="connsiteX1" fmla="*/ 257 w 10000"/>
                <a:gd name="connsiteY1" fmla="*/ 12364 h 14586"/>
                <a:gd name="connsiteX2" fmla="*/ 1061 w 10000"/>
                <a:gd name="connsiteY2" fmla="*/ 13475 h 14586"/>
                <a:gd name="connsiteX3" fmla="*/ 2154 w 10000"/>
                <a:gd name="connsiteY3" fmla="*/ 13475 h 14586"/>
                <a:gd name="connsiteX4" fmla="*/ 4051 w 10000"/>
                <a:gd name="connsiteY4" fmla="*/ 12364 h 14586"/>
                <a:gd name="connsiteX5" fmla="*/ 4598 w 10000"/>
                <a:gd name="connsiteY5" fmla="*/ 12364 h 14586"/>
                <a:gd name="connsiteX6" fmla="*/ 4598 w 10000"/>
                <a:gd name="connsiteY6" fmla="*/ 14586 h 14586"/>
                <a:gd name="connsiteX7" fmla="*/ 6206 w 10000"/>
                <a:gd name="connsiteY7" fmla="*/ 14586 h 14586"/>
                <a:gd name="connsiteX8" fmla="*/ 7042 w 10000"/>
                <a:gd name="connsiteY8" fmla="*/ 12364 h 14586"/>
                <a:gd name="connsiteX9" fmla="*/ 8103 w 10000"/>
                <a:gd name="connsiteY9" fmla="*/ 12364 h 14586"/>
                <a:gd name="connsiteX10" fmla="*/ 8939 w 10000"/>
                <a:gd name="connsiteY10" fmla="*/ 10142 h 14586"/>
                <a:gd name="connsiteX11" fmla="*/ 10000 w 10000"/>
                <a:gd name="connsiteY11" fmla="*/ 9030 h 14586"/>
                <a:gd name="connsiteX12" fmla="*/ 10000 w 10000"/>
                <a:gd name="connsiteY12" fmla="*/ 4586 h 14586"/>
                <a:gd name="connsiteX13" fmla="*/ 9196 w 10000"/>
                <a:gd name="connsiteY13" fmla="*/ 6808 h 14586"/>
                <a:gd name="connsiteX14" fmla="*/ 8650 w 10000"/>
                <a:gd name="connsiteY14" fmla="*/ 7919 h 14586"/>
                <a:gd name="connsiteX15" fmla="*/ 8103 w 10000"/>
                <a:gd name="connsiteY15" fmla="*/ 7919 h 14586"/>
                <a:gd name="connsiteX16" fmla="*/ 7846 w 10000"/>
                <a:gd name="connsiteY16" fmla="*/ 5697 h 14586"/>
                <a:gd name="connsiteX17" fmla="*/ 7042 w 10000"/>
                <a:gd name="connsiteY17" fmla="*/ 6808 h 14586"/>
                <a:gd name="connsiteX18" fmla="*/ 5402 w 10000"/>
                <a:gd name="connsiteY18" fmla="*/ 7919 h 14586"/>
                <a:gd name="connsiteX19" fmla="*/ 5402 w 10000"/>
                <a:gd name="connsiteY19" fmla="*/ 5697 h 14586"/>
                <a:gd name="connsiteX20" fmla="*/ 3529 w 10000"/>
                <a:gd name="connsiteY20" fmla="*/ 1111 h 14586"/>
                <a:gd name="connsiteX21" fmla="*/ 2353 w 10000"/>
                <a:gd name="connsiteY21" fmla="*/ 1111 h 14586"/>
                <a:gd name="connsiteX22" fmla="*/ 1176 w 10000"/>
                <a:gd name="connsiteY22" fmla="*/ 0 h 14586"/>
                <a:gd name="connsiteX23" fmla="*/ 1765 w 10000"/>
                <a:gd name="connsiteY23" fmla="*/ 5281 h 14586"/>
                <a:gd name="connsiteX24" fmla="*/ 1061 w 10000"/>
                <a:gd name="connsiteY24" fmla="*/ 7919 h 14586"/>
                <a:gd name="connsiteX25" fmla="*/ 514 w 10000"/>
                <a:gd name="connsiteY25" fmla="*/ 4586 h 14586"/>
                <a:gd name="connsiteX26" fmla="*/ 514 w 10000"/>
                <a:gd name="connsiteY26" fmla="*/ 6808 h 14586"/>
                <a:gd name="connsiteX27" fmla="*/ 0 w 10000"/>
                <a:gd name="connsiteY27" fmla="*/ 7919 h 14586"/>
                <a:gd name="connsiteX0" fmla="*/ 0 w 10000"/>
                <a:gd name="connsiteY0" fmla="*/ 7919 h 14586"/>
                <a:gd name="connsiteX1" fmla="*/ 257 w 10000"/>
                <a:gd name="connsiteY1" fmla="*/ 12364 h 14586"/>
                <a:gd name="connsiteX2" fmla="*/ 1061 w 10000"/>
                <a:gd name="connsiteY2" fmla="*/ 13475 h 14586"/>
                <a:gd name="connsiteX3" fmla="*/ 2154 w 10000"/>
                <a:gd name="connsiteY3" fmla="*/ 13475 h 14586"/>
                <a:gd name="connsiteX4" fmla="*/ 4051 w 10000"/>
                <a:gd name="connsiteY4" fmla="*/ 12364 h 14586"/>
                <a:gd name="connsiteX5" fmla="*/ 4598 w 10000"/>
                <a:gd name="connsiteY5" fmla="*/ 12364 h 14586"/>
                <a:gd name="connsiteX6" fmla="*/ 4598 w 10000"/>
                <a:gd name="connsiteY6" fmla="*/ 14586 h 14586"/>
                <a:gd name="connsiteX7" fmla="*/ 6206 w 10000"/>
                <a:gd name="connsiteY7" fmla="*/ 14586 h 14586"/>
                <a:gd name="connsiteX8" fmla="*/ 7042 w 10000"/>
                <a:gd name="connsiteY8" fmla="*/ 12364 h 14586"/>
                <a:gd name="connsiteX9" fmla="*/ 8103 w 10000"/>
                <a:gd name="connsiteY9" fmla="*/ 12364 h 14586"/>
                <a:gd name="connsiteX10" fmla="*/ 8939 w 10000"/>
                <a:gd name="connsiteY10" fmla="*/ 10142 h 14586"/>
                <a:gd name="connsiteX11" fmla="*/ 10000 w 10000"/>
                <a:gd name="connsiteY11" fmla="*/ 9030 h 14586"/>
                <a:gd name="connsiteX12" fmla="*/ 10000 w 10000"/>
                <a:gd name="connsiteY12" fmla="*/ 4586 h 14586"/>
                <a:gd name="connsiteX13" fmla="*/ 9196 w 10000"/>
                <a:gd name="connsiteY13" fmla="*/ 6808 h 14586"/>
                <a:gd name="connsiteX14" fmla="*/ 8650 w 10000"/>
                <a:gd name="connsiteY14" fmla="*/ 7919 h 14586"/>
                <a:gd name="connsiteX15" fmla="*/ 8103 w 10000"/>
                <a:gd name="connsiteY15" fmla="*/ 7919 h 14586"/>
                <a:gd name="connsiteX16" fmla="*/ 7846 w 10000"/>
                <a:gd name="connsiteY16" fmla="*/ 5697 h 14586"/>
                <a:gd name="connsiteX17" fmla="*/ 7042 w 10000"/>
                <a:gd name="connsiteY17" fmla="*/ 6808 h 14586"/>
                <a:gd name="connsiteX18" fmla="*/ 5402 w 10000"/>
                <a:gd name="connsiteY18" fmla="*/ 7919 h 14586"/>
                <a:gd name="connsiteX19" fmla="*/ 5402 w 10000"/>
                <a:gd name="connsiteY19" fmla="*/ 5697 h 14586"/>
                <a:gd name="connsiteX20" fmla="*/ 3529 w 10000"/>
                <a:gd name="connsiteY20" fmla="*/ 1111 h 14586"/>
                <a:gd name="connsiteX21" fmla="*/ 2353 w 10000"/>
                <a:gd name="connsiteY21" fmla="*/ 1111 h 14586"/>
                <a:gd name="connsiteX22" fmla="*/ 1176 w 10000"/>
                <a:gd name="connsiteY22" fmla="*/ 0 h 14586"/>
                <a:gd name="connsiteX23" fmla="*/ 1765 w 10000"/>
                <a:gd name="connsiteY23" fmla="*/ 5281 h 14586"/>
                <a:gd name="connsiteX24" fmla="*/ 882 w 10000"/>
                <a:gd name="connsiteY24" fmla="*/ 5976 h 14586"/>
                <a:gd name="connsiteX25" fmla="*/ 514 w 10000"/>
                <a:gd name="connsiteY25" fmla="*/ 4586 h 14586"/>
                <a:gd name="connsiteX26" fmla="*/ 514 w 10000"/>
                <a:gd name="connsiteY26" fmla="*/ 6808 h 14586"/>
                <a:gd name="connsiteX27" fmla="*/ 0 w 10000"/>
                <a:gd name="connsiteY27" fmla="*/ 7919 h 14586"/>
                <a:gd name="connsiteX0" fmla="*/ 0 w 10000"/>
                <a:gd name="connsiteY0" fmla="*/ 7919 h 14586"/>
                <a:gd name="connsiteX1" fmla="*/ 257 w 10000"/>
                <a:gd name="connsiteY1" fmla="*/ 12364 h 14586"/>
                <a:gd name="connsiteX2" fmla="*/ 1061 w 10000"/>
                <a:gd name="connsiteY2" fmla="*/ 13475 h 14586"/>
                <a:gd name="connsiteX3" fmla="*/ 2154 w 10000"/>
                <a:gd name="connsiteY3" fmla="*/ 13475 h 14586"/>
                <a:gd name="connsiteX4" fmla="*/ 4051 w 10000"/>
                <a:gd name="connsiteY4" fmla="*/ 12364 h 14586"/>
                <a:gd name="connsiteX5" fmla="*/ 4598 w 10000"/>
                <a:gd name="connsiteY5" fmla="*/ 12364 h 14586"/>
                <a:gd name="connsiteX6" fmla="*/ 4598 w 10000"/>
                <a:gd name="connsiteY6" fmla="*/ 14586 h 14586"/>
                <a:gd name="connsiteX7" fmla="*/ 6206 w 10000"/>
                <a:gd name="connsiteY7" fmla="*/ 14586 h 14586"/>
                <a:gd name="connsiteX8" fmla="*/ 7042 w 10000"/>
                <a:gd name="connsiteY8" fmla="*/ 12364 h 14586"/>
                <a:gd name="connsiteX9" fmla="*/ 8103 w 10000"/>
                <a:gd name="connsiteY9" fmla="*/ 12364 h 14586"/>
                <a:gd name="connsiteX10" fmla="*/ 8939 w 10000"/>
                <a:gd name="connsiteY10" fmla="*/ 10142 h 14586"/>
                <a:gd name="connsiteX11" fmla="*/ 10000 w 10000"/>
                <a:gd name="connsiteY11" fmla="*/ 9030 h 14586"/>
                <a:gd name="connsiteX12" fmla="*/ 10000 w 10000"/>
                <a:gd name="connsiteY12" fmla="*/ 4586 h 14586"/>
                <a:gd name="connsiteX13" fmla="*/ 9196 w 10000"/>
                <a:gd name="connsiteY13" fmla="*/ 6808 h 14586"/>
                <a:gd name="connsiteX14" fmla="*/ 8650 w 10000"/>
                <a:gd name="connsiteY14" fmla="*/ 7919 h 14586"/>
                <a:gd name="connsiteX15" fmla="*/ 8103 w 10000"/>
                <a:gd name="connsiteY15" fmla="*/ 7919 h 14586"/>
                <a:gd name="connsiteX16" fmla="*/ 7846 w 10000"/>
                <a:gd name="connsiteY16" fmla="*/ 5697 h 14586"/>
                <a:gd name="connsiteX17" fmla="*/ 7042 w 10000"/>
                <a:gd name="connsiteY17" fmla="*/ 6808 h 14586"/>
                <a:gd name="connsiteX18" fmla="*/ 5402 w 10000"/>
                <a:gd name="connsiteY18" fmla="*/ 7919 h 14586"/>
                <a:gd name="connsiteX19" fmla="*/ 5402 w 10000"/>
                <a:gd name="connsiteY19" fmla="*/ 5697 h 14586"/>
                <a:gd name="connsiteX20" fmla="*/ 3529 w 10000"/>
                <a:gd name="connsiteY20" fmla="*/ 1111 h 14586"/>
                <a:gd name="connsiteX21" fmla="*/ 2353 w 10000"/>
                <a:gd name="connsiteY21" fmla="*/ 1111 h 14586"/>
                <a:gd name="connsiteX22" fmla="*/ 1176 w 10000"/>
                <a:gd name="connsiteY22" fmla="*/ 0 h 14586"/>
                <a:gd name="connsiteX23" fmla="*/ 1765 w 10000"/>
                <a:gd name="connsiteY23" fmla="*/ 5281 h 14586"/>
                <a:gd name="connsiteX24" fmla="*/ 882 w 10000"/>
                <a:gd name="connsiteY24" fmla="*/ 5976 h 14586"/>
                <a:gd name="connsiteX25" fmla="*/ 514 w 10000"/>
                <a:gd name="connsiteY25" fmla="*/ 4586 h 14586"/>
                <a:gd name="connsiteX26" fmla="*/ 0 w 10000"/>
                <a:gd name="connsiteY26" fmla="*/ 5281 h 14586"/>
                <a:gd name="connsiteX27" fmla="*/ 0 w 10000"/>
                <a:gd name="connsiteY27" fmla="*/ 7919 h 14586"/>
                <a:gd name="connsiteX0" fmla="*/ 0 w 11176"/>
                <a:gd name="connsiteY0" fmla="*/ 5976 h 14586"/>
                <a:gd name="connsiteX1" fmla="*/ 1433 w 11176"/>
                <a:gd name="connsiteY1" fmla="*/ 12364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022 w 11176"/>
                <a:gd name="connsiteY16" fmla="*/ 5697 h 14586"/>
                <a:gd name="connsiteX17" fmla="*/ 8218 w 11176"/>
                <a:gd name="connsiteY17" fmla="*/ 6808 h 14586"/>
                <a:gd name="connsiteX18" fmla="*/ 6578 w 11176"/>
                <a:gd name="connsiteY18" fmla="*/ 7919 h 14586"/>
                <a:gd name="connsiteX19" fmla="*/ 6578 w 11176"/>
                <a:gd name="connsiteY19" fmla="*/ 5697 h 14586"/>
                <a:gd name="connsiteX20" fmla="*/ 4705 w 11176"/>
                <a:gd name="connsiteY20" fmla="*/ 1111 h 14586"/>
                <a:gd name="connsiteX21" fmla="*/ 3529 w 11176"/>
                <a:gd name="connsiteY21" fmla="*/ 1111 h 14586"/>
                <a:gd name="connsiteX22" fmla="*/ 2352 w 11176"/>
                <a:gd name="connsiteY22" fmla="*/ 0 h 14586"/>
                <a:gd name="connsiteX23" fmla="*/ 2941 w 11176"/>
                <a:gd name="connsiteY23" fmla="*/ 5281 h 14586"/>
                <a:gd name="connsiteX24" fmla="*/ 2058 w 11176"/>
                <a:gd name="connsiteY24" fmla="*/ 5976 h 14586"/>
                <a:gd name="connsiteX25" fmla="*/ 1690 w 11176"/>
                <a:gd name="connsiteY25" fmla="*/ 4586 h 14586"/>
                <a:gd name="connsiteX26" fmla="*/ 1176 w 11176"/>
                <a:gd name="connsiteY26" fmla="*/ 5281 h 14586"/>
                <a:gd name="connsiteX27" fmla="*/ 0 w 11176"/>
                <a:gd name="connsiteY27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022 w 11176"/>
                <a:gd name="connsiteY16" fmla="*/ 5697 h 14586"/>
                <a:gd name="connsiteX17" fmla="*/ 8218 w 11176"/>
                <a:gd name="connsiteY17" fmla="*/ 6808 h 14586"/>
                <a:gd name="connsiteX18" fmla="*/ 6578 w 11176"/>
                <a:gd name="connsiteY18" fmla="*/ 7919 h 14586"/>
                <a:gd name="connsiteX19" fmla="*/ 6578 w 11176"/>
                <a:gd name="connsiteY19" fmla="*/ 5697 h 14586"/>
                <a:gd name="connsiteX20" fmla="*/ 4705 w 11176"/>
                <a:gd name="connsiteY20" fmla="*/ 1111 h 14586"/>
                <a:gd name="connsiteX21" fmla="*/ 3529 w 11176"/>
                <a:gd name="connsiteY21" fmla="*/ 1111 h 14586"/>
                <a:gd name="connsiteX22" fmla="*/ 2352 w 11176"/>
                <a:gd name="connsiteY22" fmla="*/ 0 h 14586"/>
                <a:gd name="connsiteX23" fmla="*/ 2941 w 11176"/>
                <a:gd name="connsiteY23" fmla="*/ 5281 h 14586"/>
                <a:gd name="connsiteX24" fmla="*/ 2058 w 11176"/>
                <a:gd name="connsiteY24" fmla="*/ 5976 h 14586"/>
                <a:gd name="connsiteX25" fmla="*/ 1690 w 11176"/>
                <a:gd name="connsiteY25" fmla="*/ 4586 h 14586"/>
                <a:gd name="connsiteX26" fmla="*/ 1176 w 11176"/>
                <a:gd name="connsiteY26" fmla="*/ 5281 h 14586"/>
                <a:gd name="connsiteX27" fmla="*/ 0 w 11176"/>
                <a:gd name="connsiteY27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022 w 11176"/>
                <a:gd name="connsiteY16" fmla="*/ 5697 h 14586"/>
                <a:gd name="connsiteX17" fmla="*/ 8218 w 11176"/>
                <a:gd name="connsiteY17" fmla="*/ 6808 h 14586"/>
                <a:gd name="connsiteX18" fmla="*/ 6578 w 11176"/>
                <a:gd name="connsiteY18" fmla="*/ 7919 h 14586"/>
                <a:gd name="connsiteX19" fmla="*/ 6578 w 11176"/>
                <a:gd name="connsiteY19" fmla="*/ 5697 h 14586"/>
                <a:gd name="connsiteX20" fmla="*/ 4705 w 11176"/>
                <a:gd name="connsiteY20" fmla="*/ 1111 h 14586"/>
                <a:gd name="connsiteX21" fmla="*/ 3529 w 11176"/>
                <a:gd name="connsiteY21" fmla="*/ 1111 h 14586"/>
                <a:gd name="connsiteX22" fmla="*/ 2352 w 11176"/>
                <a:gd name="connsiteY22" fmla="*/ 0 h 14586"/>
                <a:gd name="connsiteX23" fmla="*/ 2941 w 11176"/>
                <a:gd name="connsiteY23" fmla="*/ 5281 h 14586"/>
                <a:gd name="connsiteX24" fmla="*/ 2058 w 11176"/>
                <a:gd name="connsiteY24" fmla="*/ 5976 h 14586"/>
                <a:gd name="connsiteX25" fmla="*/ 1690 w 11176"/>
                <a:gd name="connsiteY25" fmla="*/ 4586 h 14586"/>
                <a:gd name="connsiteX26" fmla="*/ 882 w 11176"/>
                <a:gd name="connsiteY26" fmla="*/ 5976 h 14586"/>
                <a:gd name="connsiteX27" fmla="*/ 0 w 11176"/>
                <a:gd name="connsiteY27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022 w 11176"/>
                <a:gd name="connsiteY16" fmla="*/ 5697 h 14586"/>
                <a:gd name="connsiteX17" fmla="*/ 8218 w 11176"/>
                <a:gd name="connsiteY17" fmla="*/ 6808 h 14586"/>
                <a:gd name="connsiteX18" fmla="*/ 6578 w 11176"/>
                <a:gd name="connsiteY18" fmla="*/ 7919 h 14586"/>
                <a:gd name="connsiteX19" fmla="*/ 6578 w 11176"/>
                <a:gd name="connsiteY19" fmla="*/ 5697 h 14586"/>
                <a:gd name="connsiteX20" fmla="*/ 4705 w 11176"/>
                <a:gd name="connsiteY20" fmla="*/ 1111 h 14586"/>
                <a:gd name="connsiteX21" fmla="*/ 3529 w 11176"/>
                <a:gd name="connsiteY21" fmla="*/ 1111 h 14586"/>
                <a:gd name="connsiteX22" fmla="*/ 2352 w 11176"/>
                <a:gd name="connsiteY22" fmla="*/ 0 h 14586"/>
                <a:gd name="connsiteX23" fmla="*/ 2941 w 11176"/>
                <a:gd name="connsiteY23" fmla="*/ 5281 h 14586"/>
                <a:gd name="connsiteX24" fmla="*/ 2058 w 11176"/>
                <a:gd name="connsiteY24" fmla="*/ 5976 h 14586"/>
                <a:gd name="connsiteX25" fmla="*/ 1176 w 11176"/>
                <a:gd name="connsiteY25" fmla="*/ 3891 h 14586"/>
                <a:gd name="connsiteX26" fmla="*/ 882 w 11176"/>
                <a:gd name="connsiteY26" fmla="*/ 5976 h 14586"/>
                <a:gd name="connsiteX27" fmla="*/ 0 w 11176"/>
                <a:gd name="connsiteY27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022 w 11176"/>
                <a:gd name="connsiteY16" fmla="*/ 5697 h 14586"/>
                <a:gd name="connsiteX17" fmla="*/ 8218 w 11176"/>
                <a:gd name="connsiteY17" fmla="*/ 6808 h 14586"/>
                <a:gd name="connsiteX18" fmla="*/ 6578 w 11176"/>
                <a:gd name="connsiteY18" fmla="*/ 7919 h 14586"/>
                <a:gd name="connsiteX19" fmla="*/ 6578 w 11176"/>
                <a:gd name="connsiteY19" fmla="*/ 5697 h 14586"/>
                <a:gd name="connsiteX20" fmla="*/ 4705 w 11176"/>
                <a:gd name="connsiteY20" fmla="*/ 1111 h 14586"/>
                <a:gd name="connsiteX21" fmla="*/ 3529 w 11176"/>
                <a:gd name="connsiteY21" fmla="*/ 1111 h 14586"/>
                <a:gd name="connsiteX22" fmla="*/ 2352 w 11176"/>
                <a:gd name="connsiteY22" fmla="*/ 0 h 14586"/>
                <a:gd name="connsiteX23" fmla="*/ 2941 w 11176"/>
                <a:gd name="connsiteY23" fmla="*/ 5281 h 14586"/>
                <a:gd name="connsiteX24" fmla="*/ 1764 w 11176"/>
                <a:gd name="connsiteY24" fmla="*/ 5281 h 14586"/>
                <a:gd name="connsiteX25" fmla="*/ 1176 w 11176"/>
                <a:gd name="connsiteY25" fmla="*/ 3891 h 14586"/>
                <a:gd name="connsiteX26" fmla="*/ 882 w 11176"/>
                <a:gd name="connsiteY26" fmla="*/ 5976 h 14586"/>
                <a:gd name="connsiteX27" fmla="*/ 0 w 11176"/>
                <a:gd name="connsiteY27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022 w 11176"/>
                <a:gd name="connsiteY16" fmla="*/ 5697 h 14586"/>
                <a:gd name="connsiteX17" fmla="*/ 8218 w 11176"/>
                <a:gd name="connsiteY17" fmla="*/ 6808 h 14586"/>
                <a:gd name="connsiteX18" fmla="*/ 9117 w 11176"/>
                <a:gd name="connsiteY18" fmla="*/ 0 h 14586"/>
                <a:gd name="connsiteX19" fmla="*/ 6578 w 11176"/>
                <a:gd name="connsiteY19" fmla="*/ 5697 h 14586"/>
                <a:gd name="connsiteX20" fmla="*/ 4705 w 11176"/>
                <a:gd name="connsiteY20" fmla="*/ 1111 h 14586"/>
                <a:gd name="connsiteX21" fmla="*/ 3529 w 11176"/>
                <a:gd name="connsiteY21" fmla="*/ 1111 h 14586"/>
                <a:gd name="connsiteX22" fmla="*/ 2352 w 11176"/>
                <a:gd name="connsiteY22" fmla="*/ 0 h 14586"/>
                <a:gd name="connsiteX23" fmla="*/ 2941 w 11176"/>
                <a:gd name="connsiteY23" fmla="*/ 5281 h 14586"/>
                <a:gd name="connsiteX24" fmla="*/ 1764 w 11176"/>
                <a:gd name="connsiteY24" fmla="*/ 5281 h 14586"/>
                <a:gd name="connsiteX25" fmla="*/ 1176 w 11176"/>
                <a:gd name="connsiteY25" fmla="*/ 3891 h 14586"/>
                <a:gd name="connsiteX26" fmla="*/ 882 w 11176"/>
                <a:gd name="connsiteY26" fmla="*/ 5976 h 14586"/>
                <a:gd name="connsiteX27" fmla="*/ 0 w 11176"/>
                <a:gd name="connsiteY27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022 w 11176"/>
                <a:gd name="connsiteY16" fmla="*/ 5697 h 14586"/>
                <a:gd name="connsiteX17" fmla="*/ 8218 w 11176"/>
                <a:gd name="connsiteY17" fmla="*/ 6808 h 14586"/>
                <a:gd name="connsiteX18" fmla="*/ 9117 w 11176"/>
                <a:gd name="connsiteY18" fmla="*/ 0 h 14586"/>
                <a:gd name="connsiteX19" fmla="*/ 6764 w 11176"/>
                <a:gd name="connsiteY19" fmla="*/ 1806 h 14586"/>
                <a:gd name="connsiteX20" fmla="*/ 4705 w 11176"/>
                <a:gd name="connsiteY20" fmla="*/ 1111 h 14586"/>
                <a:gd name="connsiteX21" fmla="*/ 3529 w 11176"/>
                <a:gd name="connsiteY21" fmla="*/ 1111 h 14586"/>
                <a:gd name="connsiteX22" fmla="*/ 2352 w 11176"/>
                <a:gd name="connsiteY22" fmla="*/ 0 h 14586"/>
                <a:gd name="connsiteX23" fmla="*/ 2941 w 11176"/>
                <a:gd name="connsiteY23" fmla="*/ 5281 h 14586"/>
                <a:gd name="connsiteX24" fmla="*/ 1764 w 11176"/>
                <a:gd name="connsiteY24" fmla="*/ 5281 h 14586"/>
                <a:gd name="connsiteX25" fmla="*/ 1176 w 11176"/>
                <a:gd name="connsiteY25" fmla="*/ 3891 h 14586"/>
                <a:gd name="connsiteX26" fmla="*/ 882 w 11176"/>
                <a:gd name="connsiteY26" fmla="*/ 5976 h 14586"/>
                <a:gd name="connsiteX27" fmla="*/ 0 w 11176"/>
                <a:gd name="connsiteY27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8218 w 11176"/>
                <a:gd name="connsiteY16" fmla="*/ 6808 h 14586"/>
                <a:gd name="connsiteX17" fmla="*/ 9117 w 11176"/>
                <a:gd name="connsiteY17" fmla="*/ 0 h 14586"/>
                <a:gd name="connsiteX18" fmla="*/ 6764 w 11176"/>
                <a:gd name="connsiteY18" fmla="*/ 1806 h 14586"/>
                <a:gd name="connsiteX19" fmla="*/ 4705 w 11176"/>
                <a:gd name="connsiteY19" fmla="*/ 1111 h 14586"/>
                <a:gd name="connsiteX20" fmla="*/ 3529 w 11176"/>
                <a:gd name="connsiteY20" fmla="*/ 1111 h 14586"/>
                <a:gd name="connsiteX21" fmla="*/ 2352 w 11176"/>
                <a:gd name="connsiteY21" fmla="*/ 0 h 14586"/>
                <a:gd name="connsiteX22" fmla="*/ 2941 w 11176"/>
                <a:gd name="connsiteY22" fmla="*/ 5281 h 14586"/>
                <a:gd name="connsiteX23" fmla="*/ 1764 w 11176"/>
                <a:gd name="connsiteY23" fmla="*/ 5281 h 14586"/>
                <a:gd name="connsiteX24" fmla="*/ 1176 w 11176"/>
                <a:gd name="connsiteY24" fmla="*/ 3891 h 14586"/>
                <a:gd name="connsiteX25" fmla="*/ 882 w 11176"/>
                <a:gd name="connsiteY25" fmla="*/ 5976 h 14586"/>
                <a:gd name="connsiteX26" fmla="*/ 0 w 11176"/>
                <a:gd name="connsiteY26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279 w 11176"/>
                <a:gd name="connsiteY15" fmla="*/ 7919 h 14586"/>
                <a:gd name="connsiteX16" fmla="*/ 9117 w 11176"/>
                <a:gd name="connsiteY16" fmla="*/ 0 h 14586"/>
                <a:gd name="connsiteX17" fmla="*/ 6764 w 11176"/>
                <a:gd name="connsiteY17" fmla="*/ 1806 h 14586"/>
                <a:gd name="connsiteX18" fmla="*/ 4705 w 11176"/>
                <a:gd name="connsiteY18" fmla="*/ 1111 h 14586"/>
                <a:gd name="connsiteX19" fmla="*/ 3529 w 11176"/>
                <a:gd name="connsiteY19" fmla="*/ 1111 h 14586"/>
                <a:gd name="connsiteX20" fmla="*/ 2352 w 11176"/>
                <a:gd name="connsiteY20" fmla="*/ 0 h 14586"/>
                <a:gd name="connsiteX21" fmla="*/ 2941 w 11176"/>
                <a:gd name="connsiteY21" fmla="*/ 5281 h 14586"/>
                <a:gd name="connsiteX22" fmla="*/ 1764 w 11176"/>
                <a:gd name="connsiteY22" fmla="*/ 5281 h 14586"/>
                <a:gd name="connsiteX23" fmla="*/ 1176 w 11176"/>
                <a:gd name="connsiteY23" fmla="*/ 3891 h 14586"/>
                <a:gd name="connsiteX24" fmla="*/ 882 w 11176"/>
                <a:gd name="connsiteY24" fmla="*/ 5976 h 14586"/>
                <a:gd name="connsiteX25" fmla="*/ 0 w 11176"/>
                <a:gd name="connsiteY25" fmla="*/ 5976 h 14586"/>
                <a:gd name="connsiteX0" fmla="*/ 0 w 11176"/>
                <a:gd name="connsiteY0" fmla="*/ 5976 h 14586"/>
                <a:gd name="connsiteX1" fmla="*/ 588 w 11176"/>
                <a:gd name="connsiteY1" fmla="*/ 12927 h 14586"/>
                <a:gd name="connsiteX2" fmla="*/ 2237 w 11176"/>
                <a:gd name="connsiteY2" fmla="*/ 13475 h 14586"/>
                <a:gd name="connsiteX3" fmla="*/ 3330 w 11176"/>
                <a:gd name="connsiteY3" fmla="*/ 13475 h 14586"/>
                <a:gd name="connsiteX4" fmla="*/ 5227 w 11176"/>
                <a:gd name="connsiteY4" fmla="*/ 12364 h 14586"/>
                <a:gd name="connsiteX5" fmla="*/ 5774 w 11176"/>
                <a:gd name="connsiteY5" fmla="*/ 12364 h 14586"/>
                <a:gd name="connsiteX6" fmla="*/ 5774 w 11176"/>
                <a:gd name="connsiteY6" fmla="*/ 14586 h 14586"/>
                <a:gd name="connsiteX7" fmla="*/ 7382 w 11176"/>
                <a:gd name="connsiteY7" fmla="*/ 14586 h 14586"/>
                <a:gd name="connsiteX8" fmla="*/ 8218 w 11176"/>
                <a:gd name="connsiteY8" fmla="*/ 12364 h 14586"/>
                <a:gd name="connsiteX9" fmla="*/ 9279 w 11176"/>
                <a:gd name="connsiteY9" fmla="*/ 12364 h 14586"/>
                <a:gd name="connsiteX10" fmla="*/ 10115 w 11176"/>
                <a:gd name="connsiteY10" fmla="*/ 10142 h 14586"/>
                <a:gd name="connsiteX11" fmla="*/ 11176 w 11176"/>
                <a:gd name="connsiteY11" fmla="*/ 9030 h 14586"/>
                <a:gd name="connsiteX12" fmla="*/ 11176 w 11176"/>
                <a:gd name="connsiteY12" fmla="*/ 4586 h 14586"/>
                <a:gd name="connsiteX13" fmla="*/ 10372 w 11176"/>
                <a:gd name="connsiteY13" fmla="*/ 6808 h 14586"/>
                <a:gd name="connsiteX14" fmla="*/ 9826 w 11176"/>
                <a:gd name="connsiteY14" fmla="*/ 7919 h 14586"/>
                <a:gd name="connsiteX15" fmla="*/ 9117 w 11176"/>
                <a:gd name="connsiteY15" fmla="*/ 0 h 14586"/>
                <a:gd name="connsiteX16" fmla="*/ 6764 w 11176"/>
                <a:gd name="connsiteY16" fmla="*/ 1806 h 14586"/>
                <a:gd name="connsiteX17" fmla="*/ 4705 w 11176"/>
                <a:gd name="connsiteY17" fmla="*/ 1111 h 14586"/>
                <a:gd name="connsiteX18" fmla="*/ 3529 w 11176"/>
                <a:gd name="connsiteY18" fmla="*/ 1111 h 14586"/>
                <a:gd name="connsiteX19" fmla="*/ 2352 w 11176"/>
                <a:gd name="connsiteY19" fmla="*/ 0 h 14586"/>
                <a:gd name="connsiteX20" fmla="*/ 2941 w 11176"/>
                <a:gd name="connsiteY20" fmla="*/ 5281 h 14586"/>
                <a:gd name="connsiteX21" fmla="*/ 1764 w 11176"/>
                <a:gd name="connsiteY21" fmla="*/ 5281 h 14586"/>
                <a:gd name="connsiteX22" fmla="*/ 1176 w 11176"/>
                <a:gd name="connsiteY22" fmla="*/ 3891 h 14586"/>
                <a:gd name="connsiteX23" fmla="*/ 882 w 11176"/>
                <a:gd name="connsiteY23" fmla="*/ 5976 h 14586"/>
                <a:gd name="connsiteX24" fmla="*/ 0 w 11176"/>
                <a:gd name="connsiteY24" fmla="*/ 5976 h 14586"/>
                <a:gd name="connsiteX0" fmla="*/ 0 w 13823"/>
                <a:gd name="connsiteY0" fmla="*/ 10981 h 19591"/>
                <a:gd name="connsiteX1" fmla="*/ 588 w 13823"/>
                <a:gd name="connsiteY1" fmla="*/ 17932 h 19591"/>
                <a:gd name="connsiteX2" fmla="*/ 2237 w 13823"/>
                <a:gd name="connsiteY2" fmla="*/ 18480 h 19591"/>
                <a:gd name="connsiteX3" fmla="*/ 3330 w 13823"/>
                <a:gd name="connsiteY3" fmla="*/ 18480 h 19591"/>
                <a:gd name="connsiteX4" fmla="*/ 5227 w 13823"/>
                <a:gd name="connsiteY4" fmla="*/ 17369 h 19591"/>
                <a:gd name="connsiteX5" fmla="*/ 5774 w 13823"/>
                <a:gd name="connsiteY5" fmla="*/ 17369 h 19591"/>
                <a:gd name="connsiteX6" fmla="*/ 5774 w 13823"/>
                <a:gd name="connsiteY6" fmla="*/ 19591 h 19591"/>
                <a:gd name="connsiteX7" fmla="*/ 7382 w 13823"/>
                <a:gd name="connsiteY7" fmla="*/ 19591 h 19591"/>
                <a:gd name="connsiteX8" fmla="*/ 8218 w 13823"/>
                <a:gd name="connsiteY8" fmla="*/ 17369 h 19591"/>
                <a:gd name="connsiteX9" fmla="*/ 9279 w 13823"/>
                <a:gd name="connsiteY9" fmla="*/ 17369 h 19591"/>
                <a:gd name="connsiteX10" fmla="*/ 10115 w 13823"/>
                <a:gd name="connsiteY10" fmla="*/ 15147 h 19591"/>
                <a:gd name="connsiteX11" fmla="*/ 11176 w 13823"/>
                <a:gd name="connsiteY11" fmla="*/ 14035 h 19591"/>
                <a:gd name="connsiteX12" fmla="*/ 11176 w 13823"/>
                <a:gd name="connsiteY12" fmla="*/ 9591 h 19591"/>
                <a:gd name="connsiteX13" fmla="*/ 10372 w 13823"/>
                <a:gd name="connsiteY13" fmla="*/ 11813 h 19591"/>
                <a:gd name="connsiteX14" fmla="*/ 13823 w 13823"/>
                <a:gd name="connsiteY14" fmla="*/ 2640 h 19591"/>
                <a:gd name="connsiteX15" fmla="*/ 9117 w 13823"/>
                <a:gd name="connsiteY15" fmla="*/ 5005 h 19591"/>
                <a:gd name="connsiteX16" fmla="*/ 6764 w 13823"/>
                <a:gd name="connsiteY16" fmla="*/ 6811 h 19591"/>
                <a:gd name="connsiteX17" fmla="*/ 4705 w 13823"/>
                <a:gd name="connsiteY17" fmla="*/ 6116 h 19591"/>
                <a:gd name="connsiteX18" fmla="*/ 3529 w 13823"/>
                <a:gd name="connsiteY18" fmla="*/ 6116 h 19591"/>
                <a:gd name="connsiteX19" fmla="*/ 2352 w 13823"/>
                <a:gd name="connsiteY19" fmla="*/ 5005 h 19591"/>
                <a:gd name="connsiteX20" fmla="*/ 2941 w 13823"/>
                <a:gd name="connsiteY20" fmla="*/ 10286 h 19591"/>
                <a:gd name="connsiteX21" fmla="*/ 1764 w 13823"/>
                <a:gd name="connsiteY21" fmla="*/ 10286 h 19591"/>
                <a:gd name="connsiteX22" fmla="*/ 1176 w 13823"/>
                <a:gd name="connsiteY22" fmla="*/ 8896 h 19591"/>
                <a:gd name="connsiteX23" fmla="*/ 882 w 13823"/>
                <a:gd name="connsiteY23" fmla="*/ 10981 h 19591"/>
                <a:gd name="connsiteX24" fmla="*/ 0 w 13823"/>
                <a:gd name="connsiteY24" fmla="*/ 10981 h 19591"/>
                <a:gd name="connsiteX0" fmla="*/ 0 w 14705"/>
                <a:gd name="connsiteY0" fmla="*/ 10981 h 19591"/>
                <a:gd name="connsiteX1" fmla="*/ 588 w 14705"/>
                <a:gd name="connsiteY1" fmla="*/ 17932 h 19591"/>
                <a:gd name="connsiteX2" fmla="*/ 2237 w 14705"/>
                <a:gd name="connsiteY2" fmla="*/ 18480 h 19591"/>
                <a:gd name="connsiteX3" fmla="*/ 3330 w 14705"/>
                <a:gd name="connsiteY3" fmla="*/ 18480 h 19591"/>
                <a:gd name="connsiteX4" fmla="*/ 5227 w 14705"/>
                <a:gd name="connsiteY4" fmla="*/ 17369 h 19591"/>
                <a:gd name="connsiteX5" fmla="*/ 5774 w 14705"/>
                <a:gd name="connsiteY5" fmla="*/ 17369 h 19591"/>
                <a:gd name="connsiteX6" fmla="*/ 5774 w 14705"/>
                <a:gd name="connsiteY6" fmla="*/ 19591 h 19591"/>
                <a:gd name="connsiteX7" fmla="*/ 7382 w 14705"/>
                <a:gd name="connsiteY7" fmla="*/ 19591 h 19591"/>
                <a:gd name="connsiteX8" fmla="*/ 8218 w 14705"/>
                <a:gd name="connsiteY8" fmla="*/ 17369 h 19591"/>
                <a:gd name="connsiteX9" fmla="*/ 9279 w 14705"/>
                <a:gd name="connsiteY9" fmla="*/ 17369 h 19591"/>
                <a:gd name="connsiteX10" fmla="*/ 10115 w 14705"/>
                <a:gd name="connsiteY10" fmla="*/ 15147 h 19591"/>
                <a:gd name="connsiteX11" fmla="*/ 11176 w 14705"/>
                <a:gd name="connsiteY11" fmla="*/ 14035 h 19591"/>
                <a:gd name="connsiteX12" fmla="*/ 11176 w 14705"/>
                <a:gd name="connsiteY12" fmla="*/ 9591 h 19591"/>
                <a:gd name="connsiteX13" fmla="*/ 14705 w 14705"/>
                <a:gd name="connsiteY13" fmla="*/ 1945 h 19591"/>
                <a:gd name="connsiteX14" fmla="*/ 13823 w 14705"/>
                <a:gd name="connsiteY14" fmla="*/ 2640 h 19591"/>
                <a:gd name="connsiteX15" fmla="*/ 9117 w 14705"/>
                <a:gd name="connsiteY15" fmla="*/ 5005 h 19591"/>
                <a:gd name="connsiteX16" fmla="*/ 6764 w 14705"/>
                <a:gd name="connsiteY16" fmla="*/ 6811 h 19591"/>
                <a:gd name="connsiteX17" fmla="*/ 4705 w 14705"/>
                <a:gd name="connsiteY17" fmla="*/ 6116 h 19591"/>
                <a:gd name="connsiteX18" fmla="*/ 3529 w 14705"/>
                <a:gd name="connsiteY18" fmla="*/ 6116 h 19591"/>
                <a:gd name="connsiteX19" fmla="*/ 2352 w 14705"/>
                <a:gd name="connsiteY19" fmla="*/ 5005 h 19591"/>
                <a:gd name="connsiteX20" fmla="*/ 2941 w 14705"/>
                <a:gd name="connsiteY20" fmla="*/ 10286 h 19591"/>
                <a:gd name="connsiteX21" fmla="*/ 1764 w 14705"/>
                <a:gd name="connsiteY21" fmla="*/ 10286 h 19591"/>
                <a:gd name="connsiteX22" fmla="*/ 1176 w 14705"/>
                <a:gd name="connsiteY22" fmla="*/ 8896 h 19591"/>
                <a:gd name="connsiteX23" fmla="*/ 882 w 14705"/>
                <a:gd name="connsiteY23" fmla="*/ 10981 h 19591"/>
                <a:gd name="connsiteX24" fmla="*/ 0 w 14705"/>
                <a:gd name="connsiteY24" fmla="*/ 10981 h 19591"/>
                <a:gd name="connsiteX0" fmla="*/ 0 w 14705"/>
                <a:gd name="connsiteY0" fmla="*/ 9036 h 17646"/>
                <a:gd name="connsiteX1" fmla="*/ 588 w 14705"/>
                <a:gd name="connsiteY1" fmla="*/ 15987 h 17646"/>
                <a:gd name="connsiteX2" fmla="*/ 2237 w 14705"/>
                <a:gd name="connsiteY2" fmla="*/ 16535 h 17646"/>
                <a:gd name="connsiteX3" fmla="*/ 3330 w 14705"/>
                <a:gd name="connsiteY3" fmla="*/ 16535 h 17646"/>
                <a:gd name="connsiteX4" fmla="*/ 5227 w 14705"/>
                <a:gd name="connsiteY4" fmla="*/ 15424 h 17646"/>
                <a:gd name="connsiteX5" fmla="*/ 5774 w 14705"/>
                <a:gd name="connsiteY5" fmla="*/ 15424 h 17646"/>
                <a:gd name="connsiteX6" fmla="*/ 5774 w 14705"/>
                <a:gd name="connsiteY6" fmla="*/ 17646 h 17646"/>
                <a:gd name="connsiteX7" fmla="*/ 7382 w 14705"/>
                <a:gd name="connsiteY7" fmla="*/ 17646 h 17646"/>
                <a:gd name="connsiteX8" fmla="*/ 8218 w 14705"/>
                <a:gd name="connsiteY8" fmla="*/ 15424 h 17646"/>
                <a:gd name="connsiteX9" fmla="*/ 9279 w 14705"/>
                <a:gd name="connsiteY9" fmla="*/ 15424 h 17646"/>
                <a:gd name="connsiteX10" fmla="*/ 10115 w 14705"/>
                <a:gd name="connsiteY10" fmla="*/ 13202 h 17646"/>
                <a:gd name="connsiteX11" fmla="*/ 11176 w 14705"/>
                <a:gd name="connsiteY11" fmla="*/ 12090 h 17646"/>
                <a:gd name="connsiteX12" fmla="*/ 11176 w 14705"/>
                <a:gd name="connsiteY12" fmla="*/ 7646 h 17646"/>
                <a:gd name="connsiteX13" fmla="*/ 14705 w 14705"/>
                <a:gd name="connsiteY13" fmla="*/ 0 h 17646"/>
                <a:gd name="connsiteX14" fmla="*/ 9117 w 14705"/>
                <a:gd name="connsiteY14" fmla="*/ 3060 h 17646"/>
                <a:gd name="connsiteX15" fmla="*/ 6764 w 14705"/>
                <a:gd name="connsiteY15" fmla="*/ 4866 h 17646"/>
                <a:gd name="connsiteX16" fmla="*/ 4705 w 14705"/>
                <a:gd name="connsiteY16" fmla="*/ 4171 h 17646"/>
                <a:gd name="connsiteX17" fmla="*/ 3529 w 14705"/>
                <a:gd name="connsiteY17" fmla="*/ 4171 h 17646"/>
                <a:gd name="connsiteX18" fmla="*/ 2352 w 14705"/>
                <a:gd name="connsiteY18" fmla="*/ 3060 h 17646"/>
                <a:gd name="connsiteX19" fmla="*/ 2941 w 14705"/>
                <a:gd name="connsiteY19" fmla="*/ 8341 h 17646"/>
                <a:gd name="connsiteX20" fmla="*/ 1764 w 14705"/>
                <a:gd name="connsiteY20" fmla="*/ 8341 h 17646"/>
                <a:gd name="connsiteX21" fmla="*/ 1176 w 14705"/>
                <a:gd name="connsiteY21" fmla="*/ 6951 h 17646"/>
                <a:gd name="connsiteX22" fmla="*/ 882 w 14705"/>
                <a:gd name="connsiteY22" fmla="*/ 9036 h 17646"/>
                <a:gd name="connsiteX23" fmla="*/ 0 w 14705"/>
                <a:gd name="connsiteY23" fmla="*/ 9036 h 17646"/>
                <a:gd name="connsiteX0" fmla="*/ 0 w 14705"/>
                <a:gd name="connsiteY0" fmla="*/ 9036 h 17646"/>
                <a:gd name="connsiteX1" fmla="*/ 588 w 14705"/>
                <a:gd name="connsiteY1" fmla="*/ 15987 h 17646"/>
                <a:gd name="connsiteX2" fmla="*/ 2237 w 14705"/>
                <a:gd name="connsiteY2" fmla="*/ 16535 h 17646"/>
                <a:gd name="connsiteX3" fmla="*/ 3330 w 14705"/>
                <a:gd name="connsiteY3" fmla="*/ 16535 h 17646"/>
                <a:gd name="connsiteX4" fmla="*/ 5227 w 14705"/>
                <a:gd name="connsiteY4" fmla="*/ 15424 h 17646"/>
                <a:gd name="connsiteX5" fmla="*/ 5774 w 14705"/>
                <a:gd name="connsiteY5" fmla="*/ 15424 h 17646"/>
                <a:gd name="connsiteX6" fmla="*/ 5774 w 14705"/>
                <a:gd name="connsiteY6" fmla="*/ 17646 h 17646"/>
                <a:gd name="connsiteX7" fmla="*/ 7382 w 14705"/>
                <a:gd name="connsiteY7" fmla="*/ 17646 h 17646"/>
                <a:gd name="connsiteX8" fmla="*/ 8218 w 14705"/>
                <a:gd name="connsiteY8" fmla="*/ 15424 h 17646"/>
                <a:gd name="connsiteX9" fmla="*/ 9279 w 14705"/>
                <a:gd name="connsiteY9" fmla="*/ 15424 h 17646"/>
                <a:gd name="connsiteX10" fmla="*/ 10115 w 14705"/>
                <a:gd name="connsiteY10" fmla="*/ 13202 h 17646"/>
                <a:gd name="connsiteX11" fmla="*/ 11176 w 14705"/>
                <a:gd name="connsiteY11" fmla="*/ 12090 h 17646"/>
                <a:gd name="connsiteX12" fmla="*/ 11176 w 14705"/>
                <a:gd name="connsiteY12" fmla="*/ 7646 h 17646"/>
                <a:gd name="connsiteX13" fmla="*/ 14705 w 14705"/>
                <a:gd name="connsiteY13" fmla="*/ 0 h 17646"/>
                <a:gd name="connsiteX14" fmla="*/ 9117 w 14705"/>
                <a:gd name="connsiteY14" fmla="*/ 3060 h 17646"/>
                <a:gd name="connsiteX15" fmla="*/ 6764 w 14705"/>
                <a:gd name="connsiteY15" fmla="*/ 4866 h 17646"/>
                <a:gd name="connsiteX16" fmla="*/ 4705 w 14705"/>
                <a:gd name="connsiteY16" fmla="*/ 4171 h 17646"/>
                <a:gd name="connsiteX17" fmla="*/ 3529 w 14705"/>
                <a:gd name="connsiteY17" fmla="*/ 4171 h 17646"/>
                <a:gd name="connsiteX18" fmla="*/ 2352 w 14705"/>
                <a:gd name="connsiteY18" fmla="*/ 3060 h 17646"/>
                <a:gd name="connsiteX19" fmla="*/ 2941 w 14705"/>
                <a:gd name="connsiteY19" fmla="*/ 8341 h 17646"/>
                <a:gd name="connsiteX20" fmla="*/ 1764 w 14705"/>
                <a:gd name="connsiteY20" fmla="*/ 8341 h 17646"/>
                <a:gd name="connsiteX21" fmla="*/ 1176 w 14705"/>
                <a:gd name="connsiteY21" fmla="*/ 6951 h 17646"/>
                <a:gd name="connsiteX22" fmla="*/ 882 w 14705"/>
                <a:gd name="connsiteY22" fmla="*/ 9036 h 17646"/>
                <a:gd name="connsiteX23" fmla="*/ 0 w 14705"/>
                <a:gd name="connsiteY23" fmla="*/ 9036 h 17646"/>
                <a:gd name="connsiteX0" fmla="*/ 0 w 14705"/>
                <a:gd name="connsiteY0" fmla="*/ 9036 h 17646"/>
                <a:gd name="connsiteX1" fmla="*/ 588 w 14705"/>
                <a:gd name="connsiteY1" fmla="*/ 15987 h 17646"/>
                <a:gd name="connsiteX2" fmla="*/ 2237 w 14705"/>
                <a:gd name="connsiteY2" fmla="*/ 16535 h 17646"/>
                <a:gd name="connsiteX3" fmla="*/ 3330 w 14705"/>
                <a:gd name="connsiteY3" fmla="*/ 16535 h 17646"/>
                <a:gd name="connsiteX4" fmla="*/ 5227 w 14705"/>
                <a:gd name="connsiteY4" fmla="*/ 15424 h 17646"/>
                <a:gd name="connsiteX5" fmla="*/ 5774 w 14705"/>
                <a:gd name="connsiteY5" fmla="*/ 15424 h 17646"/>
                <a:gd name="connsiteX6" fmla="*/ 5774 w 14705"/>
                <a:gd name="connsiteY6" fmla="*/ 17646 h 17646"/>
                <a:gd name="connsiteX7" fmla="*/ 7382 w 14705"/>
                <a:gd name="connsiteY7" fmla="*/ 17646 h 17646"/>
                <a:gd name="connsiteX8" fmla="*/ 8218 w 14705"/>
                <a:gd name="connsiteY8" fmla="*/ 15424 h 17646"/>
                <a:gd name="connsiteX9" fmla="*/ 9279 w 14705"/>
                <a:gd name="connsiteY9" fmla="*/ 15424 h 17646"/>
                <a:gd name="connsiteX10" fmla="*/ 10115 w 14705"/>
                <a:gd name="connsiteY10" fmla="*/ 13202 h 17646"/>
                <a:gd name="connsiteX11" fmla="*/ 11176 w 14705"/>
                <a:gd name="connsiteY11" fmla="*/ 12090 h 17646"/>
                <a:gd name="connsiteX12" fmla="*/ 14705 w 14705"/>
                <a:gd name="connsiteY12" fmla="*/ 1390 h 17646"/>
                <a:gd name="connsiteX13" fmla="*/ 14705 w 14705"/>
                <a:gd name="connsiteY13" fmla="*/ 0 h 17646"/>
                <a:gd name="connsiteX14" fmla="*/ 9117 w 14705"/>
                <a:gd name="connsiteY14" fmla="*/ 3060 h 17646"/>
                <a:gd name="connsiteX15" fmla="*/ 6764 w 14705"/>
                <a:gd name="connsiteY15" fmla="*/ 4866 h 17646"/>
                <a:gd name="connsiteX16" fmla="*/ 4705 w 14705"/>
                <a:gd name="connsiteY16" fmla="*/ 4171 h 17646"/>
                <a:gd name="connsiteX17" fmla="*/ 3529 w 14705"/>
                <a:gd name="connsiteY17" fmla="*/ 4171 h 17646"/>
                <a:gd name="connsiteX18" fmla="*/ 2352 w 14705"/>
                <a:gd name="connsiteY18" fmla="*/ 3060 h 17646"/>
                <a:gd name="connsiteX19" fmla="*/ 2941 w 14705"/>
                <a:gd name="connsiteY19" fmla="*/ 8341 h 17646"/>
                <a:gd name="connsiteX20" fmla="*/ 1764 w 14705"/>
                <a:gd name="connsiteY20" fmla="*/ 8341 h 17646"/>
                <a:gd name="connsiteX21" fmla="*/ 1176 w 14705"/>
                <a:gd name="connsiteY21" fmla="*/ 6951 h 17646"/>
                <a:gd name="connsiteX22" fmla="*/ 882 w 14705"/>
                <a:gd name="connsiteY22" fmla="*/ 9036 h 17646"/>
                <a:gd name="connsiteX23" fmla="*/ 0 w 14705"/>
                <a:gd name="connsiteY23" fmla="*/ 9036 h 17646"/>
                <a:gd name="connsiteX0" fmla="*/ 0 w 14705"/>
                <a:gd name="connsiteY0" fmla="*/ 9036 h 17646"/>
                <a:gd name="connsiteX1" fmla="*/ 588 w 14705"/>
                <a:gd name="connsiteY1" fmla="*/ 15987 h 17646"/>
                <a:gd name="connsiteX2" fmla="*/ 2237 w 14705"/>
                <a:gd name="connsiteY2" fmla="*/ 16535 h 17646"/>
                <a:gd name="connsiteX3" fmla="*/ 3330 w 14705"/>
                <a:gd name="connsiteY3" fmla="*/ 16535 h 17646"/>
                <a:gd name="connsiteX4" fmla="*/ 5227 w 14705"/>
                <a:gd name="connsiteY4" fmla="*/ 15424 h 17646"/>
                <a:gd name="connsiteX5" fmla="*/ 5774 w 14705"/>
                <a:gd name="connsiteY5" fmla="*/ 15424 h 17646"/>
                <a:gd name="connsiteX6" fmla="*/ 5774 w 14705"/>
                <a:gd name="connsiteY6" fmla="*/ 17646 h 17646"/>
                <a:gd name="connsiteX7" fmla="*/ 7382 w 14705"/>
                <a:gd name="connsiteY7" fmla="*/ 17646 h 17646"/>
                <a:gd name="connsiteX8" fmla="*/ 8218 w 14705"/>
                <a:gd name="connsiteY8" fmla="*/ 15424 h 17646"/>
                <a:gd name="connsiteX9" fmla="*/ 9279 w 14705"/>
                <a:gd name="connsiteY9" fmla="*/ 15424 h 17646"/>
                <a:gd name="connsiteX10" fmla="*/ 10115 w 14705"/>
                <a:gd name="connsiteY10" fmla="*/ 13202 h 17646"/>
                <a:gd name="connsiteX11" fmla="*/ 9411 w 14705"/>
                <a:gd name="connsiteY11" fmla="*/ 6256 h 17646"/>
                <a:gd name="connsiteX12" fmla="*/ 14705 w 14705"/>
                <a:gd name="connsiteY12" fmla="*/ 1390 h 17646"/>
                <a:gd name="connsiteX13" fmla="*/ 14705 w 14705"/>
                <a:gd name="connsiteY13" fmla="*/ 0 h 17646"/>
                <a:gd name="connsiteX14" fmla="*/ 9117 w 14705"/>
                <a:gd name="connsiteY14" fmla="*/ 3060 h 17646"/>
                <a:gd name="connsiteX15" fmla="*/ 6764 w 14705"/>
                <a:gd name="connsiteY15" fmla="*/ 4866 h 17646"/>
                <a:gd name="connsiteX16" fmla="*/ 4705 w 14705"/>
                <a:gd name="connsiteY16" fmla="*/ 4171 h 17646"/>
                <a:gd name="connsiteX17" fmla="*/ 3529 w 14705"/>
                <a:gd name="connsiteY17" fmla="*/ 4171 h 17646"/>
                <a:gd name="connsiteX18" fmla="*/ 2352 w 14705"/>
                <a:gd name="connsiteY18" fmla="*/ 3060 h 17646"/>
                <a:gd name="connsiteX19" fmla="*/ 2941 w 14705"/>
                <a:gd name="connsiteY19" fmla="*/ 8341 h 17646"/>
                <a:gd name="connsiteX20" fmla="*/ 1764 w 14705"/>
                <a:gd name="connsiteY20" fmla="*/ 8341 h 17646"/>
                <a:gd name="connsiteX21" fmla="*/ 1176 w 14705"/>
                <a:gd name="connsiteY21" fmla="*/ 6951 h 17646"/>
                <a:gd name="connsiteX22" fmla="*/ 882 w 14705"/>
                <a:gd name="connsiteY22" fmla="*/ 9036 h 17646"/>
                <a:gd name="connsiteX23" fmla="*/ 0 w 14705"/>
                <a:gd name="connsiteY23" fmla="*/ 9036 h 17646"/>
                <a:gd name="connsiteX0" fmla="*/ 0 w 14705"/>
                <a:gd name="connsiteY0" fmla="*/ 9036 h 17646"/>
                <a:gd name="connsiteX1" fmla="*/ 588 w 14705"/>
                <a:gd name="connsiteY1" fmla="*/ 15987 h 17646"/>
                <a:gd name="connsiteX2" fmla="*/ 2237 w 14705"/>
                <a:gd name="connsiteY2" fmla="*/ 16535 h 17646"/>
                <a:gd name="connsiteX3" fmla="*/ 3330 w 14705"/>
                <a:gd name="connsiteY3" fmla="*/ 16535 h 17646"/>
                <a:gd name="connsiteX4" fmla="*/ 5227 w 14705"/>
                <a:gd name="connsiteY4" fmla="*/ 15424 h 17646"/>
                <a:gd name="connsiteX5" fmla="*/ 5774 w 14705"/>
                <a:gd name="connsiteY5" fmla="*/ 15424 h 17646"/>
                <a:gd name="connsiteX6" fmla="*/ 5774 w 14705"/>
                <a:gd name="connsiteY6" fmla="*/ 17646 h 17646"/>
                <a:gd name="connsiteX7" fmla="*/ 7382 w 14705"/>
                <a:gd name="connsiteY7" fmla="*/ 17646 h 17646"/>
                <a:gd name="connsiteX8" fmla="*/ 7058 w 14705"/>
                <a:gd name="connsiteY8" fmla="*/ 14680 h 17646"/>
                <a:gd name="connsiteX9" fmla="*/ 9279 w 14705"/>
                <a:gd name="connsiteY9" fmla="*/ 15424 h 17646"/>
                <a:gd name="connsiteX10" fmla="*/ 10115 w 14705"/>
                <a:gd name="connsiteY10" fmla="*/ 13202 h 17646"/>
                <a:gd name="connsiteX11" fmla="*/ 9411 w 14705"/>
                <a:gd name="connsiteY11" fmla="*/ 6256 h 17646"/>
                <a:gd name="connsiteX12" fmla="*/ 14705 w 14705"/>
                <a:gd name="connsiteY12" fmla="*/ 1390 h 17646"/>
                <a:gd name="connsiteX13" fmla="*/ 14705 w 14705"/>
                <a:gd name="connsiteY13" fmla="*/ 0 h 17646"/>
                <a:gd name="connsiteX14" fmla="*/ 9117 w 14705"/>
                <a:gd name="connsiteY14" fmla="*/ 3060 h 17646"/>
                <a:gd name="connsiteX15" fmla="*/ 6764 w 14705"/>
                <a:gd name="connsiteY15" fmla="*/ 4866 h 17646"/>
                <a:gd name="connsiteX16" fmla="*/ 4705 w 14705"/>
                <a:gd name="connsiteY16" fmla="*/ 4171 h 17646"/>
                <a:gd name="connsiteX17" fmla="*/ 3529 w 14705"/>
                <a:gd name="connsiteY17" fmla="*/ 4171 h 17646"/>
                <a:gd name="connsiteX18" fmla="*/ 2352 w 14705"/>
                <a:gd name="connsiteY18" fmla="*/ 3060 h 17646"/>
                <a:gd name="connsiteX19" fmla="*/ 2941 w 14705"/>
                <a:gd name="connsiteY19" fmla="*/ 8341 h 17646"/>
                <a:gd name="connsiteX20" fmla="*/ 1764 w 14705"/>
                <a:gd name="connsiteY20" fmla="*/ 8341 h 17646"/>
                <a:gd name="connsiteX21" fmla="*/ 1176 w 14705"/>
                <a:gd name="connsiteY21" fmla="*/ 6951 h 17646"/>
                <a:gd name="connsiteX22" fmla="*/ 882 w 14705"/>
                <a:gd name="connsiteY22" fmla="*/ 9036 h 17646"/>
                <a:gd name="connsiteX23" fmla="*/ 0 w 14705"/>
                <a:gd name="connsiteY23" fmla="*/ 9036 h 17646"/>
                <a:gd name="connsiteX0" fmla="*/ 0 w 14705"/>
                <a:gd name="connsiteY0" fmla="*/ 9036 h 18767"/>
                <a:gd name="connsiteX1" fmla="*/ 588 w 14705"/>
                <a:gd name="connsiteY1" fmla="*/ 15987 h 18767"/>
                <a:gd name="connsiteX2" fmla="*/ 2237 w 14705"/>
                <a:gd name="connsiteY2" fmla="*/ 16535 h 18767"/>
                <a:gd name="connsiteX3" fmla="*/ 2058 w 14705"/>
                <a:gd name="connsiteY3" fmla="*/ 18767 h 18767"/>
                <a:gd name="connsiteX4" fmla="*/ 5227 w 14705"/>
                <a:gd name="connsiteY4" fmla="*/ 15424 h 18767"/>
                <a:gd name="connsiteX5" fmla="*/ 5774 w 14705"/>
                <a:gd name="connsiteY5" fmla="*/ 15424 h 18767"/>
                <a:gd name="connsiteX6" fmla="*/ 5774 w 14705"/>
                <a:gd name="connsiteY6" fmla="*/ 17646 h 18767"/>
                <a:gd name="connsiteX7" fmla="*/ 7382 w 14705"/>
                <a:gd name="connsiteY7" fmla="*/ 17646 h 18767"/>
                <a:gd name="connsiteX8" fmla="*/ 7058 w 14705"/>
                <a:gd name="connsiteY8" fmla="*/ 14680 h 18767"/>
                <a:gd name="connsiteX9" fmla="*/ 9279 w 14705"/>
                <a:gd name="connsiteY9" fmla="*/ 15424 h 18767"/>
                <a:gd name="connsiteX10" fmla="*/ 10115 w 14705"/>
                <a:gd name="connsiteY10" fmla="*/ 13202 h 18767"/>
                <a:gd name="connsiteX11" fmla="*/ 9411 w 14705"/>
                <a:gd name="connsiteY11" fmla="*/ 6256 h 18767"/>
                <a:gd name="connsiteX12" fmla="*/ 14705 w 14705"/>
                <a:gd name="connsiteY12" fmla="*/ 1390 h 18767"/>
                <a:gd name="connsiteX13" fmla="*/ 14705 w 14705"/>
                <a:gd name="connsiteY13" fmla="*/ 0 h 18767"/>
                <a:gd name="connsiteX14" fmla="*/ 9117 w 14705"/>
                <a:gd name="connsiteY14" fmla="*/ 3060 h 18767"/>
                <a:gd name="connsiteX15" fmla="*/ 6764 w 14705"/>
                <a:gd name="connsiteY15" fmla="*/ 4866 h 18767"/>
                <a:gd name="connsiteX16" fmla="*/ 4705 w 14705"/>
                <a:gd name="connsiteY16" fmla="*/ 4171 h 18767"/>
                <a:gd name="connsiteX17" fmla="*/ 3529 w 14705"/>
                <a:gd name="connsiteY17" fmla="*/ 4171 h 18767"/>
                <a:gd name="connsiteX18" fmla="*/ 2352 w 14705"/>
                <a:gd name="connsiteY18" fmla="*/ 3060 h 18767"/>
                <a:gd name="connsiteX19" fmla="*/ 2941 w 14705"/>
                <a:gd name="connsiteY19" fmla="*/ 8341 h 18767"/>
                <a:gd name="connsiteX20" fmla="*/ 1764 w 14705"/>
                <a:gd name="connsiteY20" fmla="*/ 8341 h 18767"/>
                <a:gd name="connsiteX21" fmla="*/ 1176 w 14705"/>
                <a:gd name="connsiteY21" fmla="*/ 6951 h 18767"/>
                <a:gd name="connsiteX22" fmla="*/ 882 w 14705"/>
                <a:gd name="connsiteY22" fmla="*/ 9036 h 18767"/>
                <a:gd name="connsiteX23" fmla="*/ 0 w 14705"/>
                <a:gd name="connsiteY23" fmla="*/ 9036 h 18767"/>
                <a:gd name="connsiteX0" fmla="*/ 0 w 14705"/>
                <a:gd name="connsiteY0" fmla="*/ 9036 h 18767"/>
                <a:gd name="connsiteX1" fmla="*/ 588 w 14705"/>
                <a:gd name="connsiteY1" fmla="*/ 15987 h 18767"/>
                <a:gd name="connsiteX2" fmla="*/ 2237 w 14705"/>
                <a:gd name="connsiteY2" fmla="*/ 16535 h 18767"/>
                <a:gd name="connsiteX3" fmla="*/ 2058 w 14705"/>
                <a:gd name="connsiteY3" fmla="*/ 18767 h 18767"/>
                <a:gd name="connsiteX4" fmla="*/ 3529 w 14705"/>
                <a:gd name="connsiteY4" fmla="*/ 18767 h 18767"/>
                <a:gd name="connsiteX5" fmla="*/ 5774 w 14705"/>
                <a:gd name="connsiteY5" fmla="*/ 15424 h 18767"/>
                <a:gd name="connsiteX6" fmla="*/ 5774 w 14705"/>
                <a:gd name="connsiteY6" fmla="*/ 17646 h 18767"/>
                <a:gd name="connsiteX7" fmla="*/ 7382 w 14705"/>
                <a:gd name="connsiteY7" fmla="*/ 17646 h 18767"/>
                <a:gd name="connsiteX8" fmla="*/ 7058 w 14705"/>
                <a:gd name="connsiteY8" fmla="*/ 14680 h 18767"/>
                <a:gd name="connsiteX9" fmla="*/ 9279 w 14705"/>
                <a:gd name="connsiteY9" fmla="*/ 15424 h 18767"/>
                <a:gd name="connsiteX10" fmla="*/ 10115 w 14705"/>
                <a:gd name="connsiteY10" fmla="*/ 13202 h 18767"/>
                <a:gd name="connsiteX11" fmla="*/ 9411 w 14705"/>
                <a:gd name="connsiteY11" fmla="*/ 6256 h 18767"/>
                <a:gd name="connsiteX12" fmla="*/ 14705 w 14705"/>
                <a:gd name="connsiteY12" fmla="*/ 1390 h 18767"/>
                <a:gd name="connsiteX13" fmla="*/ 14705 w 14705"/>
                <a:gd name="connsiteY13" fmla="*/ 0 h 18767"/>
                <a:gd name="connsiteX14" fmla="*/ 9117 w 14705"/>
                <a:gd name="connsiteY14" fmla="*/ 3060 h 18767"/>
                <a:gd name="connsiteX15" fmla="*/ 6764 w 14705"/>
                <a:gd name="connsiteY15" fmla="*/ 4866 h 18767"/>
                <a:gd name="connsiteX16" fmla="*/ 4705 w 14705"/>
                <a:gd name="connsiteY16" fmla="*/ 4171 h 18767"/>
                <a:gd name="connsiteX17" fmla="*/ 3529 w 14705"/>
                <a:gd name="connsiteY17" fmla="*/ 4171 h 18767"/>
                <a:gd name="connsiteX18" fmla="*/ 2352 w 14705"/>
                <a:gd name="connsiteY18" fmla="*/ 3060 h 18767"/>
                <a:gd name="connsiteX19" fmla="*/ 2941 w 14705"/>
                <a:gd name="connsiteY19" fmla="*/ 8341 h 18767"/>
                <a:gd name="connsiteX20" fmla="*/ 1764 w 14705"/>
                <a:gd name="connsiteY20" fmla="*/ 8341 h 18767"/>
                <a:gd name="connsiteX21" fmla="*/ 1176 w 14705"/>
                <a:gd name="connsiteY21" fmla="*/ 6951 h 18767"/>
                <a:gd name="connsiteX22" fmla="*/ 882 w 14705"/>
                <a:gd name="connsiteY22" fmla="*/ 9036 h 18767"/>
                <a:gd name="connsiteX23" fmla="*/ 0 w 14705"/>
                <a:gd name="connsiteY23" fmla="*/ 9036 h 18767"/>
                <a:gd name="connsiteX0" fmla="*/ 0 w 14705"/>
                <a:gd name="connsiteY0" fmla="*/ 9036 h 18767"/>
                <a:gd name="connsiteX1" fmla="*/ 588 w 14705"/>
                <a:gd name="connsiteY1" fmla="*/ 15987 h 18767"/>
                <a:gd name="connsiteX2" fmla="*/ 2237 w 14705"/>
                <a:gd name="connsiteY2" fmla="*/ 16535 h 18767"/>
                <a:gd name="connsiteX3" fmla="*/ 2058 w 14705"/>
                <a:gd name="connsiteY3" fmla="*/ 18767 h 18767"/>
                <a:gd name="connsiteX4" fmla="*/ 3529 w 14705"/>
                <a:gd name="connsiteY4" fmla="*/ 18767 h 18767"/>
                <a:gd name="connsiteX5" fmla="*/ 3823 w 14705"/>
                <a:gd name="connsiteY5" fmla="*/ 15987 h 18767"/>
                <a:gd name="connsiteX6" fmla="*/ 5774 w 14705"/>
                <a:gd name="connsiteY6" fmla="*/ 17646 h 18767"/>
                <a:gd name="connsiteX7" fmla="*/ 7382 w 14705"/>
                <a:gd name="connsiteY7" fmla="*/ 17646 h 18767"/>
                <a:gd name="connsiteX8" fmla="*/ 7058 w 14705"/>
                <a:gd name="connsiteY8" fmla="*/ 14680 h 18767"/>
                <a:gd name="connsiteX9" fmla="*/ 9279 w 14705"/>
                <a:gd name="connsiteY9" fmla="*/ 15424 h 18767"/>
                <a:gd name="connsiteX10" fmla="*/ 10115 w 14705"/>
                <a:gd name="connsiteY10" fmla="*/ 13202 h 18767"/>
                <a:gd name="connsiteX11" fmla="*/ 9411 w 14705"/>
                <a:gd name="connsiteY11" fmla="*/ 6256 h 18767"/>
                <a:gd name="connsiteX12" fmla="*/ 14705 w 14705"/>
                <a:gd name="connsiteY12" fmla="*/ 1390 h 18767"/>
                <a:gd name="connsiteX13" fmla="*/ 14705 w 14705"/>
                <a:gd name="connsiteY13" fmla="*/ 0 h 18767"/>
                <a:gd name="connsiteX14" fmla="*/ 9117 w 14705"/>
                <a:gd name="connsiteY14" fmla="*/ 3060 h 18767"/>
                <a:gd name="connsiteX15" fmla="*/ 6764 w 14705"/>
                <a:gd name="connsiteY15" fmla="*/ 4866 h 18767"/>
                <a:gd name="connsiteX16" fmla="*/ 4705 w 14705"/>
                <a:gd name="connsiteY16" fmla="*/ 4171 h 18767"/>
                <a:gd name="connsiteX17" fmla="*/ 3529 w 14705"/>
                <a:gd name="connsiteY17" fmla="*/ 4171 h 18767"/>
                <a:gd name="connsiteX18" fmla="*/ 2352 w 14705"/>
                <a:gd name="connsiteY18" fmla="*/ 3060 h 18767"/>
                <a:gd name="connsiteX19" fmla="*/ 2941 w 14705"/>
                <a:gd name="connsiteY19" fmla="*/ 8341 h 18767"/>
                <a:gd name="connsiteX20" fmla="*/ 1764 w 14705"/>
                <a:gd name="connsiteY20" fmla="*/ 8341 h 18767"/>
                <a:gd name="connsiteX21" fmla="*/ 1176 w 14705"/>
                <a:gd name="connsiteY21" fmla="*/ 6951 h 18767"/>
                <a:gd name="connsiteX22" fmla="*/ 882 w 14705"/>
                <a:gd name="connsiteY22" fmla="*/ 9036 h 18767"/>
                <a:gd name="connsiteX23" fmla="*/ 0 w 14705"/>
                <a:gd name="connsiteY23" fmla="*/ 9036 h 18767"/>
                <a:gd name="connsiteX0" fmla="*/ 0 w 14705"/>
                <a:gd name="connsiteY0" fmla="*/ 9036 h 18767"/>
                <a:gd name="connsiteX1" fmla="*/ 588 w 14705"/>
                <a:gd name="connsiteY1" fmla="*/ 15987 h 18767"/>
                <a:gd name="connsiteX2" fmla="*/ 2237 w 14705"/>
                <a:gd name="connsiteY2" fmla="*/ 16535 h 18767"/>
                <a:gd name="connsiteX3" fmla="*/ 2058 w 14705"/>
                <a:gd name="connsiteY3" fmla="*/ 18767 h 18767"/>
                <a:gd name="connsiteX4" fmla="*/ 3529 w 14705"/>
                <a:gd name="connsiteY4" fmla="*/ 18767 h 18767"/>
                <a:gd name="connsiteX5" fmla="*/ 3823 w 14705"/>
                <a:gd name="connsiteY5" fmla="*/ 15987 h 18767"/>
                <a:gd name="connsiteX6" fmla="*/ 5588 w 14705"/>
                <a:gd name="connsiteY6" fmla="*/ 16682 h 18767"/>
                <a:gd name="connsiteX7" fmla="*/ 7382 w 14705"/>
                <a:gd name="connsiteY7" fmla="*/ 17646 h 18767"/>
                <a:gd name="connsiteX8" fmla="*/ 7058 w 14705"/>
                <a:gd name="connsiteY8" fmla="*/ 14680 h 18767"/>
                <a:gd name="connsiteX9" fmla="*/ 9279 w 14705"/>
                <a:gd name="connsiteY9" fmla="*/ 15424 h 18767"/>
                <a:gd name="connsiteX10" fmla="*/ 10115 w 14705"/>
                <a:gd name="connsiteY10" fmla="*/ 13202 h 18767"/>
                <a:gd name="connsiteX11" fmla="*/ 9411 w 14705"/>
                <a:gd name="connsiteY11" fmla="*/ 6256 h 18767"/>
                <a:gd name="connsiteX12" fmla="*/ 14705 w 14705"/>
                <a:gd name="connsiteY12" fmla="*/ 1390 h 18767"/>
                <a:gd name="connsiteX13" fmla="*/ 14705 w 14705"/>
                <a:gd name="connsiteY13" fmla="*/ 0 h 18767"/>
                <a:gd name="connsiteX14" fmla="*/ 9117 w 14705"/>
                <a:gd name="connsiteY14" fmla="*/ 3060 h 18767"/>
                <a:gd name="connsiteX15" fmla="*/ 6764 w 14705"/>
                <a:gd name="connsiteY15" fmla="*/ 4866 h 18767"/>
                <a:gd name="connsiteX16" fmla="*/ 4705 w 14705"/>
                <a:gd name="connsiteY16" fmla="*/ 4171 h 18767"/>
                <a:gd name="connsiteX17" fmla="*/ 3529 w 14705"/>
                <a:gd name="connsiteY17" fmla="*/ 4171 h 18767"/>
                <a:gd name="connsiteX18" fmla="*/ 2352 w 14705"/>
                <a:gd name="connsiteY18" fmla="*/ 3060 h 18767"/>
                <a:gd name="connsiteX19" fmla="*/ 2941 w 14705"/>
                <a:gd name="connsiteY19" fmla="*/ 8341 h 18767"/>
                <a:gd name="connsiteX20" fmla="*/ 1764 w 14705"/>
                <a:gd name="connsiteY20" fmla="*/ 8341 h 18767"/>
                <a:gd name="connsiteX21" fmla="*/ 1176 w 14705"/>
                <a:gd name="connsiteY21" fmla="*/ 6951 h 18767"/>
                <a:gd name="connsiteX22" fmla="*/ 882 w 14705"/>
                <a:gd name="connsiteY22" fmla="*/ 9036 h 18767"/>
                <a:gd name="connsiteX23" fmla="*/ 0 w 14705"/>
                <a:gd name="connsiteY23" fmla="*/ 9036 h 18767"/>
                <a:gd name="connsiteX0" fmla="*/ 0 w 14705"/>
                <a:gd name="connsiteY0" fmla="*/ 9036 h 18767"/>
                <a:gd name="connsiteX1" fmla="*/ 588 w 14705"/>
                <a:gd name="connsiteY1" fmla="*/ 15987 h 18767"/>
                <a:gd name="connsiteX2" fmla="*/ 2237 w 14705"/>
                <a:gd name="connsiteY2" fmla="*/ 16535 h 18767"/>
                <a:gd name="connsiteX3" fmla="*/ 2058 w 14705"/>
                <a:gd name="connsiteY3" fmla="*/ 18767 h 18767"/>
                <a:gd name="connsiteX4" fmla="*/ 3529 w 14705"/>
                <a:gd name="connsiteY4" fmla="*/ 18767 h 18767"/>
                <a:gd name="connsiteX5" fmla="*/ 3823 w 14705"/>
                <a:gd name="connsiteY5" fmla="*/ 15987 h 18767"/>
                <a:gd name="connsiteX6" fmla="*/ 5588 w 14705"/>
                <a:gd name="connsiteY6" fmla="*/ 16682 h 18767"/>
                <a:gd name="connsiteX7" fmla="*/ 6764 w 14705"/>
                <a:gd name="connsiteY7" fmla="*/ 15987 h 18767"/>
                <a:gd name="connsiteX8" fmla="*/ 7058 w 14705"/>
                <a:gd name="connsiteY8" fmla="*/ 14680 h 18767"/>
                <a:gd name="connsiteX9" fmla="*/ 9279 w 14705"/>
                <a:gd name="connsiteY9" fmla="*/ 15424 h 18767"/>
                <a:gd name="connsiteX10" fmla="*/ 10115 w 14705"/>
                <a:gd name="connsiteY10" fmla="*/ 13202 h 18767"/>
                <a:gd name="connsiteX11" fmla="*/ 9411 w 14705"/>
                <a:gd name="connsiteY11" fmla="*/ 6256 h 18767"/>
                <a:gd name="connsiteX12" fmla="*/ 14705 w 14705"/>
                <a:gd name="connsiteY12" fmla="*/ 1390 h 18767"/>
                <a:gd name="connsiteX13" fmla="*/ 14705 w 14705"/>
                <a:gd name="connsiteY13" fmla="*/ 0 h 18767"/>
                <a:gd name="connsiteX14" fmla="*/ 9117 w 14705"/>
                <a:gd name="connsiteY14" fmla="*/ 3060 h 18767"/>
                <a:gd name="connsiteX15" fmla="*/ 6764 w 14705"/>
                <a:gd name="connsiteY15" fmla="*/ 4866 h 18767"/>
                <a:gd name="connsiteX16" fmla="*/ 4705 w 14705"/>
                <a:gd name="connsiteY16" fmla="*/ 4171 h 18767"/>
                <a:gd name="connsiteX17" fmla="*/ 3529 w 14705"/>
                <a:gd name="connsiteY17" fmla="*/ 4171 h 18767"/>
                <a:gd name="connsiteX18" fmla="*/ 2352 w 14705"/>
                <a:gd name="connsiteY18" fmla="*/ 3060 h 18767"/>
                <a:gd name="connsiteX19" fmla="*/ 2941 w 14705"/>
                <a:gd name="connsiteY19" fmla="*/ 8341 h 18767"/>
                <a:gd name="connsiteX20" fmla="*/ 1764 w 14705"/>
                <a:gd name="connsiteY20" fmla="*/ 8341 h 18767"/>
                <a:gd name="connsiteX21" fmla="*/ 1176 w 14705"/>
                <a:gd name="connsiteY21" fmla="*/ 6951 h 18767"/>
                <a:gd name="connsiteX22" fmla="*/ 882 w 14705"/>
                <a:gd name="connsiteY22" fmla="*/ 9036 h 18767"/>
                <a:gd name="connsiteX23" fmla="*/ 0 w 14705"/>
                <a:gd name="connsiteY23" fmla="*/ 9036 h 18767"/>
                <a:gd name="connsiteX0" fmla="*/ 0 w 14705"/>
                <a:gd name="connsiteY0" fmla="*/ 9036 h 18767"/>
                <a:gd name="connsiteX1" fmla="*/ 588 w 14705"/>
                <a:gd name="connsiteY1" fmla="*/ 15987 h 18767"/>
                <a:gd name="connsiteX2" fmla="*/ 2237 w 14705"/>
                <a:gd name="connsiteY2" fmla="*/ 16535 h 18767"/>
                <a:gd name="connsiteX3" fmla="*/ 2058 w 14705"/>
                <a:gd name="connsiteY3" fmla="*/ 18767 h 18767"/>
                <a:gd name="connsiteX4" fmla="*/ 3529 w 14705"/>
                <a:gd name="connsiteY4" fmla="*/ 18767 h 18767"/>
                <a:gd name="connsiteX5" fmla="*/ 3823 w 14705"/>
                <a:gd name="connsiteY5" fmla="*/ 15987 h 18767"/>
                <a:gd name="connsiteX6" fmla="*/ 5588 w 14705"/>
                <a:gd name="connsiteY6" fmla="*/ 16682 h 18767"/>
                <a:gd name="connsiteX7" fmla="*/ 6764 w 14705"/>
                <a:gd name="connsiteY7" fmla="*/ 15987 h 18767"/>
                <a:gd name="connsiteX8" fmla="*/ 7647 w 14705"/>
                <a:gd name="connsiteY8" fmla="*/ 13207 h 18767"/>
                <a:gd name="connsiteX9" fmla="*/ 9279 w 14705"/>
                <a:gd name="connsiteY9" fmla="*/ 15424 h 18767"/>
                <a:gd name="connsiteX10" fmla="*/ 10115 w 14705"/>
                <a:gd name="connsiteY10" fmla="*/ 13202 h 18767"/>
                <a:gd name="connsiteX11" fmla="*/ 9411 w 14705"/>
                <a:gd name="connsiteY11" fmla="*/ 6256 h 18767"/>
                <a:gd name="connsiteX12" fmla="*/ 14705 w 14705"/>
                <a:gd name="connsiteY12" fmla="*/ 1390 h 18767"/>
                <a:gd name="connsiteX13" fmla="*/ 14705 w 14705"/>
                <a:gd name="connsiteY13" fmla="*/ 0 h 18767"/>
                <a:gd name="connsiteX14" fmla="*/ 9117 w 14705"/>
                <a:gd name="connsiteY14" fmla="*/ 3060 h 18767"/>
                <a:gd name="connsiteX15" fmla="*/ 6764 w 14705"/>
                <a:gd name="connsiteY15" fmla="*/ 4866 h 18767"/>
                <a:gd name="connsiteX16" fmla="*/ 4705 w 14705"/>
                <a:gd name="connsiteY16" fmla="*/ 4171 h 18767"/>
                <a:gd name="connsiteX17" fmla="*/ 3529 w 14705"/>
                <a:gd name="connsiteY17" fmla="*/ 4171 h 18767"/>
                <a:gd name="connsiteX18" fmla="*/ 2352 w 14705"/>
                <a:gd name="connsiteY18" fmla="*/ 3060 h 18767"/>
                <a:gd name="connsiteX19" fmla="*/ 2941 w 14705"/>
                <a:gd name="connsiteY19" fmla="*/ 8341 h 18767"/>
                <a:gd name="connsiteX20" fmla="*/ 1764 w 14705"/>
                <a:gd name="connsiteY20" fmla="*/ 8341 h 18767"/>
                <a:gd name="connsiteX21" fmla="*/ 1176 w 14705"/>
                <a:gd name="connsiteY21" fmla="*/ 6951 h 18767"/>
                <a:gd name="connsiteX22" fmla="*/ 882 w 14705"/>
                <a:gd name="connsiteY22" fmla="*/ 9036 h 18767"/>
                <a:gd name="connsiteX23" fmla="*/ 0 w 14705"/>
                <a:gd name="connsiteY23" fmla="*/ 9036 h 18767"/>
                <a:gd name="connsiteX0" fmla="*/ 0 w 14705"/>
                <a:gd name="connsiteY0" fmla="*/ 7646 h 17377"/>
                <a:gd name="connsiteX1" fmla="*/ 588 w 14705"/>
                <a:gd name="connsiteY1" fmla="*/ 14597 h 17377"/>
                <a:gd name="connsiteX2" fmla="*/ 2237 w 14705"/>
                <a:gd name="connsiteY2" fmla="*/ 15145 h 17377"/>
                <a:gd name="connsiteX3" fmla="*/ 2058 w 14705"/>
                <a:gd name="connsiteY3" fmla="*/ 17377 h 17377"/>
                <a:gd name="connsiteX4" fmla="*/ 3529 w 14705"/>
                <a:gd name="connsiteY4" fmla="*/ 17377 h 17377"/>
                <a:gd name="connsiteX5" fmla="*/ 3823 w 14705"/>
                <a:gd name="connsiteY5" fmla="*/ 14597 h 17377"/>
                <a:gd name="connsiteX6" fmla="*/ 5588 w 14705"/>
                <a:gd name="connsiteY6" fmla="*/ 15292 h 17377"/>
                <a:gd name="connsiteX7" fmla="*/ 6764 w 14705"/>
                <a:gd name="connsiteY7" fmla="*/ 14597 h 17377"/>
                <a:gd name="connsiteX8" fmla="*/ 7647 w 14705"/>
                <a:gd name="connsiteY8" fmla="*/ 11817 h 17377"/>
                <a:gd name="connsiteX9" fmla="*/ 9279 w 14705"/>
                <a:gd name="connsiteY9" fmla="*/ 14034 h 17377"/>
                <a:gd name="connsiteX10" fmla="*/ 10115 w 14705"/>
                <a:gd name="connsiteY10" fmla="*/ 11812 h 17377"/>
                <a:gd name="connsiteX11" fmla="*/ 9411 w 14705"/>
                <a:gd name="connsiteY11" fmla="*/ 4866 h 17377"/>
                <a:gd name="connsiteX12" fmla="*/ 14705 w 14705"/>
                <a:gd name="connsiteY12" fmla="*/ 0 h 17377"/>
                <a:gd name="connsiteX13" fmla="*/ 7865 w 14705"/>
                <a:gd name="connsiteY13" fmla="*/ 9989 h 17377"/>
                <a:gd name="connsiteX14" fmla="*/ 9117 w 14705"/>
                <a:gd name="connsiteY14" fmla="*/ 1670 h 17377"/>
                <a:gd name="connsiteX15" fmla="*/ 6764 w 14705"/>
                <a:gd name="connsiteY15" fmla="*/ 3476 h 17377"/>
                <a:gd name="connsiteX16" fmla="*/ 4705 w 14705"/>
                <a:gd name="connsiteY16" fmla="*/ 2781 h 17377"/>
                <a:gd name="connsiteX17" fmla="*/ 3529 w 14705"/>
                <a:gd name="connsiteY17" fmla="*/ 2781 h 17377"/>
                <a:gd name="connsiteX18" fmla="*/ 2352 w 14705"/>
                <a:gd name="connsiteY18" fmla="*/ 1670 h 17377"/>
                <a:gd name="connsiteX19" fmla="*/ 2941 w 14705"/>
                <a:gd name="connsiteY19" fmla="*/ 6951 h 17377"/>
                <a:gd name="connsiteX20" fmla="*/ 1764 w 14705"/>
                <a:gd name="connsiteY20" fmla="*/ 6951 h 17377"/>
                <a:gd name="connsiteX21" fmla="*/ 1176 w 14705"/>
                <a:gd name="connsiteY21" fmla="*/ 5561 h 17377"/>
                <a:gd name="connsiteX22" fmla="*/ 882 w 14705"/>
                <a:gd name="connsiteY22" fmla="*/ 7646 h 17377"/>
                <a:gd name="connsiteX23" fmla="*/ 0 w 14705"/>
                <a:gd name="connsiteY23" fmla="*/ 7646 h 17377"/>
                <a:gd name="connsiteX0" fmla="*/ 0 w 10115"/>
                <a:gd name="connsiteY0" fmla="*/ 5976 h 15707"/>
                <a:gd name="connsiteX1" fmla="*/ 588 w 10115"/>
                <a:gd name="connsiteY1" fmla="*/ 12927 h 15707"/>
                <a:gd name="connsiteX2" fmla="*/ 2237 w 10115"/>
                <a:gd name="connsiteY2" fmla="*/ 13475 h 15707"/>
                <a:gd name="connsiteX3" fmla="*/ 2058 w 10115"/>
                <a:gd name="connsiteY3" fmla="*/ 15707 h 15707"/>
                <a:gd name="connsiteX4" fmla="*/ 3529 w 10115"/>
                <a:gd name="connsiteY4" fmla="*/ 15707 h 15707"/>
                <a:gd name="connsiteX5" fmla="*/ 3823 w 10115"/>
                <a:gd name="connsiteY5" fmla="*/ 12927 h 15707"/>
                <a:gd name="connsiteX6" fmla="*/ 5588 w 10115"/>
                <a:gd name="connsiteY6" fmla="*/ 13622 h 15707"/>
                <a:gd name="connsiteX7" fmla="*/ 6764 w 10115"/>
                <a:gd name="connsiteY7" fmla="*/ 12927 h 15707"/>
                <a:gd name="connsiteX8" fmla="*/ 7647 w 10115"/>
                <a:gd name="connsiteY8" fmla="*/ 10147 h 15707"/>
                <a:gd name="connsiteX9" fmla="*/ 9279 w 10115"/>
                <a:gd name="connsiteY9" fmla="*/ 12364 h 15707"/>
                <a:gd name="connsiteX10" fmla="*/ 10115 w 10115"/>
                <a:gd name="connsiteY10" fmla="*/ 10142 h 15707"/>
                <a:gd name="connsiteX11" fmla="*/ 9411 w 10115"/>
                <a:gd name="connsiteY11" fmla="*/ 3196 h 15707"/>
                <a:gd name="connsiteX12" fmla="*/ 7512 w 10115"/>
                <a:gd name="connsiteY12" fmla="*/ 7519 h 15707"/>
                <a:gd name="connsiteX13" fmla="*/ 7865 w 10115"/>
                <a:gd name="connsiteY13" fmla="*/ 8319 h 15707"/>
                <a:gd name="connsiteX14" fmla="*/ 9117 w 10115"/>
                <a:gd name="connsiteY14" fmla="*/ 0 h 15707"/>
                <a:gd name="connsiteX15" fmla="*/ 6764 w 10115"/>
                <a:gd name="connsiteY15" fmla="*/ 1806 h 15707"/>
                <a:gd name="connsiteX16" fmla="*/ 4705 w 10115"/>
                <a:gd name="connsiteY16" fmla="*/ 1111 h 15707"/>
                <a:gd name="connsiteX17" fmla="*/ 3529 w 10115"/>
                <a:gd name="connsiteY17" fmla="*/ 1111 h 15707"/>
                <a:gd name="connsiteX18" fmla="*/ 2352 w 10115"/>
                <a:gd name="connsiteY18" fmla="*/ 0 h 15707"/>
                <a:gd name="connsiteX19" fmla="*/ 2941 w 10115"/>
                <a:gd name="connsiteY19" fmla="*/ 5281 h 15707"/>
                <a:gd name="connsiteX20" fmla="*/ 1764 w 10115"/>
                <a:gd name="connsiteY20" fmla="*/ 5281 h 15707"/>
                <a:gd name="connsiteX21" fmla="*/ 1176 w 10115"/>
                <a:gd name="connsiteY21" fmla="*/ 3891 h 15707"/>
                <a:gd name="connsiteX22" fmla="*/ 882 w 10115"/>
                <a:gd name="connsiteY22" fmla="*/ 5976 h 15707"/>
                <a:gd name="connsiteX23" fmla="*/ 0 w 10115"/>
                <a:gd name="connsiteY23" fmla="*/ 5976 h 15707"/>
                <a:gd name="connsiteX0" fmla="*/ 0 w 10115"/>
                <a:gd name="connsiteY0" fmla="*/ 5976 h 15707"/>
                <a:gd name="connsiteX1" fmla="*/ 588 w 10115"/>
                <a:gd name="connsiteY1" fmla="*/ 12927 h 15707"/>
                <a:gd name="connsiteX2" fmla="*/ 2237 w 10115"/>
                <a:gd name="connsiteY2" fmla="*/ 13475 h 15707"/>
                <a:gd name="connsiteX3" fmla="*/ 2058 w 10115"/>
                <a:gd name="connsiteY3" fmla="*/ 15707 h 15707"/>
                <a:gd name="connsiteX4" fmla="*/ 3529 w 10115"/>
                <a:gd name="connsiteY4" fmla="*/ 15707 h 15707"/>
                <a:gd name="connsiteX5" fmla="*/ 3823 w 10115"/>
                <a:gd name="connsiteY5" fmla="*/ 12927 h 15707"/>
                <a:gd name="connsiteX6" fmla="*/ 5588 w 10115"/>
                <a:gd name="connsiteY6" fmla="*/ 13622 h 15707"/>
                <a:gd name="connsiteX7" fmla="*/ 6764 w 10115"/>
                <a:gd name="connsiteY7" fmla="*/ 12927 h 15707"/>
                <a:gd name="connsiteX8" fmla="*/ 7647 w 10115"/>
                <a:gd name="connsiteY8" fmla="*/ 10147 h 15707"/>
                <a:gd name="connsiteX9" fmla="*/ 9279 w 10115"/>
                <a:gd name="connsiteY9" fmla="*/ 12364 h 15707"/>
                <a:gd name="connsiteX10" fmla="*/ 10115 w 10115"/>
                <a:gd name="connsiteY10" fmla="*/ 10142 h 15707"/>
                <a:gd name="connsiteX11" fmla="*/ 9411 w 10115"/>
                <a:gd name="connsiteY11" fmla="*/ 3196 h 15707"/>
                <a:gd name="connsiteX12" fmla="*/ 7512 w 10115"/>
                <a:gd name="connsiteY12" fmla="*/ 7519 h 15707"/>
                <a:gd name="connsiteX13" fmla="*/ 7865 w 10115"/>
                <a:gd name="connsiteY13" fmla="*/ 8319 h 15707"/>
                <a:gd name="connsiteX14" fmla="*/ 7141 w 10115"/>
                <a:gd name="connsiteY14" fmla="*/ 5261 h 15707"/>
                <a:gd name="connsiteX15" fmla="*/ 6764 w 10115"/>
                <a:gd name="connsiteY15" fmla="*/ 1806 h 15707"/>
                <a:gd name="connsiteX16" fmla="*/ 4705 w 10115"/>
                <a:gd name="connsiteY16" fmla="*/ 1111 h 15707"/>
                <a:gd name="connsiteX17" fmla="*/ 3529 w 10115"/>
                <a:gd name="connsiteY17" fmla="*/ 1111 h 15707"/>
                <a:gd name="connsiteX18" fmla="*/ 2352 w 10115"/>
                <a:gd name="connsiteY18" fmla="*/ 0 h 15707"/>
                <a:gd name="connsiteX19" fmla="*/ 2941 w 10115"/>
                <a:gd name="connsiteY19" fmla="*/ 5281 h 15707"/>
                <a:gd name="connsiteX20" fmla="*/ 1764 w 10115"/>
                <a:gd name="connsiteY20" fmla="*/ 5281 h 15707"/>
                <a:gd name="connsiteX21" fmla="*/ 1176 w 10115"/>
                <a:gd name="connsiteY21" fmla="*/ 3891 h 15707"/>
                <a:gd name="connsiteX22" fmla="*/ 882 w 10115"/>
                <a:gd name="connsiteY22" fmla="*/ 5976 h 15707"/>
                <a:gd name="connsiteX23" fmla="*/ 0 w 10115"/>
                <a:gd name="connsiteY23" fmla="*/ 5976 h 15707"/>
                <a:gd name="connsiteX0" fmla="*/ 0 w 10115"/>
                <a:gd name="connsiteY0" fmla="*/ 5976 h 15707"/>
                <a:gd name="connsiteX1" fmla="*/ 588 w 10115"/>
                <a:gd name="connsiteY1" fmla="*/ 12927 h 15707"/>
                <a:gd name="connsiteX2" fmla="*/ 2237 w 10115"/>
                <a:gd name="connsiteY2" fmla="*/ 13475 h 15707"/>
                <a:gd name="connsiteX3" fmla="*/ 2058 w 10115"/>
                <a:gd name="connsiteY3" fmla="*/ 15707 h 15707"/>
                <a:gd name="connsiteX4" fmla="*/ 3529 w 10115"/>
                <a:gd name="connsiteY4" fmla="*/ 15707 h 15707"/>
                <a:gd name="connsiteX5" fmla="*/ 3823 w 10115"/>
                <a:gd name="connsiteY5" fmla="*/ 12927 h 15707"/>
                <a:gd name="connsiteX6" fmla="*/ 5588 w 10115"/>
                <a:gd name="connsiteY6" fmla="*/ 13622 h 15707"/>
                <a:gd name="connsiteX7" fmla="*/ 6764 w 10115"/>
                <a:gd name="connsiteY7" fmla="*/ 12927 h 15707"/>
                <a:gd name="connsiteX8" fmla="*/ 7647 w 10115"/>
                <a:gd name="connsiteY8" fmla="*/ 10147 h 15707"/>
                <a:gd name="connsiteX9" fmla="*/ 9279 w 10115"/>
                <a:gd name="connsiteY9" fmla="*/ 12364 h 15707"/>
                <a:gd name="connsiteX10" fmla="*/ 10115 w 10115"/>
                <a:gd name="connsiteY10" fmla="*/ 10142 h 15707"/>
                <a:gd name="connsiteX11" fmla="*/ 9411 w 10115"/>
                <a:gd name="connsiteY11" fmla="*/ 3196 h 15707"/>
                <a:gd name="connsiteX12" fmla="*/ 7512 w 10115"/>
                <a:gd name="connsiteY12" fmla="*/ 7519 h 15707"/>
                <a:gd name="connsiteX13" fmla="*/ 7865 w 10115"/>
                <a:gd name="connsiteY13" fmla="*/ 8319 h 15707"/>
                <a:gd name="connsiteX14" fmla="*/ 7141 w 10115"/>
                <a:gd name="connsiteY14" fmla="*/ 5261 h 15707"/>
                <a:gd name="connsiteX15" fmla="*/ 6764 w 10115"/>
                <a:gd name="connsiteY15" fmla="*/ 1806 h 15707"/>
                <a:gd name="connsiteX16" fmla="*/ 5649 w 10115"/>
                <a:gd name="connsiteY16" fmla="*/ 4011 h 15707"/>
                <a:gd name="connsiteX17" fmla="*/ 4705 w 10115"/>
                <a:gd name="connsiteY17" fmla="*/ 1111 h 15707"/>
                <a:gd name="connsiteX18" fmla="*/ 3529 w 10115"/>
                <a:gd name="connsiteY18" fmla="*/ 1111 h 15707"/>
                <a:gd name="connsiteX19" fmla="*/ 2352 w 10115"/>
                <a:gd name="connsiteY19" fmla="*/ 0 h 15707"/>
                <a:gd name="connsiteX20" fmla="*/ 2941 w 10115"/>
                <a:gd name="connsiteY20" fmla="*/ 5281 h 15707"/>
                <a:gd name="connsiteX21" fmla="*/ 1764 w 10115"/>
                <a:gd name="connsiteY21" fmla="*/ 5281 h 15707"/>
                <a:gd name="connsiteX22" fmla="*/ 1176 w 10115"/>
                <a:gd name="connsiteY22" fmla="*/ 3891 h 15707"/>
                <a:gd name="connsiteX23" fmla="*/ 882 w 10115"/>
                <a:gd name="connsiteY23" fmla="*/ 5976 h 15707"/>
                <a:gd name="connsiteX24" fmla="*/ 0 w 10115"/>
                <a:gd name="connsiteY24" fmla="*/ 5976 h 15707"/>
                <a:gd name="connsiteX0" fmla="*/ 0 w 10115"/>
                <a:gd name="connsiteY0" fmla="*/ 5976 h 15707"/>
                <a:gd name="connsiteX1" fmla="*/ 2554 w 10115"/>
                <a:gd name="connsiteY1" fmla="*/ 13317 h 15707"/>
                <a:gd name="connsiteX2" fmla="*/ 2237 w 10115"/>
                <a:gd name="connsiteY2" fmla="*/ 13475 h 15707"/>
                <a:gd name="connsiteX3" fmla="*/ 2058 w 10115"/>
                <a:gd name="connsiteY3" fmla="*/ 15707 h 15707"/>
                <a:gd name="connsiteX4" fmla="*/ 3529 w 10115"/>
                <a:gd name="connsiteY4" fmla="*/ 15707 h 15707"/>
                <a:gd name="connsiteX5" fmla="*/ 3823 w 10115"/>
                <a:gd name="connsiteY5" fmla="*/ 12927 h 15707"/>
                <a:gd name="connsiteX6" fmla="*/ 5588 w 10115"/>
                <a:gd name="connsiteY6" fmla="*/ 13622 h 15707"/>
                <a:gd name="connsiteX7" fmla="*/ 6764 w 10115"/>
                <a:gd name="connsiteY7" fmla="*/ 12927 h 15707"/>
                <a:gd name="connsiteX8" fmla="*/ 7647 w 10115"/>
                <a:gd name="connsiteY8" fmla="*/ 10147 h 15707"/>
                <a:gd name="connsiteX9" fmla="*/ 9279 w 10115"/>
                <a:gd name="connsiteY9" fmla="*/ 12364 h 15707"/>
                <a:gd name="connsiteX10" fmla="*/ 10115 w 10115"/>
                <a:gd name="connsiteY10" fmla="*/ 10142 h 15707"/>
                <a:gd name="connsiteX11" fmla="*/ 9411 w 10115"/>
                <a:gd name="connsiteY11" fmla="*/ 3196 h 15707"/>
                <a:gd name="connsiteX12" fmla="*/ 7512 w 10115"/>
                <a:gd name="connsiteY12" fmla="*/ 7519 h 15707"/>
                <a:gd name="connsiteX13" fmla="*/ 7865 w 10115"/>
                <a:gd name="connsiteY13" fmla="*/ 8319 h 15707"/>
                <a:gd name="connsiteX14" fmla="*/ 7141 w 10115"/>
                <a:gd name="connsiteY14" fmla="*/ 5261 h 15707"/>
                <a:gd name="connsiteX15" fmla="*/ 6764 w 10115"/>
                <a:gd name="connsiteY15" fmla="*/ 1806 h 15707"/>
                <a:gd name="connsiteX16" fmla="*/ 5649 w 10115"/>
                <a:gd name="connsiteY16" fmla="*/ 4011 h 15707"/>
                <a:gd name="connsiteX17" fmla="*/ 4705 w 10115"/>
                <a:gd name="connsiteY17" fmla="*/ 1111 h 15707"/>
                <a:gd name="connsiteX18" fmla="*/ 3529 w 10115"/>
                <a:gd name="connsiteY18" fmla="*/ 1111 h 15707"/>
                <a:gd name="connsiteX19" fmla="*/ 2352 w 10115"/>
                <a:gd name="connsiteY19" fmla="*/ 0 h 15707"/>
                <a:gd name="connsiteX20" fmla="*/ 2941 w 10115"/>
                <a:gd name="connsiteY20" fmla="*/ 5281 h 15707"/>
                <a:gd name="connsiteX21" fmla="*/ 1764 w 10115"/>
                <a:gd name="connsiteY21" fmla="*/ 5281 h 15707"/>
                <a:gd name="connsiteX22" fmla="*/ 1176 w 10115"/>
                <a:gd name="connsiteY22" fmla="*/ 3891 h 15707"/>
                <a:gd name="connsiteX23" fmla="*/ 882 w 10115"/>
                <a:gd name="connsiteY23" fmla="*/ 5976 h 15707"/>
                <a:gd name="connsiteX24" fmla="*/ 0 w 10115"/>
                <a:gd name="connsiteY24" fmla="*/ 5976 h 15707"/>
                <a:gd name="connsiteX0" fmla="*/ 918 w 9233"/>
                <a:gd name="connsiteY0" fmla="*/ 8769 h 15707"/>
                <a:gd name="connsiteX1" fmla="*/ 1672 w 9233"/>
                <a:gd name="connsiteY1" fmla="*/ 13317 h 15707"/>
                <a:gd name="connsiteX2" fmla="*/ 1355 w 9233"/>
                <a:gd name="connsiteY2" fmla="*/ 13475 h 15707"/>
                <a:gd name="connsiteX3" fmla="*/ 1176 w 9233"/>
                <a:gd name="connsiteY3" fmla="*/ 15707 h 15707"/>
                <a:gd name="connsiteX4" fmla="*/ 2647 w 9233"/>
                <a:gd name="connsiteY4" fmla="*/ 15707 h 15707"/>
                <a:gd name="connsiteX5" fmla="*/ 2941 w 9233"/>
                <a:gd name="connsiteY5" fmla="*/ 12927 h 15707"/>
                <a:gd name="connsiteX6" fmla="*/ 4706 w 9233"/>
                <a:gd name="connsiteY6" fmla="*/ 13622 h 15707"/>
                <a:gd name="connsiteX7" fmla="*/ 5882 w 9233"/>
                <a:gd name="connsiteY7" fmla="*/ 12927 h 15707"/>
                <a:gd name="connsiteX8" fmla="*/ 6765 w 9233"/>
                <a:gd name="connsiteY8" fmla="*/ 10147 h 15707"/>
                <a:gd name="connsiteX9" fmla="*/ 8397 w 9233"/>
                <a:gd name="connsiteY9" fmla="*/ 12364 h 15707"/>
                <a:gd name="connsiteX10" fmla="*/ 9233 w 9233"/>
                <a:gd name="connsiteY10" fmla="*/ 10142 h 15707"/>
                <a:gd name="connsiteX11" fmla="*/ 8529 w 9233"/>
                <a:gd name="connsiteY11" fmla="*/ 3196 h 15707"/>
                <a:gd name="connsiteX12" fmla="*/ 6630 w 9233"/>
                <a:gd name="connsiteY12" fmla="*/ 7519 h 15707"/>
                <a:gd name="connsiteX13" fmla="*/ 6983 w 9233"/>
                <a:gd name="connsiteY13" fmla="*/ 8319 h 15707"/>
                <a:gd name="connsiteX14" fmla="*/ 6259 w 9233"/>
                <a:gd name="connsiteY14" fmla="*/ 5261 h 15707"/>
                <a:gd name="connsiteX15" fmla="*/ 5882 w 9233"/>
                <a:gd name="connsiteY15" fmla="*/ 1806 h 15707"/>
                <a:gd name="connsiteX16" fmla="*/ 4767 w 9233"/>
                <a:gd name="connsiteY16" fmla="*/ 4011 h 15707"/>
                <a:gd name="connsiteX17" fmla="*/ 3823 w 9233"/>
                <a:gd name="connsiteY17" fmla="*/ 1111 h 15707"/>
                <a:gd name="connsiteX18" fmla="*/ 2647 w 9233"/>
                <a:gd name="connsiteY18" fmla="*/ 1111 h 15707"/>
                <a:gd name="connsiteX19" fmla="*/ 1470 w 9233"/>
                <a:gd name="connsiteY19" fmla="*/ 0 h 15707"/>
                <a:gd name="connsiteX20" fmla="*/ 2059 w 9233"/>
                <a:gd name="connsiteY20" fmla="*/ 5281 h 15707"/>
                <a:gd name="connsiteX21" fmla="*/ 882 w 9233"/>
                <a:gd name="connsiteY21" fmla="*/ 5281 h 15707"/>
                <a:gd name="connsiteX22" fmla="*/ 294 w 9233"/>
                <a:gd name="connsiteY22" fmla="*/ 3891 h 15707"/>
                <a:gd name="connsiteX23" fmla="*/ 0 w 9233"/>
                <a:gd name="connsiteY23" fmla="*/ 5976 h 15707"/>
                <a:gd name="connsiteX24" fmla="*/ 918 w 9233"/>
                <a:gd name="connsiteY24" fmla="*/ 8769 h 15707"/>
                <a:gd name="connsiteX0" fmla="*/ 994 w 10000"/>
                <a:gd name="connsiteY0" fmla="*/ 5080 h 9497"/>
                <a:gd name="connsiteX1" fmla="*/ 1811 w 10000"/>
                <a:gd name="connsiteY1" fmla="*/ 7975 h 9497"/>
                <a:gd name="connsiteX2" fmla="*/ 1468 w 10000"/>
                <a:gd name="connsiteY2" fmla="*/ 8076 h 9497"/>
                <a:gd name="connsiteX3" fmla="*/ 1274 w 10000"/>
                <a:gd name="connsiteY3" fmla="*/ 9497 h 9497"/>
                <a:gd name="connsiteX4" fmla="*/ 2867 w 10000"/>
                <a:gd name="connsiteY4" fmla="*/ 9497 h 9497"/>
                <a:gd name="connsiteX5" fmla="*/ 3185 w 10000"/>
                <a:gd name="connsiteY5" fmla="*/ 7727 h 9497"/>
                <a:gd name="connsiteX6" fmla="*/ 5097 w 10000"/>
                <a:gd name="connsiteY6" fmla="*/ 8170 h 9497"/>
                <a:gd name="connsiteX7" fmla="*/ 6371 w 10000"/>
                <a:gd name="connsiteY7" fmla="*/ 7727 h 9497"/>
                <a:gd name="connsiteX8" fmla="*/ 7327 w 10000"/>
                <a:gd name="connsiteY8" fmla="*/ 5957 h 9497"/>
                <a:gd name="connsiteX9" fmla="*/ 9095 w 10000"/>
                <a:gd name="connsiteY9" fmla="*/ 7369 h 9497"/>
                <a:gd name="connsiteX10" fmla="*/ 10000 w 10000"/>
                <a:gd name="connsiteY10" fmla="*/ 5954 h 9497"/>
                <a:gd name="connsiteX11" fmla="*/ 9238 w 10000"/>
                <a:gd name="connsiteY11" fmla="*/ 1532 h 9497"/>
                <a:gd name="connsiteX12" fmla="*/ 7181 w 10000"/>
                <a:gd name="connsiteY12" fmla="*/ 4284 h 9497"/>
                <a:gd name="connsiteX13" fmla="*/ 7563 w 10000"/>
                <a:gd name="connsiteY13" fmla="*/ 4793 h 9497"/>
                <a:gd name="connsiteX14" fmla="*/ 6779 w 10000"/>
                <a:gd name="connsiteY14" fmla="*/ 2846 h 9497"/>
                <a:gd name="connsiteX15" fmla="*/ 6371 w 10000"/>
                <a:gd name="connsiteY15" fmla="*/ 647 h 9497"/>
                <a:gd name="connsiteX16" fmla="*/ 5163 w 10000"/>
                <a:gd name="connsiteY16" fmla="*/ 2051 h 9497"/>
                <a:gd name="connsiteX17" fmla="*/ 4141 w 10000"/>
                <a:gd name="connsiteY17" fmla="*/ 204 h 9497"/>
                <a:gd name="connsiteX18" fmla="*/ 2867 w 10000"/>
                <a:gd name="connsiteY18" fmla="*/ 204 h 9497"/>
                <a:gd name="connsiteX19" fmla="*/ 2347 w 10000"/>
                <a:gd name="connsiteY19" fmla="*/ 2200 h 9497"/>
                <a:gd name="connsiteX20" fmla="*/ 2230 w 10000"/>
                <a:gd name="connsiteY20" fmla="*/ 2859 h 9497"/>
                <a:gd name="connsiteX21" fmla="*/ 955 w 10000"/>
                <a:gd name="connsiteY21" fmla="*/ 2859 h 9497"/>
                <a:gd name="connsiteX22" fmla="*/ 318 w 10000"/>
                <a:gd name="connsiteY22" fmla="*/ 1974 h 9497"/>
                <a:gd name="connsiteX23" fmla="*/ 0 w 10000"/>
                <a:gd name="connsiteY23" fmla="*/ 3302 h 9497"/>
                <a:gd name="connsiteX24" fmla="*/ 994 w 10000"/>
                <a:gd name="connsiteY24" fmla="*/ 5080 h 9497"/>
                <a:gd name="connsiteX0" fmla="*/ 994 w 10000"/>
                <a:gd name="connsiteY0" fmla="*/ 5349 h 10000"/>
                <a:gd name="connsiteX1" fmla="*/ 1811 w 10000"/>
                <a:gd name="connsiteY1" fmla="*/ 8397 h 10000"/>
                <a:gd name="connsiteX2" fmla="*/ 1468 w 10000"/>
                <a:gd name="connsiteY2" fmla="*/ 8504 h 10000"/>
                <a:gd name="connsiteX3" fmla="*/ 1274 w 10000"/>
                <a:gd name="connsiteY3" fmla="*/ 10000 h 10000"/>
                <a:gd name="connsiteX4" fmla="*/ 2867 w 10000"/>
                <a:gd name="connsiteY4" fmla="*/ 10000 h 10000"/>
                <a:gd name="connsiteX5" fmla="*/ 3185 w 10000"/>
                <a:gd name="connsiteY5" fmla="*/ 8136 h 10000"/>
                <a:gd name="connsiteX6" fmla="*/ 5097 w 10000"/>
                <a:gd name="connsiteY6" fmla="*/ 8603 h 10000"/>
                <a:gd name="connsiteX7" fmla="*/ 6371 w 10000"/>
                <a:gd name="connsiteY7" fmla="*/ 8136 h 10000"/>
                <a:gd name="connsiteX8" fmla="*/ 7327 w 10000"/>
                <a:gd name="connsiteY8" fmla="*/ 6273 h 10000"/>
                <a:gd name="connsiteX9" fmla="*/ 9095 w 10000"/>
                <a:gd name="connsiteY9" fmla="*/ 7759 h 10000"/>
                <a:gd name="connsiteX10" fmla="*/ 10000 w 10000"/>
                <a:gd name="connsiteY10" fmla="*/ 6269 h 10000"/>
                <a:gd name="connsiteX11" fmla="*/ 9238 w 10000"/>
                <a:gd name="connsiteY11" fmla="*/ 1613 h 10000"/>
                <a:gd name="connsiteX12" fmla="*/ 7181 w 10000"/>
                <a:gd name="connsiteY12" fmla="*/ 4511 h 10000"/>
                <a:gd name="connsiteX13" fmla="*/ 7563 w 10000"/>
                <a:gd name="connsiteY13" fmla="*/ 5047 h 10000"/>
                <a:gd name="connsiteX14" fmla="*/ 6779 w 10000"/>
                <a:gd name="connsiteY14" fmla="*/ 2997 h 10000"/>
                <a:gd name="connsiteX15" fmla="*/ 6371 w 10000"/>
                <a:gd name="connsiteY15" fmla="*/ 681 h 10000"/>
                <a:gd name="connsiteX16" fmla="*/ 5163 w 10000"/>
                <a:gd name="connsiteY16" fmla="*/ 2160 h 10000"/>
                <a:gd name="connsiteX17" fmla="*/ 4141 w 10000"/>
                <a:gd name="connsiteY17" fmla="*/ 215 h 10000"/>
                <a:gd name="connsiteX18" fmla="*/ 2867 w 10000"/>
                <a:gd name="connsiteY18" fmla="*/ 215 h 10000"/>
                <a:gd name="connsiteX19" fmla="*/ 2347 w 10000"/>
                <a:gd name="connsiteY19" fmla="*/ 2317 h 10000"/>
                <a:gd name="connsiteX20" fmla="*/ 2230 w 10000"/>
                <a:gd name="connsiteY20" fmla="*/ 3010 h 10000"/>
                <a:gd name="connsiteX21" fmla="*/ 955 w 10000"/>
                <a:gd name="connsiteY21" fmla="*/ 3010 h 10000"/>
                <a:gd name="connsiteX22" fmla="*/ 1237 w 10000"/>
                <a:gd name="connsiteY22" fmla="*/ 3729 h 10000"/>
                <a:gd name="connsiteX23" fmla="*/ 0 w 10000"/>
                <a:gd name="connsiteY23" fmla="*/ 3477 h 10000"/>
                <a:gd name="connsiteX24" fmla="*/ 994 w 10000"/>
                <a:gd name="connsiteY24" fmla="*/ 5349 h 10000"/>
                <a:gd name="connsiteX0" fmla="*/ 76 w 9082"/>
                <a:gd name="connsiteY0" fmla="*/ 5349 h 10000"/>
                <a:gd name="connsiteX1" fmla="*/ 893 w 9082"/>
                <a:gd name="connsiteY1" fmla="*/ 8397 h 10000"/>
                <a:gd name="connsiteX2" fmla="*/ 550 w 9082"/>
                <a:gd name="connsiteY2" fmla="*/ 8504 h 10000"/>
                <a:gd name="connsiteX3" fmla="*/ 356 w 9082"/>
                <a:gd name="connsiteY3" fmla="*/ 10000 h 10000"/>
                <a:gd name="connsiteX4" fmla="*/ 1949 w 9082"/>
                <a:gd name="connsiteY4" fmla="*/ 10000 h 10000"/>
                <a:gd name="connsiteX5" fmla="*/ 2267 w 9082"/>
                <a:gd name="connsiteY5" fmla="*/ 8136 h 10000"/>
                <a:gd name="connsiteX6" fmla="*/ 4179 w 9082"/>
                <a:gd name="connsiteY6" fmla="*/ 8603 h 10000"/>
                <a:gd name="connsiteX7" fmla="*/ 5453 w 9082"/>
                <a:gd name="connsiteY7" fmla="*/ 8136 h 10000"/>
                <a:gd name="connsiteX8" fmla="*/ 6409 w 9082"/>
                <a:gd name="connsiteY8" fmla="*/ 6273 h 10000"/>
                <a:gd name="connsiteX9" fmla="*/ 8177 w 9082"/>
                <a:gd name="connsiteY9" fmla="*/ 7759 h 10000"/>
                <a:gd name="connsiteX10" fmla="*/ 9082 w 9082"/>
                <a:gd name="connsiteY10" fmla="*/ 6269 h 10000"/>
                <a:gd name="connsiteX11" fmla="*/ 8320 w 9082"/>
                <a:gd name="connsiteY11" fmla="*/ 1613 h 10000"/>
                <a:gd name="connsiteX12" fmla="*/ 6263 w 9082"/>
                <a:gd name="connsiteY12" fmla="*/ 4511 h 10000"/>
                <a:gd name="connsiteX13" fmla="*/ 6645 w 9082"/>
                <a:gd name="connsiteY13" fmla="*/ 5047 h 10000"/>
                <a:gd name="connsiteX14" fmla="*/ 5861 w 9082"/>
                <a:gd name="connsiteY14" fmla="*/ 2997 h 10000"/>
                <a:gd name="connsiteX15" fmla="*/ 5453 w 9082"/>
                <a:gd name="connsiteY15" fmla="*/ 681 h 10000"/>
                <a:gd name="connsiteX16" fmla="*/ 4245 w 9082"/>
                <a:gd name="connsiteY16" fmla="*/ 2160 h 10000"/>
                <a:gd name="connsiteX17" fmla="*/ 3223 w 9082"/>
                <a:gd name="connsiteY17" fmla="*/ 215 h 10000"/>
                <a:gd name="connsiteX18" fmla="*/ 1949 w 9082"/>
                <a:gd name="connsiteY18" fmla="*/ 215 h 10000"/>
                <a:gd name="connsiteX19" fmla="*/ 1429 w 9082"/>
                <a:gd name="connsiteY19" fmla="*/ 2317 h 10000"/>
                <a:gd name="connsiteX20" fmla="*/ 1312 w 9082"/>
                <a:gd name="connsiteY20" fmla="*/ 3010 h 10000"/>
                <a:gd name="connsiteX21" fmla="*/ 37 w 9082"/>
                <a:gd name="connsiteY21" fmla="*/ 3010 h 10000"/>
                <a:gd name="connsiteX22" fmla="*/ 319 w 9082"/>
                <a:gd name="connsiteY22" fmla="*/ 3729 h 10000"/>
                <a:gd name="connsiteX23" fmla="*/ 310 w 9082"/>
                <a:gd name="connsiteY23" fmla="*/ 5046 h 10000"/>
                <a:gd name="connsiteX24" fmla="*/ 76 w 9082"/>
                <a:gd name="connsiteY24" fmla="*/ 5349 h 10000"/>
                <a:gd name="connsiteX0" fmla="*/ 84 w 10000"/>
                <a:gd name="connsiteY0" fmla="*/ 5349 h 10000"/>
                <a:gd name="connsiteX1" fmla="*/ 983 w 10000"/>
                <a:gd name="connsiteY1" fmla="*/ 8397 h 10000"/>
                <a:gd name="connsiteX2" fmla="*/ 606 w 10000"/>
                <a:gd name="connsiteY2" fmla="*/ 8504 h 10000"/>
                <a:gd name="connsiteX3" fmla="*/ 392 w 10000"/>
                <a:gd name="connsiteY3" fmla="*/ 10000 h 10000"/>
                <a:gd name="connsiteX4" fmla="*/ 2146 w 10000"/>
                <a:gd name="connsiteY4" fmla="*/ 10000 h 10000"/>
                <a:gd name="connsiteX5" fmla="*/ 2496 w 10000"/>
                <a:gd name="connsiteY5" fmla="*/ 8136 h 10000"/>
                <a:gd name="connsiteX6" fmla="*/ 4601 w 10000"/>
                <a:gd name="connsiteY6" fmla="*/ 8603 h 10000"/>
                <a:gd name="connsiteX7" fmla="*/ 6004 w 10000"/>
                <a:gd name="connsiteY7" fmla="*/ 8136 h 10000"/>
                <a:gd name="connsiteX8" fmla="*/ 7057 w 10000"/>
                <a:gd name="connsiteY8" fmla="*/ 6273 h 10000"/>
                <a:gd name="connsiteX9" fmla="*/ 9004 w 10000"/>
                <a:gd name="connsiteY9" fmla="*/ 7759 h 10000"/>
                <a:gd name="connsiteX10" fmla="*/ 10000 w 10000"/>
                <a:gd name="connsiteY10" fmla="*/ 6269 h 10000"/>
                <a:gd name="connsiteX11" fmla="*/ 9161 w 10000"/>
                <a:gd name="connsiteY11" fmla="*/ 1613 h 10000"/>
                <a:gd name="connsiteX12" fmla="*/ 6896 w 10000"/>
                <a:gd name="connsiteY12" fmla="*/ 4511 h 10000"/>
                <a:gd name="connsiteX13" fmla="*/ 7317 w 10000"/>
                <a:gd name="connsiteY13" fmla="*/ 5047 h 10000"/>
                <a:gd name="connsiteX14" fmla="*/ 5683 w 10000"/>
                <a:gd name="connsiteY14" fmla="*/ 3757 h 10000"/>
                <a:gd name="connsiteX15" fmla="*/ 6004 w 10000"/>
                <a:gd name="connsiteY15" fmla="*/ 681 h 10000"/>
                <a:gd name="connsiteX16" fmla="*/ 4674 w 10000"/>
                <a:gd name="connsiteY16" fmla="*/ 2160 h 10000"/>
                <a:gd name="connsiteX17" fmla="*/ 3549 w 10000"/>
                <a:gd name="connsiteY17" fmla="*/ 215 h 10000"/>
                <a:gd name="connsiteX18" fmla="*/ 2146 w 10000"/>
                <a:gd name="connsiteY18" fmla="*/ 215 h 10000"/>
                <a:gd name="connsiteX19" fmla="*/ 1573 w 10000"/>
                <a:gd name="connsiteY19" fmla="*/ 2317 h 10000"/>
                <a:gd name="connsiteX20" fmla="*/ 1445 w 10000"/>
                <a:gd name="connsiteY20" fmla="*/ 3010 h 10000"/>
                <a:gd name="connsiteX21" fmla="*/ 41 w 10000"/>
                <a:gd name="connsiteY21" fmla="*/ 3010 h 10000"/>
                <a:gd name="connsiteX22" fmla="*/ 351 w 10000"/>
                <a:gd name="connsiteY22" fmla="*/ 3729 h 10000"/>
                <a:gd name="connsiteX23" fmla="*/ 341 w 10000"/>
                <a:gd name="connsiteY23" fmla="*/ 5046 h 10000"/>
                <a:gd name="connsiteX24" fmla="*/ 84 w 10000"/>
                <a:gd name="connsiteY24" fmla="*/ 5349 h 10000"/>
                <a:gd name="connsiteX0" fmla="*/ 84 w 10000"/>
                <a:gd name="connsiteY0" fmla="*/ 5349 h 10000"/>
                <a:gd name="connsiteX1" fmla="*/ 983 w 10000"/>
                <a:gd name="connsiteY1" fmla="*/ 8397 h 10000"/>
                <a:gd name="connsiteX2" fmla="*/ 606 w 10000"/>
                <a:gd name="connsiteY2" fmla="*/ 8504 h 10000"/>
                <a:gd name="connsiteX3" fmla="*/ 392 w 10000"/>
                <a:gd name="connsiteY3" fmla="*/ 10000 h 10000"/>
                <a:gd name="connsiteX4" fmla="*/ 2146 w 10000"/>
                <a:gd name="connsiteY4" fmla="*/ 10000 h 10000"/>
                <a:gd name="connsiteX5" fmla="*/ 2496 w 10000"/>
                <a:gd name="connsiteY5" fmla="*/ 8136 h 10000"/>
                <a:gd name="connsiteX6" fmla="*/ 4601 w 10000"/>
                <a:gd name="connsiteY6" fmla="*/ 8603 h 10000"/>
                <a:gd name="connsiteX7" fmla="*/ 6004 w 10000"/>
                <a:gd name="connsiteY7" fmla="*/ 8136 h 10000"/>
                <a:gd name="connsiteX8" fmla="*/ 7057 w 10000"/>
                <a:gd name="connsiteY8" fmla="*/ 6273 h 10000"/>
                <a:gd name="connsiteX9" fmla="*/ 9004 w 10000"/>
                <a:gd name="connsiteY9" fmla="*/ 7759 h 10000"/>
                <a:gd name="connsiteX10" fmla="*/ 10000 w 10000"/>
                <a:gd name="connsiteY10" fmla="*/ 6269 h 10000"/>
                <a:gd name="connsiteX11" fmla="*/ 9161 w 10000"/>
                <a:gd name="connsiteY11" fmla="*/ 1613 h 10000"/>
                <a:gd name="connsiteX12" fmla="*/ 6896 w 10000"/>
                <a:gd name="connsiteY12" fmla="*/ 4511 h 10000"/>
                <a:gd name="connsiteX13" fmla="*/ 7317 w 10000"/>
                <a:gd name="connsiteY13" fmla="*/ 5047 h 10000"/>
                <a:gd name="connsiteX14" fmla="*/ 5683 w 10000"/>
                <a:gd name="connsiteY14" fmla="*/ 3757 h 10000"/>
                <a:gd name="connsiteX15" fmla="*/ 5128 w 10000"/>
                <a:gd name="connsiteY15" fmla="*/ 2454 h 10000"/>
                <a:gd name="connsiteX16" fmla="*/ 4674 w 10000"/>
                <a:gd name="connsiteY16" fmla="*/ 2160 h 10000"/>
                <a:gd name="connsiteX17" fmla="*/ 3549 w 10000"/>
                <a:gd name="connsiteY17" fmla="*/ 215 h 10000"/>
                <a:gd name="connsiteX18" fmla="*/ 2146 w 10000"/>
                <a:gd name="connsiteY18" fmla="*/ 215 h 10000"/>
                <a:gd name="connsiteX19" fmla="*/ 1573 w 10000"/>
                <a:gd name="connsiteY19" fmla="*/ 2317 h 10000"/>
                <a:gd name="connsiteX20" fmla="*/ 1445 w 10000"/>
                <a:gd name="connsiteY20" fmla="*/ 3010 h 10000"/>
                <a:gd name="connsiteX21" fmla="*/ 41 w 10000"/>
                <a:gd name="connsiteY21" fmla="*/ 3010 h 10000"/>
                <a:gd name="connsiteX22" fmla="*/ 351 w 10000"/>
                <a:gd name="connsiteY22" fmla="*/ 3729 h 10000"/>
                <a:gd name="connsiteX23" fmla="*/ 341 w 10000"/>
                <a:gd name="connsiteY23" fmla="*/ 5046 h 10000"/>
                <a:gd name="connsiteX24" fmla="*/ 84 w 10000"/>
                <a:gd name="connsiteY24" fmla="*/ 5349 h 10000"/>
                <a:gd name="connsiteX0" fmla="*/ 84 w 10000"/>
                <a:gd name="connsiteY0" fmla="*/ 5349 h 10000"/>
                <a:gd name="connsiteX1" fmla="*/ 983 w 10000"/>
                <a:gd name="connsiteY1" fmla="*/ 8397 h 10000"/>
                <a:gd name="connsiteX2" fmla="*/ 606 w 10000"/>
                <a:gd name="connsiteY2" fmla="*/ 8504 h 10000"/>
                <a:gd name="connsiteX3" fmla="*/ 392 w 10000"/>
                <a:gd name="connsiteY3" fmla="*/ 10000 h 10000"/>
                <a:gd name="connsiteX4" fmla="*/ 2146 w 10000"/>
                <a:gd name="connsiteY4" fmla="*/ 10000 h 10000"/>
                <a:gd name="connsiteX5" fmla="*/ 2496 w 10000"/>
                <a:gd name="connsiteY5" fmla="*/ 8136 h 10000"/>
                <a:gd name="connsiteX6" fmla="*/ 4601 w 10000"/>
                <a:gd name="connsiteY6" fmla="*/ 8603 h 10000"/>
                <a:gd name="connsiteX7" fmla="*/ 6004 w 10000"/>
                <a:gd name="connsiteY7" fmla="*/ 8136 h 10000"/>
                <a:gd name="connsiteX8" fmla="*/ 7057 w 10000"/>
                <a:gd name="connsiteY8" fmla="*/ 6273 h 10000"/>
                <a:gd name="connsiteX9" fmla="*/ 9004 w 10000"/>
                <a:gd name="connsiteY9" fmla="*/ 7759 h 10000"/>
                <a:gd name="connsiteX10" fmla="*/ 10000 w 10000"/>
                <a:gd name="connsiteY10" fmla="*/ 6269 h 10000"/>
                <a:gd name="connsiteX11" fmla="*/ 9161 w 10000"/>
                <a:gd name="connsiteY11" fmla="*/ 1613 h 10000"/>
                <a:gd name="connsiteX12" fmla="*/ 6896 w 10000"/>
                <a:gd name="connsiteY12" fmla="*/ 4511 h 10000"/>
                <a:gd name="connsiteX13" fmla="*/ 7317 w 10000"/>
                <a:gd name="connsiteY13" fmla="*/ 5047 h 10000"/>
                <a:gd name="connsiteX14" fmla="*/ 5683 w 10000"/>
                <a:gd name="connsiteY14" fmla="*/ 3757 h 10000"/>
                <a:gd name="connsiteX15" fmla="*/ 5128 w 10000"/>
                <a:gd name="connsiteY15" fmla="*/ 2454 h 10000"/>
                <a:gd name="connsiteX16" fmla="*/ 5062 w 10000"/>
                <a:gd name="connsiteY16" fmla="*/ 833 h 10000"/>
                <a:gd name="connsiteX17" fmla="*/ 3549 w 10000"/>
                <a:gd name="connsiteY17" fmla="*/ 215 h 10000"/>
                <a:gd name="connsiteX18" fmla="*/ 2146 w 10000"/>
                <a:gd name="connsiteY18" fmla="*/ 215 h 10000"/>
                <a:gd name="connsiteX19" fmla="*/ 1573 w 10000"/>
                <a:gd name="connsiteY19" fmla="*/ 2317 h 10000"/>
                <a:gd name="connsiteX20" fmla="*/ 1445 w 10000"/>
                <a:gd name="connsiteY20" fmla="*/ 3010 h 10000"/>
                <a:gd name="connsiteX21" fmla="*/ 41 w 10000"/>
                <a:gd name="connsiteY21" fmla="*/ 3010 h 10000"/>
                <a:gd name="connsiteX22" fmla="*/ 351 w 10000"/>
                <a:gd name="connsiteY22" fmla="*/ 3729 h 10000"/>
                <a:gd name="connsiteX23" fmla="*/ 341 w 10000"/>
                <a:gd name="connsiteY23" fmla="*/ 5046 h 10000"/>
                <a:gd name="connsiteX24" fmla="*/ 84 w 10000"/>
                <a:gd name="connsiteY24" fmla="*/ 5349 h 10000"/>
                <a:gd name="connsiteX0" fmla="*/ 84 w 10000"/>
                <a:gd name="connsiteY0" fmla="*/ 5349 h 10000"/>
                <a:gd name="connsiteX1" fmla="*/ 983 w 10000"/>
                <a:gd name="connsiteY1" fmla="*/ 8397 h 10000"/>
                <a:gd name="connsiteX2" fmla="*/ 606 w 10000"/>
                <a:gd name="connsiteY2" fmla="*/ 8504 h 10000"/>
                <a:gd name="connsiteX3" fmla="*/ 1061 w 10000"/>
                <a:gd name="connsiteY3" fmla="*/ 8358 h 10000"/>
                <a:gd name="connsiteX4" fmla="*/ 2146 w 10000"/>
                <a:gd name="connsiteY4" fmla="*/ 10000 h 10000"/>
                <a:gd name="connsiteX5" fmla="*/ 2496 w 10000"/>
                <a:gd name="connsiteY5" fmla="*/ 8136 h 10000"/>
                <a:gd name="connsiteX6" fmla="*/ 4601 w 10000"/>
                <a:gd name="connsiteY6" fmla="*/ 8603 h 10000"/>
                <a:gd name="connsiteX7" fmla="*/ 6004 w 10000"/>
                <a:gd name="connsiteY7" fmla="*/ 8136 h 10000"/>
                <a:gd name="connsiteX8" fmla="*/ 7057 w 10000"/>
                <a:gd name="connsiteY8" fmla="*/ 6273 h 10000"/>
                <a:gd name="connsiteX9" fmla="*/ 9004 w 10000"/>
                <a:gd name="connsiteY9" fmla="*/ 7759 h 10000"/>
                <a:gd name="connsiteX10" fmla="*/ 10000 w 10000"/>
                <a:gd name="connsiteY10" fmla="*/ 6269 h 10000"/>
                <a:gd name="connsiteX11" fmla="*/ 9161 w 10000"/>
                <a:gd name="connsiteY11" fmla="*/ 1613 h 10000"/>
                <a:gd name="connsiteX12" fmla="*/ 6896 w 10000"/>
                <a:gd name="connsiteY12" fmla="*/ 4511 h 10000"/>
                <a:gd name="connsiteX13" fmla="*/ 7317 w 10000"/>
                <a:gd name="connsiteY13" fmla="*/ 5047 h 10000"/>
                <a:gd name="connsiteX14" fmla="*/ 5683 w 10000"/>
                <a:gd name="connsiteY14" fmla="*/ 3757 h 10000"/>
                <a:gd name="connsiteX15" fmla="*/ 5128 w 10000"/>
                <a:gd name="connsiteY15" fmla="*/ 2454 h 10000"/>
                <a:gd name="connsiteX16" fmla="*/ 5062 w 10000"/>
                <a:gd name="connsiteY16" fmla="*/ 833 h 10000"/>
                <a:gd name="connsiteX17" fmla="*/ 3549 w 10000"/>
                <a:gd name="connsiteY17" fmla="*/ 215 h 10000"/>
                <a:gd name="connsiteX18" fmla="*/ 2146 w 10000"/>
                <a:gd name="connsiteY18" fmla="*/ 215 h 10000"/>
                <a:gd name="connsiteX19" fmla="*/ 1573 w 10000"/>
                <a:gd name="connsiteY19" fmla="*/ 2317 h 10000"/>
                <a:gd name="connsiteX20" fmla="*/ 1445 w 10000"/>
                <a:gd name="connsiteY20" fmla="*/ 3010 h 10000"/>
                <a:gd name="connsiteX21" fmla="*/ 41 w 10000"/>
                <a:gd name="connsiteY21" fmla="*/ 3010 h 10000"/>
                <a:gd name="connsiteX22" fmla="*/ 351 w 10000"/>
                <a:gd name="connsiteY22" fmla="*/ 3729 h 10000"/>
                <a:gd name="connsiteX23" fmla="*/ 341 w 10000"/>
                <a:gd name="connsiteY23" fmla="*/ 5046 h 10000"/>
                <a:gd name="connsiteX24" fmla="*/ 84 w 10000"/>
                <a:gd name="connsiteY24" fmla="*/ 5349 h 10000"/>
                <a:gd name="connsiteX0" fmla="*/ 84 w 10000"/>
                <a:gd name="connsiteY0" fmla="*/ 5349 h 8633"/>
                <a:gd name="connsiteX1" fmla="*/ 983 w 10000"/>
                <a:gd name="connsiteY1" fmla="*/ 8397 h 8633"/>
                <a:gd name="connsiteX2" fmla="*/ 606 w 10000"/>
                <a:gd name="connsiteY2" fmla="*/ 8504 h 8633"/>
                <a:gd name="connsiteX3" fmla="*/ 1061 w 10000"/>
                <a:gd name="connsiteY3" fmla="*/ 8358 h 8633"/>
                <a:gd name="connsiteX4" fmla="*/ 2401 w 10000"/>
                <a:gd name="connsiteY4" fmla="*/ 8622 h 8633"/>
                <a:gd name="connsiteX5" fmla="*/ 2496 w 10000"/>
                <a:gd name="connsiteY5" fmla="*/ 8136 h 8633"/>
                <a:gd name="connsiteX6" fmla="*/ 4601 w 10000"/>
                <a:gd name="connsiteY6" fmla="*/ 8603 h 8633"/>
                <a:gd name="connsiteX7" fmla="*/ 6004 w 10000"/>
                <a:gd name="connsiteY7" fmla="*/ 8136 h 8633"/>
                <a:gd name="connsiteX8" fmla="*/ 7057 w 10000"/>
                <a:gd name="connsiteY8" fmla="*/ 6273 h 8633"/>
                <a:gd name="connsiteX9" fmla="*/ 9004 w 10000"/>
                <a:gd name="connsiteY9" fmla="*/ 7759 h 8633"/>
                <a:gd name="connsiteX10" fmla="*/ 10000 w 10000"/>
                <a:gd name="connsiteY10" fmla="*/ 6269 h 8633"/>
                <a:gd name="connsiteX11" fmla="*/ 9161 w 10000"/>
                <a:gd name="connsiteY11" fmla="*/ 1613 h 8633"/>
                <a:gd name="connsiteX12" fmla="*/ 6896 w 10000"/>
                <a:gd name="connsiteY12" fmla="*/ 4511 h 8633"/>
                <a:gd name="connsiteX13" fmla="*/ 7317 w 10000"/>
                <a:gd name="connsiteY13" fmla="*/ 5047 h 8633"/>
                <a:gd name="connsiteX14" fmla="*/ 5683 w 10000"/>
                <a:gd name="connsiteY14" fmla="*/ 3757 h 8633"/>
                <a:gd name="connsiteX15" fmla="*/ 5128 w 10000"/>
                <a:gd name="connsiteY15" fmla="*/ 2454 h 8633"/>
                <a:gd name="connsiteX16" fmla="*/ 5062 w 10000"/>
                <a:gd name="connsiteY16" fmla="*/ 833 h 8633"/>
                <a:gd name="connsiteX17" fmla="*/ 3549 w 10000"/>
                <a:gd name="connsiteY17" fmla="*/ 215 h 8633"/>
                <a:gd name="connsiteX18" fmla="*/ 2146 w 10000"/>
                <a:gd name="connsiteY18" fmla="*/ 215 h 8633"/>
                <a:gd name="connsiteX19" fmla="*/ 1573 w 10000"/>
                <a:gd name="connsiteY19" fmla="*/ 2317 h 8633"/>
                <a:gd name="connsiteX20" fmla="*/ 1445 w 10000"/>
                <a:gd name="connsiteY20" fmla="*/ 3010 h 8633"/>
                <a:gd name="connsiteX21" fmla="*/ 41 w 10000"/>
                <a:gd name="connsiteY21" fmla="*/ 3010 h 8633"/>
                <a:gd name="connsiteX22" fmla="*/ 351 w 10000"/>
                <a:gd name="connsiteY22" fmla="*/ 3729 h 8633"/>
                <a:gd name="connsiteX23" fmla="*/ 341 w 10000"/>
                <a:gd name="connsiteY23" fmla="*/ 5046 h 8633"/>
                <a:gd name="connsiteX24" fmla="*/ 84 w 10000"/>
                <a:gd name="connsiteY24" fmla="*/ 5349 h 8633"/>
                <a:gd name="connsiteX0" fmla="*/ 59 w 9975"/>
                <a:gd name="connsiteY0" fmla="*/ 6196 h 10000"/>
                <a:gd name="connsiteX1" fmla="*/ 958 w 9975"/>
                <a:gd name="connsiteY1" fmla="*/ 9727 h 10000"/>
                <a:gd name="connsiteX2" fmla="*/ 581 w 9975"/>
                <a:gd name="connsiteY2" fmla="*/ 9851 h 10000"/>
                <a:gd name="connsiteX3" fmla="*/ 1036 w 9975"/>
                <a:gd name="connsiteY3" fmla="*/ 9681 h 10000"/>
                <a:gd name="connsiteX4" fmla="*/ 2376 w 9975"/>
                <a:gd name="connsiteY4" fmla="*/ 9987 h 10000"/>
                <a:gd name="connsiteX5" fmla="*/ 2471 w 9975"/>
                <a:gd name="connsiteY5" fmla="*/ 9424 h 10000"/>
                <a:gd name="connsiteX6" fmla="*/ 4576 w 9975"/>
                <a:gd name="connsiteY6" fmla="*/ 9965 h 10000"/>
                <a:gd name="connsiteX7" fmla="*/ 5979 w 9975"/>
                <a:gd name="connsiteY7" fmla="*/ 9424 h 10000"/>
                <a:gd name="connsiteX8" fmla="*/ 7032 w 9975"/>
                <a:gd name="connsiteY8" fmla="*/ 7266 h 10000"/>
                <a:gd name="connsiteX9" fmla="*/ 8979 w 9975"/>
                <a:gd name="connsiteY9" fmla="*/ 8988 h 10000"/>
                <a:gd name="connsiteX10" fmla="*/ 9975 w 9975"/>
                <a:gd name="connsiteY10" fmla="*/ 7262 h 10000"/>
                <a:gd name="connsiteX11" fmla="*/ 9136 w 9975"/>
                <a:gd name="connsiteY11" fmla="*/ 1868 h 10000"/>
                <a:gd name="connsiteX12" fmla="*/ 6871 w 9975"/>
                <a:gd name="connsiteY12" fmla="*/ 5225 h 10000"/>
                <a:gd name="connsiteX13" fmla="*/ 7292 w 9975"/>
                <a:gd name="connsiteY13" fmla="*/ 5846 h 10000"/>
                <a:gd name="connsiteX14" fmla="*/ 5658 w 9975"/>
                <a:gd name="connsiteY14" fmla="*/ 4352 h 10000"/>
                <a:gd name="connsiteX15" fmla="*/ 5103 w 9975"/>
                <a:gd name="connsiteY15" fmla="*/ 2843 h 10000"/>
                <a:gd name="connsiteX16" fmla="*/ 5037 w 9975"/>
                <a:gd name="connsiteY16" fmla="*/ 965 h 10000"/>
                <a:gd name="connsiteX17" fmla="*/ 3524 w 9975"/>
                <a:gd name="connsiteY17" fmla="*/ 249 h 10000"/>
                <a:gd name="connsiteX18" fmla="*/ 2121 w 9975"/>
                <a:gd name="connsiteY18" fmla="*/ 249 h 10000"/>
                <a:gd name="connsiteX19" fmla="*/ 1548 w 9975"/>
                <a:gd name="connsiteY19" fmla="*/ 2684 h 10000"/>
                <a:gd name="connsiteX20" fmla="*/ 1420 w 9975"/>
                <a:gd name="connsiteY20" fmla="*/ 3487 h 10000"/>
                <a:gd name="connsiteX21" fmla="*/ 16 w 9975"/>
                <a:gd name="connsiteY21" fmla="*/ 3487 h 10000"/>
                <a:gd name="connsiteX22" fmla="*/ 1668 w 9975"/>
                <a:gd name="connsiteY22" fmla="*/ 4423 h 10000"/>
                <a:gd name="connsiteX23" fmla="*/ 316 w 9975"/>
                <a:gd name="connsiteY23" fmla="*/ 5845 h 10000"/>
                <a:gd name="connsiteX24" fmla="*/ 59 w 9975"/>
                <a:gd name="connsiteY24" fmla="*/ 6196 h 10000"/>
                <a:gd name="connsiteX0" fmla="*/ 1197 w 10000"/>
                <a:gd name="connsiteY0" fmla="*/ 6453 h 10000"/>
                <a:gd name="connsiteX1" fmla="*/ 960 w 10000"/>
                <a:gd name="connsiteY1" fmla="*/ 9727 h 10000"/>
                <a:gd name="connsiteX2" fmla="*/ 582 w 10000"/>
                <a:gd name="connsiteY2" fmla="*/ 9851 h 10000"/>
                <a:gd name="connsiteX3" fmla="*/ 1039 w 10000"/>
                <a:gd name="connsiteY3" fmla="*/ 9681 h 10000"/>
                <a:gd name="connsiteX4" fmla="*/ 2382 w 10000"/>
                <a:gd name="connsiteY4" fmla="*/ 9987 h 10000"/>
                <a:gd name="connsiteX5" fmla="*/ 2477 w 10000"/>
                <a:gd name="connsiteY5" fmla="*/ 9424 h 10000"/>
                <a:gd name="connsiteX6" fmla="*/ 4587 w 10000"/>
                <a:gd name="connsiteY6" fmla="*/ 9965 h 10000"/>
                <a:gd name="connsiteX7" fmla="*/ 5994 w 10000"/>
                <a:gd name="connsiteY7" fmla="*/ 9424 h 10000"/>
                <a:gd name="connsiteX8" fmla="*/ 7050 w 10000"/>
                <a:gd name="connsiteY8" fmla="*/ 7266 h 10000"/>
                <a:gd name="connsiteX9" fmla="*/ 9002 w 10000"/>
                <a:gd name="connsiteY9" fmla="*/ 8988 h 10000"/>
                <a:gd name="connsiteX10" fmla="*/ 10000 w 10000"/>
                <a:gd name="connsiteY10" fmla="*/ 7262 h 10000"/>
                <a:gd name="connsiteX11" fmla="*/ 9159 w 10000"/>
                <a:gd name="connsiteY11" fmla="*/ 1868 h 10000"/>
                <a:gd name="connsiteX12" fmla="*/ 6888 w 10000"/>
                <a:gd name="connsiteY12" fmla="*/ 5225 h 10000"/>
                <a:gd name="connsiteX13" fmla="*/ 7310 w 10000"/>
                <a:gd name="connsiteY13" fmla="*/ 5846 h 10000"/>
                <a:gd name="connsiteX14" fmla="*/ 5672 w 10000"/>
                <a:gd name="connsiteY14" fmla="*/ 4352 h 10000"/>
                <a:gd name="connsiteX15" fmla="*/ 5116 w 10000"/>
                <a:gd name="connsiteY15" fmla="*/ 2843 h 10000"/>
                <a:gd name="connsiteX16" fmla="*/ 5050 w 10000"/>
                <a:gd name="connsiteY16" fmla="*/ 965 h 10000"/>
                <a:gd name="connsiteX17" fmla="*/ 3533 w 10000"/>
                <a:gd name="connsiteY17" fmla="*/ 249 h 10000"/>
                <a:gd name="connsiteX18" fmla="*/ 2126 w 10000"/>
                <a:gd name="connsiteY18" fmla="*/ 249 h 10000"/>
                <a:gd name="connsiteX19" fmla="*/ 1552 w 10000"/>
                <a:gd name="connsiteY19" fmla="*/ 2684 h 10000"/>
                <a:gd name="connsiteX20" fmla="*/ 1424 w 10000"/>
                <a:gd name="connsiteY20" fmla="*/ 3487 h 10000"/>
                <a:gd name="connsiteX21" fmla="*/ 16 w 10000"/>
                <a:gd name="connsiteY21" fmla="*/ 3487 h 10000"/>
                <a:gd name="connsiteX22" fmla="*/ 1672 w 10000"/>
                <a:gd name="connsiteY22" fmla="*/ 4423 h 10000"/>
                <a:gd name="connsiteX23" fmla="*/ 317 w 10000"/>
                <a:gd name="connsiteY23" fmla="*/ 5845 h 10000"/>
                <a:gd name="connsiteX24" fmla="*/ 1197 w 10000"/>
                <a:gd name="connsiteY24" fmla="*/ 6453 h 10000"/>
                <a:gd name="connsiteX0" fmla="*/ 880 w 9683"/>
                <a:gd name="connsiteY0" fmla="*/ 6453 h 10000"/>
                <a:gd name="connsiteX1" fmla="*/ 643 w 9683"/>
                <a:gd name="connsiteY1" fmla="*/ 9727 h 10000"/>
                <a:gd name="connsiteX2" fmla="*/ 265 w 9683"/>
                <a:gd name="connsiteY2" fmla="*/ 9851 h 10000"/>
                <a:gd name="connsiteX3" fmla="*/ 722 w 9683"/>
                <a:gd name="connsiteY3" fmla="*/ 9681 h 10000"/>
                <a:gd name="connsiteX4" fmla="*/ 2065 w 9683"/>
                <a:gd name="connsiteY4" fmla="*/ 9987 h 10000"/>
                <a:gd name="connsiteX5" fmla="*/ 2160 w 9683"/>
                <a:gd name="connsiteY5" fmla="*/ 9424 h 10000"/>
                <a:gd name="connsiteX6" fmla="*/ 4270 w 9683"/>
                <a:gd name="connsiteY6" fmla="*/ 9965 h 10000"/>
                <a:gd name="connsiteX7" fmla="*/ 5677 w 9683"/>
                <a:gd name="connsiteY7" fmla="*/ 9424 h 10000"/>
                <a:gd name="connsiteX8" fmla="*/ 6733 w 9683"/>
                <a:gd name="connsiteY8" fmla="*/ 7266 h 10000"/>
                <a:gd name="connsiteX9" fmla="*/ 8685 w 9683"/>
                <a:gd name="connsiteY9" fmla="*/ 8988 h 10000"/>
                <a:gd name="connsiteX10" fmla="*/ 9683 w 9683"/>
                <a:gd name="connsiteY10" fmla="*/ 7262 h 10000"/>
                <a:gd name="connsiteX11" fmla="*/ 8842 w 9683"/>
                <a:gd name="connsiteY11" fmla="*/ 1868 h 10000"/>
                <a:gd name="connsiteX12" fmla="*/ 6571 w 9683"/>
                <a:gd name="connsiteY12" fmla="*/ 5225 h 10000"/>
                <a:gd name="connsiteX13" fmla="*/ 6993 w 9683"/>
                <a:gd name="connsiteY13" fmla="*/ 5846 h 10000"/>
                <a:gd name="connsiteX14" fmla="*/ 5355 w 9683"/>
                <a:gd name="connsiteY14" fmla="*/ 4352 h 10000"/>
                <a:gd name="connsiteX15" fmla="*/ 4799 w 9683"/>
                <a:gd name="connsiteY15" fmla="*/ 2843 h 10000"/>
                <a:gd name="connsiteX16" fmla="*/ 4733 w 9683"/>
                <a:gd name="connsiteY16" fmla="*/ 965 h 10000"/>
                <a:gd name="connsiteX17" fmla="*/ 3216 w 9683"/>
                <a:gd name="connsiteY17" fmla="*/ 249 h 10000"/>
                <a:gd name="connsiteX18" fmla="*/ 1809 w 9683"/>
                <a:gd name="connsiteY18" fmla="*/ 249 h 10000"/>
                <a:gd name="connsiteX19" fmla="*/ 1235 w 9683"/>
                <a:gd name="connsiteY19" fmla="*/ 2684 h 10000"/>
                <a:gd name="connsiteX20" fmla="*/ 1107 w 9683"/>
                <a:gd name="connsiteY20" fmla="*/ 3487 h 10000"/>
                <a:gd name="connsiteX21" fmla="*/ 954 w 9683"/>
                <a:gd name="connsiteY21" fmla="*/ 4284 h 10000"/>
                <a:gd name="connsiteX22" fmla="*/ 1355 w 9683"/>
                <a:gd name="connsiteY22" fmla="*/ 4423 h 10000"/>
                <a:gd name="connsiteX23" fmla="*/ 0 w 9683"/>
                <a:gd name="connsiteY23" fmla="*/ 5845 h 10000"/>
                <a:gd name="connsiteX24" fmla="*/ 880 w 9683"/>
                <a:gd name="connsiteY24" fmla="*/ 6453 h 10000"/>
                <a:gd name="connsiteX0" fmla="*/ 909 w 10000"/>
                <a:gd name="connsiteY0" fmla="*/ 6453 h 10000"/>
                <a:gd name="connsiteX1" fmla="*/ 664 w 10000"/>
                <a:gd name="connsiteY1" fmla="*/ 9727 h 10000"/>
                <a:gd name="connsiteX2" fmla="*/ 274 w 10000"/>
                <a:gd name="connsiteY2" fmla="*/ 9851 h 10000"/>
                <a:gd name="connsiteX3" fmla="*/ 746 w 10000"/>
                <a:gd name="connsiteY3" fmla="*/ 9681 h 10000"/>
                <a:gd name="connsiteX4" fmla="*/ 2133 w 10000"/>
                <a:gd name="connsiteY4" fmla="*/ 9987 h 10000"/>
                <a:gd name="connsiteX5" fmla="*/ 2231 w 10000"/>
                <a:gd name="connsiteY5" fmla="*/ 9424 h 10000"/>
                <a:gd name="connsiteX6" fmla="*/ 4410 w 10000"/>
                <a:gd name="connsiteY6" fmla="*/ 9965 h 10000"/>
                <a:gd name="connsiteX7" fmla="*/ 5863 w 10000"/>
                <a:gd name="connsiteY7" fmla="*/ 9424 h 10000"/>
                <a:gd name="connsiteX8" fmla="*/ 6953 w 10000"/>
                <a:gd name="connsiteY8" fmla="*/ 7266 h 10000"/>
                <a:gd name="connsiteX9" fmla="*/ 8612 w 10000"/>
                <a:gd name="connsiteY9" fmla="*/ 8836 h 10000"/>
                <a:gd name="connsiteX10" fmla="*/ 10000 w 10000"/>
                <a:gd name="connsiteY10" fmla="*/ 7262 h 10000"/>
                <a:gd name="connsiteX11" fmla="*/ 9131 w 10000"/>
                <a:gd name="connsiteY11" fmla="*/ 1868 h 10000"/>
                <a:gd name="connsiteX12" fmla="*/ 6786 w 10000"/>
                <a:gd name="connsiteY12" fmla="*/ 5225 h 10000"/>
                <a:gd name="connsiteX13" fmla="*/ 7222 w 10000"/>
                <a:gd name="connsiteY13" fmla="*/ 5846 h 10000"/>
                <a:gd name="connsiteX14" fmla="*/ 5530 w 10000"/>
                <a:gd name="connsiteY14" fmla="*/ 4352 h 10000"/>
                <a:gd name="connsiteX15" fmla="*/ 4956 w 10000"/>
                <a:gd name="connsiteY15" fmla="*/ 2843 h 10000"/>
                <a:gd name="connsiteX16" fmla="*/ 4888 w 10000"/>
                <a:gd name="connsiteY16" fmla="*/ 965 h 10000"/>
                <a:gd name="connsiteX17" fmla="*/ 3321 w 10000"/>
                <a:gd name="connsiteY17" fmla="*/ 249 h 10000"/>
                <a:gd name="connsiteX18" fmla="*/ 1868 w 10000"/>
                <a:gd name="connsiteY18" fmla="*/ 249 h 10000"/>
                <a:gd name="connsiteX19" fmla="*/ 1275 w 10000"/>
                <a:gd name="connsiteY19" fmla="*/ 2684 h 10000"/>
                <a:gd name="connsiteX20" fmla="*/ 1143 w 10000"/>
                <a:gd name="connsiteY20" fmla="*/ 3487 h 10000"/>
                <a:gd name="connsiteX21" fmla="*/ 985 w 10000"/>
                <a:gd name="connsiteY21" fmla="*/ 4284 h 10000"/>
                <a:gd name="connsiteX22" fmla="*/ 1399 w 10000"/>
                <a:gd name="connsiteY22" fmla="*/ 4423 h 10000"/>
                <a:gd name="connsiteX23" fmla="*/ 0 w 10000"/>
                <a:gd name="connsiteY23" fmla="*/ 5845 h 10000"/>
                <a:gd name="connsiteX24" fmla="*/ 909 w 10000"/>
                <a:gd name="connsiteY24" fmla="*/ 6453 h 10000"/>
                <a:gd name="connsiteX0" fmla="*/ 909 w 9202"/>
                <a:gd name="connsiteY0" fmla="*/ 6453 h 10000"/>
                <a:gd name="connsiteX1" fmla="*/ 664 w 9202"/>
                <a:gd name="connsiteY1" fmla="*/ 9727 h 10000"/>
                <a:gd name="connsiteX2" fmla="*/ 274 w 9202"/>
                <a:gd name="connsiteY2" fmla="*/ 9851 h 10000"/>
                <a:gd name="connsiteX3" fmla="*/ 746 w 9202"/>
                <a:gd name="connsiteY3" fmla="*/ 9681 h 10000"/>
                <a:gd name="connsiteX4" fmla="*/ 2133 w 9202"/>
                <a:gd name="connsiteY4" fmla="*/ 9987 h 10000"/>
                <a:gd name="connsiteX5" fmla="*/ 2231 w 9202"/>
                <a:gd name="connsiteY5" fmla="*/ 9424 h 10000"/>
                <a:gd name="connsiteX6" fmla="*/ 4410 w 9202"/>
                <a:gd name="connsiteY6" fmla="*/ 9965 h 10000"/>
                <a:gd name="connsiteX7" fmla="*/ 5863 w 9202"/>
                <a:gd name="connsiteY7" fmla="*/ 9424 h 10000"/>
                <a:gd name="connsiteX8" fmla="*/ 6953 w 9202"/>
                <a:gd name="connsiteY8" fmla="*/ 7266 h 10000"/>
                <a:gd name="connsiteX9" fmla="*/ 8612 w 9202"/>
                <a:gd name="connsiteY9" fmla="*/ 8836 h 10000"/>
                <a:gd name="connsiteX10" fmla="*/ 9003 w 9202"/>
                <a:gd name="connsiteY10" fmla="*/ 6266 h 10000"/>
                <a:gd name="connsiteX11" fmla="*/ 9131 w 9202"/>
                <a:gd name="connsiteY11" fmla="*/ 1868 h 10000"/>
                <a:gd name="connsiteX12" fmla="*/ 6786 w 9202"/>
                <a:gd name="connsiteY12" fmla="*/ 5225 h 10000"/>
                <a:gd name="connsiteX13" fmla="*/ 7222 w 9202"/>
                <a:gd name="connsiteY13" fmla="*/ 5846 h 10000"/>
                <a:gd name="connsiteX14" fmla="*/ 5530 w 9202"/>
                <a:gd name="connsiteY14" fmla="*/ 4352 h 10000"/>
                <a:gd name="connsiteX15" fmla="*/ 4956 w 9202"/>
                <a:gd name="connsiteY15" fmla="*/ 2843 h 10000"/>
                <a:gd name="connsiteX16" fmla="*/ 4888 w 9202"/>
                <a:gd name="connsiteY16" fmla="*/ 965 h 10000"/>
                <a:gd name="connsiteX17" fmla="*/ 3321 w 9202"/>
                <a:gd name="connsiteY17" fmla="*/ 249 h 10000"/>
                <a:gd name="connsiteX18" fmla="*/ 1868 w 9202"/>
                <a:gd name="connsiteY18" fmla="*/ 249 h 10000"/>
                <a:gd name="connsiteX19" fmla="*/ 1275 w 9202"/>
                <a:gd name="connsiteY19" fmla="*/ 2684 h 10000"/>
                <a:gd name="connsiteX20" fmla="*/ 1143 w 9202"/>
                <a:gd name="connsiteY20" fmla="*/ 3487 h 10000"/>
                <a:gd name="connsiteX21" fmla="*/ 985 w 9202"/>
                <a:gd name="connsiteY21" fmla="*/ 4284 h 10000"/>
                <a:gd name="connsiteX22" fmla="*/ 1399 w 9202"/>
                <a:gd name="connsiteY22" fmla="*/ 4423 h 10000"/>
                <a:gd name="connsiteX23" fmla="*/ 0 w 9202"/>
                <a:gd name="connsiteY23" fmla="*/ 5845 h 10000"/>
                <a:gd name="connsiteX24" fmla="*/ 909 w 9202"/>
                <a:gd name="connsiteY24" fmla="*/ 6453 h 10000"/>
                <a:gd name="connsiteX0" fmla="*/ 988 w 9784"/>
                <a:gd name="connsiteY0" fmla="*/ 6453 h 10000"/>
                <a:gd name="connsiteX1" fmla="*/ 722 w 9784"/>
                <a:gd name="connsiteY1" fmla="*/ 9727 h 10000"/>
                <a:gd name="connsiteX2" fmla="*/ 298 w 9784"/>
                <a:gd name="connsiteY2" fmla="*/ 9851 h 10000"/>
                <a:gd name="connsiteX3" fmla="*/ 811 w 9784"/>
                <a:gd name="connsiteY3" fmla="*/ 9681 h 10000"/>
                <a:gd name="connsiteX4" fmla="*/ 2318 w 9784"/>
                <a:gd name="connsiteY4" fmla="*/ 9987 h 10000"/>
                <a:gd name="connsiteX5" fmla="*/ 2424 w 9784"/>
                <a:gd name="connsiteY5" fmla="*/ 9424 h 10000"/>
                <a:gd name="connsiteX6" fmla="*/ 4792 w 9784"/>
                <a:gd name="connsiteY6" fmla="*/ 9965 h 10000"/>
                <a:gd name="connsiteX7" fmla="*/ 6371 w 9784"/>
                <a:gd name="connsiteY7" fmla="*/ 9424 h 10000"/>
                <a:gd name="connsiteX8" fmla="*/ 7556 w 9784"/>
                <a:gd name="connsiteY8" fmla="*/ 7266 h 10000"/>
                <a:gd name="connsiteX9" fmla="*/ 9359 w 9784"/>
                <a:gd name="connsiteY9" fmla="*/ 8836 h 10000"/>
                <a:gd name="connsiteX10" fmla="*/ 9784 w 9784"/>
                <a:gd name="connsiteY10" fmla="*/ 6266 h 10000"/>
                <a:gd name="connsiteX11" fmla="*/ 9092 w 9784"/>
                <a:gd name="connsiteY11" fmla="*/ 4080 h 10000"/>
                <a:gd name="connsiteX12" fmla="*/ 7374 w 9784"/>
                <a:gd name="connsiteY12" fmla="*/ 5225 h 10000"/>
                <a:gd name="connsiteX13" fmla="*/ 7848 w 9784"/>
                <a:gd name="connsiteY13" fmla="*/ 5846 h 10000"/>
                <a:gd name="connsiteX14" fmla="*/ 6010 w 9784"/>
                <a:gd name="connsiteY14" fmla="*/ 4352 h 10000"/>
                <a:gd name="connsiteX15" fmla="*/ 5386 w 9784"/>
                <a:gd name="connsiteY15" fmla="*/ 2843 h 10000"/>
                <a:gd name="connsiteX16" fmla="*/ 5312 w 9784"/>
                <a:gd name="connsiteY16" fmla="*/ 965 h 10000"/>
                <a:gd name="connsiteX17" fmla="*/ 3609 w 9784"/>
                <a:gd name="connsiteY17" fmla="*/ 249 h 10000"/>
                <a:gd name="connsiteX18" fmla="*/ 2030 w 9784"/>
                <a:gd name="connsiteY18" fmla="*/ 249 h 10000"/>
                <a:gd name="connsiteX19" fmla="*/ 1386 w 9784"/>
                <a:gd name="connsiteY19" fmla="*/ 2684 h 10000"/>
                <a:gd name="connsiteX20" fmla="*/ 1242 w 9784"/>
                <a:gd name="connsiteY20" fmla="*/ 3487 h 10000"/>
                <a:gd name="connsiteX21" fmla="*/ 1070 w 9784"/>
                <a:gd name="connsiteY21" fmla="*/ 4284 h 10000"/>
                <a:gd name="connsiteX22" fmla="*/ 1520 w 9784"/>
                <a:gd name="connsiteY22" fmla="*/ 4423 h 10000"/>
                <a:gd name="connsiteX23" fmla="*/ 0 w 9784"/>
                <a:gd name="connsiteY23" fmla="*/ 5845 h 10000"/>
                <a:gd name="connsiteX24" fmla="*/ 988 w 9784"/>
                <a:gd name="connsiteY24" fmla="*/ 6453 h 10000"/>
                <a:gd name="connsiteX0" fmla="*/ 1010 w 10000"/>
                <a:gd name="connsiteY0" fmla="*/ 6453 h 10000"/>
                <a:gd name="connsiteX1" fmla="*/ 738 w 10000"/>
                <a:gd name="connsiteY1" fmla="*/ 9727 h 10000"/>
                <a:gd name="connsiteX2" fmla="*/ 305 w 10000"/>
                <a:gd name="connsiteY2" fmla="*/ 9851 h 10000"/>
                <a:gd name="connsiteX3" fmla="*/ 829 w 10000"/>
                <a:gd name="connsiteY3" fmla="*/ 9681 h 10000"/>
                <a:gd name="connsiteX4" fmla="*/ 2369 w 10000"/>
                <a:gd name="connsiteY4" fmla="*/ 9987 h 10000"/>
                <a:gd name="connsiteX5" fmla="*/ 2478 w 10000"/>
                <a:gd name="connsiteY5" fmla="*/ 9424 h 10000"/>
                <a:gd name="connsiteX6" fmla="*/ 4898 w 10000"/>
                <a:gd name="connsiteY6" fmla="*/ 9965 h 10000"/>
                <a:gd name="connsiteX7" fmla="*/ 6512 w 10000"/>
                <a:gd name="connsiteY7" fmla="*/ 9424 h 10000"/>
                <a:gd name="connsiteX8" fmla="*/ 7723 w 10000"/>
                <a:gd name="connsiteY8" fmla="*/ 7266 h 10000"/>
                <a:gd name="connsiteX9" fmla="*/ 9566 w 10000"/>
                <a:gd name="connsiteY9" fmla="*/ 8836 h 10000"/>
                <a:gd name="connsiteX10" fmla="*/ 10000 w 10000"/>
                <a:gd name="connsiteY10" fmla="*/ 6266 h 10000"/>
                <a:gd name="connsiteX11" fmla="*/ 9293 w 10000"/>
                <a:gd name="connsiteY11" fmla="*/ 4080 h 10000"/>
                <a:gd name="connsiteX12" fmla="*/ 7273 w 10000"/>
                <a:gd name="connsiteY12" fmla="*/ 6329 h 10000"/>
                <a:gd name="connsiteX13" fmla="*/ 8021 w 10000"/>
                <a:gd name="connsiteY13" fmla="*/ 5846 h 10000"/>
                <a:gd name="connsiteX14" fmla="*/ 6143 w 10000"/>
                <a:gd name="connsiteY14" fmla="*/ 4352 h 10000"/>
                <a:gd name="connsiteX15" fmla="*/ 5505 w 10000"/>
                <a:gd name="connsiteY15" fmla="*/ 2843 h 10000"/>
                <a:gd name="connsiteX16" fmla="*/ 5429 w 10000"/>
                <a:gd name="connsiteY16" fmla="*/ 965 h 10000"/>
                <a:gd name="connsiteX17" fmla="*/ 3689 w 10000"/>
                <a:gd name="connsiteY17" fmla="*/ 249 h 10000"/>
                <a:gd name="connsiteX18" fmla="*/ 2075 w 10000"/>
                <a:gd name="connsiteY18" fmla="*/ 249 h 10000"/>
                <a:gd name="connsiteX19" fmla="*/ 1417 w 10000"/>
                <a:gd name="connsiteY19" fmla="*/ 2684 h 10000"/>
                <a:gd name="connsiteX20" fmla="*/ 1269 w 10000"/>
                <a:gd name="connsiteY20" fmla="*/ 3487 h 10000"/>
                <a:gd name="connsiteX21" fmla="*/ 1094 w 10000"/>
                <a:gd name="connsiteY21" fmla="*/ 4284 h 10000"/>
                <a:gd name="connsiteX22" fmla="*/ 1554 w 10000"/>
                <a:gd name="connsiteY22" fmla="*/ 4423 h 10000"/>
                <a:gd name="connsiteX23" fmla="*/ 0 w 10000"/>
                <a:gd name="connsiteY23" fmla="*/ 5845 h 10000"/>
                <a:gd name="connsiteX24" fmla="*/ 1010 w 10000"/>
                <a:gd name="connsiteY24" fmla="*/ 6453 h 10000"/>
                <a:gd name="connsiteX0" fmla="*/ 1010 w 10000"/>
                <a:gd name="connsiteY0" fmla="*/ 6453 h 10000"/>
                <a:gd name="connsiteX1" fmla="*/ 738 w 10000"/>
                <a:gd name="connsiteY1" fmla="*/ 9727 h 10000"/>
                <a:gd name="connsiteX2" fmla="*/ 305 w 10000"/>
                <a:gd name="connsiteY2" fmla="*/ 9851 h 10000"/>
                <a:gd name="connsiteX3" fmla="*/ 829 w 10000"/>
                <a:gd name="connsiteY3" fmla="*/ 9681 h 10000"/>
                <a:gd name="connsiteX4" fmla="*/ 2369 w 10000"/>
                <a:gd name="connsiteY4" fmla="*/ 9987 h 10000"/>
                <a:gd name="connsiteX5" fmla="*/ 2478 w 10000"/>
                <a:gd name="connsiteY5" fmla="*/ 9424 h 10000"/>
                <a:gd name="connsiteX6" fmla="*/ 4898 w 10000"/>
                <a:gd name="connsiteY6" fmla="*/ 9965 h 10000"/>
                <a:gd name="connsiteX7" fmla="*/ 6512 w 10000"/>
                <a:gd name="connsiteY7" fmla="*/ 9424 h 10000"/>
                <a:gd name="connsiteX8" fmla="*/ 7723 w 10000"/>
                <a:gd name="connsiteY8" fmla="*/ 7266 h 10000"/>
                <a:gd name="connsiteX9" fmla="*/ 9566 w 10000"/>
                <a:gd name="connsiteY9" fmla="*/ 8836 h 10000"/>
                <a:gd name="connsiteX10" fmla="*/ 10000 w 10000"/>
                <a:gd name="connsiteY10" fmla="*/ 6266 h 10000"/>
                <a:gd name="connsiteX11" fmla="*/ 9293 w 10000"/>
                <a:gd name="connsiteY11" fmla="*/ 4080 h 10000"/>
                <a:gd name="connsiteX12" fmla="*/ 7273 w 10000"/>
                <a:gd name="connsiteY12" fmla="*/ 6329 h 10000"/>
                <a:gd name="connsiteX13" fmla="*/ 8021 w 10000"/>
                <a:gd name="connsiteY13" fmla="*/ 5846 h 10000"/>
                <a:gd name="connsiteX14" fmla="*/ 6143 w 10000"/>
                <a:gd name="connsiteY14" fmla="*/ 4352 h 10000"/>
                <a:gd name="connsiteX15" fmla="*/ 5505 w 10000"/>
                <a:gd name="connsiteY15" fmla="*/ 2843 h 10000"/>
                <a:gd name="connsiteX16" fmla="*/ 5429 w 10000"/>
                <a:gd name="connsiteY16" fmla="*/ 965 h 10000"/>
                <a:gd name="connsiteX17" fmla="*/ 3689 w 10000"/>
                <a:gd name="connsiteY17" fmla="*/ 249 h 10000"/>
                <a:gd name="connsiteX18" fmla="*/ 2075 w 10000"/>
                <a:gd name="connsiteY18" fmla="*/ 249 h 10000"/>
                <a:gd name="connsiteX19" fmla="*/ 1417 w 10000"/>
                <a:gd name="connsiteY19" fmla="*/ 2684 h 10000"/>
                <a:gd name="connsiteX20" fmla="*/ 1269 w 10000"/>
                <a:gd name="connsiteY20" fmla="*/ 3487 h 10000"/>
                <a:gd name="connsiteX21" fmla="*/ 1094 w 10000"/>
                <a:gd name="connsiteY21" fmla="*/ 4284 h 10000"/>
                <a:gd name="connsiteX22" fmla="*/ 1554 w 10000"/>
                <a:gd name="connsiteY22" fmla="*/ 4423 h 10000"/>
                <a:gd name="connsiteX23" fmla="*/ 0 w 10000"/>
                <a:gd name="connsiteY23" fmla="*/ 5845 h 10000"/>
                <a:gd name="connsiteX24" fmla="*/ 1010 w 10000"/>
                <a:gd name="connsiteY24" fmla="*/ 6453 h 10000"/>
                <a:gd name="connsiteX0" fmla="*/ 1010 w 10000"/>
                <a:gd name="connsiteY0" fmla="*/ 6453 h 10000"/>
                <a:gd name="connsiteX1" fmla="*/ 738 w 10000"/>
                <a:gd name="connsiteY1" fmla="*/ 9727 h 10000"/>
                <a:gd name="connsiteX2" fmla="*/ 305 w 10000"/>
                <a:gd name="connsiteY2" fmla="*/ 9851 h 10000"/>
                <a:gd name="connsiteX3" fmla="*/ 829 w 10000"/>
                <a:gd name="connsiteY3" fmla="*/ 9681 h 10000"/>
                <a:gd name="connsiteX4" fmla="*/ 2369 w 10000"/>
                <a:gd name="connsiteY4" fmla="*/ 9987 h 10000"/>
                <a:gd name="connsiteX5" fmla="*/ 2478 w 10000"/>
                <a:gd name="connsiteY5" fmla="*/ 9424 h 10000"/>
                <a:gd name="connsiteX6" fmla="*/ 4898 w 10000"/>
                <a:gd name="connsiteY6" fmla="*/ 9965 h 10000"/>
                <a:gd name="connsiteX7" fmla="*/ 6512 w 10000"/>
                <a:gd name="connsiteY7" fmla="*/ 9424 h 10000"/>
                <a:gd name="connsiteX8" fmla="*/ 7723 w 10000"/>
                <a:gd name="connsiteY8" fmla="*/ 7266 h 10000"/>
                <a:gd name="connsiteX9" fmla="*/ 9566 w 10000"/>
                <a:gd name="connsiteY9" fmla="*/ 8836 h 10000"/>
                <a:gd name="connsiteX10" fmla="*/ 10000 w 10000"/>
                <a:gd name="connsiteY10" fmla="*/ 6266 h 10000"/>
                <a:gd name="connsiteX11" fmla="*/ 9293 w 10000"/>
                <a:gd name="connsiteY11" fmla="*/ 4080 h 10000"/>
                <a:gd name="connsiteX12" fmla="*/ 7273 w 10000"/>
                <a:gd name="connsiteY12" fmla="*/ 6329 h 10000"/>
                <a:gd name="connsiteX13" fmla="*/ 8021 w 10000"/>
                <a:gd name="connsiteY13" fmla="*/ 5846 h 10000"/>
                <a:gd name="connsiteX14" fmla="*/ 6143 w 10000"/>
                <a:gd name="connsiteY14" fmla="*/ 4352 h 10000"/>
                <a:gd name="connsiteX15" fmla="*/ 5505 w 10000"/>
                <a:gd name="connsiteY15" fmla="*/ 2843 h 10000"/>
                <a:gd name="connsiteX16" fmla="*/ 5260 w 10000"/>
                <a:gd name="connsiteY16" fmla="*/ 2740 h 10000"/>
                <a:gd name="connsiteX17" fmla="*/ 3689 w 10000"/>
                <a:gd name="connsiteY17" fmla="*/ 249 h 10000"/>
                <a:gd name="connsiteX18" fmla="*/ 2075 w 10000"/>
                <a:gd name="connsiteY18" fmla="*/ 249 h 10000"/>
                <a:gd name="connsiteX19" fmla="*/ 1417 w 10000"/>
                <a:gd name="connsiteY19" fmla="*/ 2684 h 10000"/>
                <a:gd name="connsiteX20" fmla="*/ 1269 w 10000"/>
                <a:gd name="connsiteY20" fmla="*/ 3487 h 10000"/>
                <a:gd name="connsiteX21" fmla="*/ 1094 w 10000"/>
                <a:gd name="connsiteY21" fmla="*/ 4284 h 10000"/>
                <a:gd name="connsiteX22" fmla="*/ 1554 w 10000"/>
                <a:gd name="connsiteY22" fmla="*/ 4423 h 10000"/>
                <a:gd name="connsiteX23" fmla="*/ 0 w 10000"/>
                <a:gd name="connsiteY23" fmla="*/ 5845 h 10000"/>
                <a:gd name="connsiteX24" fmla="*/ 1010 w 10000"/>
                <a:gd name="connsiteY24" fmla="*/ 6453 h 10000"/>
                <a:gd name="connsiteX0" fmla="*/ 1010 w 10000"/>
                <a:gd name="connsiteY0" fmla="*/ 6204 h 9751"/>
                <a:gd name="connsiteX1" fmla="*/ 738 w 10000"/>
                <a:gd name="connsiteY1" fmla="*/ 9478 h 9751"/>
                <a:gd name="connsiteX2" fmla="*/ 305 w 10000"/>
                <a:gd name="connsiteY2" fmla="*/ 9602 h 9751"/>
                <a:gd name="connsiteX3" fmla="*/ 829 w 10000"/>
                <a:gd name="connsiteY3" fmla="*/ 9432 h 9751"/>
                <a:gd name="connsiteX4" fmla="*/ 2369 w 10000"/>
                <a:gd name="connsiteY4" fmla="*/ 9738 h 9751"/>
                <a:gd name="connsiteX5" fmla="*/ 2478 w 10000"/>
                <a:gd name="connsiteY5" fmla="*/ 9175 h 9751"/>
                <a:gd name="connsiteX6" fmla="*/ 4898 w 10000"/>
                <a:gd name="connsiteY6" fmla="*/ 9716 h 9751"/>
                <a:gd name="connsiteX7" fmla="*/ 6512 w 10000"/>
                <a:gd name="connsiteY7" fmla="*/ 9175 h 9751"/>
                <a:gd name="connsiteX8" fmla="*/ 7723 w 10000"/>
                <a:gd name="connsiteY8" fmla="*/ 7017 h 9751"/>
                <a:gd name="connsiteX9" fmla="*/ 9566 w 10000"/>
                <a:gd name="connsiteY9" fmla="*/ 8587 h 9751"/>
                <a:gd name="connsiteX10" fmla="*/ 10000 w 10000"/>
                <a:gd name="connsiteY10" fmla="*/ 6017 h 9751"/>
                <a:gd name="connsiteX11" fmla="*/ 9293 w 10000"/>
                <a:gd name="connsiteY11" fmla="*/ 3831 h 9751"/>
                <a:gd name="connsiteX12" fmla="*/ 7273 w 10000"/>
                <a:gd name="connsiteY12" fmla="*/ 6080 h 9751"/>
                <a:gd name="connsiteX13" fmla="*/ 8021 w 10000"/>
                <a:gd name="connsiteY13" fmla="*/ 5597 h 9751"/>
                <a:gd name="connsiteX14" fmla="*/ 6143 w 10000"/>
                <a:gd name="connsiteY14" fmla="*/ 4103 h 9751"/>
                <a:gd name="connsiteX15" fmla="*/ 5505 w 10000"/>
                <a:gd name="connsiteY15" fmla="*/ 2594 h 9751"/>
                <a:gd name="connsiteX16" fmla="*/ 5260 w 10000"/>
                <a:gd name="connsiteY16" fmla="*/ 2491 h 9751"/>
                <a:gd name="connsiteX17" fmla="*/ 4325 w 10000"/>
                <a:gd name="connsiteY17" fmla="*/ 2274 h 9751"/>
                <a:gd name="connsiteX18" fmla="*/ 2075 w 10000"/>
                <a:gd name="connsiteY18" fmla="*/ 0 h 9751"/>
                <a:gd name="connsiteX19" fmla="*/ 1417 w 10000"/>
                <a:gd name="connsiteY19" fmla="*/ 2435 h 9751"/>
                <a:gd name="connsiteX20" fmla="*/ 1269 w 10000"/>
                <a:gd name="connsiteY20" fmla="*/ 3238 h 9751"/>
                <a:gd name="connsiteX21" fmla="*/ 1094 w 10000"/>
                <a:gd name="connsiteY21" fmla="*/ 4035 h 9751"/>
                <a:gd name="connsiteX22" fmla="*/ 1554 w 10000"/>
                <a:gd name="connsiteY22" fmla="*/ 4174 h 9751"/>
                <a:gd name="connsiteX23" fmla="*/ 0 w 10000"/>
                <a:gd name="connsiteY23" fmla="*/ 5596 h 9751"/>
                <a:gd name="connsiteX24" fmla="*/ 1010 w 10000"/>
                <a:gd name="connsiteY24" fmla="*/ 6204 h 9751"/>
                <a:gd name="connsiteX0" fmla="*/ 1010 w 10000"/>
                <a:gd name="connsiteY0" fmla="*/ 6362 h 10000"/>
                <a:gd name="connsiteX1" fmla="*/ 738 w 10000"/>
                <a:gd name="connsiteY1" fmla="*/ 9720 h 10000"/>
                <a:gd name="connsiteX2" fmla="*/ 305 w 10000"/>
                <a:gd name="connsiteY2" fmla="*/ 9847 h 10000"/>
                <a:gd name="connsiteX3" fmla="*/ 829 w 10000"/>
                <a:gd name="connsiteY3" fmla="*/ 9673 h 10000"/>
                <a:gd name="connsiteX4" fmla="*/ 2369 w 10000"/>
                <a:gd name="connsiteY4" fmla="*/ 9987 h 10000"/>
                <a:gd name="connsiteX5" fmla="*/ 2478 w 10000"/>
                <a:gd name="connsiteY5" fmla="*/ 9409 h 10000"/>
                <a:gd name="connsiteX6" fmla="*/ 4898 w 10000"/>
                <a:gd name="connsiteY6" fmla="*/ 9964 h 10000"/>
                <a:gd name="connsiteX7" fmla="*/ 6512 w 10000"/>
                <a:gd name="connsiteY7" fmla="*/ 9409 h 10000"/>
                <a:gd name="connsiteX8" fmla="*/ 7723 w 10000"/>
                <a:gd name="connsiteY8" fmla="*/ 7196 h 10000"/>
                <a:gd name="connsiteX9" fmla="*/ 9566 w 10000"/>
                <a:gd name="connsiteY9" fmla="*/ 8806 h 10000"/>
                <a:gd name="connsiteX10" fmla="*/ 10000 w 10000"/>
                <a:gd name="connsiteY10" fmla="*/ 6171 h 10000"/>
                <a:gd name="connsiteX11" fmla="*/ 9293 w 10000"/>
                <a:gd name="connsiteY11" fmla="*/ 3929 h 10000"/>
                <a:gd name="connsiteX12" fmla="*/ 7273 w 10000"/>
                <a:gd name="connsiteY12" fmla="*/ 6235 h 10000"/>
                <a:gd name="connsiteX13" fmla="*/ 8021 w 10000"/>
                <a:gd name="connsiteY13" fmla="*/ 5740 h 10000"/>
                <a:gd name="connsiteX14" fmla="*/ 6143 w 10000"/>
                <a:gd name="connsiteY14" fmla="*/ 4208 h 10000"/>
                <a:gd name="connsiteX15" fmla="*/ 5505 w 10000"/>
                <a:gd name="connsiteY15" fmla="*/ 2660 h 10000"/>
                <a:gd name="connsiteX16" fmla="*/ 5260 w 10000"/>
                <a:gd name="connsiteY16" fmla="*/ 2555 h 10000"/>
                <a:gd name="connsiteX17" fmla="*/ 4325 w 10000"/>
                <a:gd name="connsiteY17" fmla="*/ 2332 h 10000"/>
                <a:gd name="connsiteX18" fmla="*/ 2075 w 10000"/>
                <a:gd name="connsiteY18" fmla="*/ 0 h 10000"/>
                <a:gd name="connsiteX19" fmla="*/ 2472 w 10000"/>
                <a:gd name="connsiteY19" fmla="*/ 3303 h 10000"/>
                <a:gd name="connsiteX20" fmla="*/ 1269 w 10000"/>
                <a:gd name="connsiteY20" fmla="*/ 3321 h 10000"/>
                <a:gd name="connsiteX21" fmla="*/ 1094 w 10000"/>
                <a:gd name="connsiteY21" fmla="*/ 4138 h 10000"/>
                <a:gd name="connsiteX22" fmla="*/ 1554 w 10000"/>
                <a:gd name="connsiteY22" fmla="*/ 4281 h 10000"/>
                <a:gd name="connsiteX23" fmla="*/ 0 w 10000"/>
                <a:gd name="connsiteY23" fmla="*/ 5739 h 10000"/>
                <a:gd name="connsiteX24" fmla="*/ 1010 w 10000"/>
                <a:gd name="connsiteY24" fmla="*/ 6362 h 10000"/>
                <a:gd name="connsiteX0" fmla="*/ 1010 w 10000"/>
                <a:gd name="connsiteY0" fmla="*/ 4499 h 8137"/>
                <a:gd name="connsiteX1" fmla="*/ 738 w 10000"/>
                <a:gd name="connsiteY1" fmla="*/ 7857 h 8137"/>
                <a:gd name="connsiteX2" fmla="*/ 305 w 10000"/>
                <a:gd name="connsiteY2" fmla="*/ 7984 h 8137"/>
                <a:gd name="connsiteX3" fmla="*/ 829 w 10000"/>
                <a:gd name="connsiteY3" fmla="*/ 7810 h 8137"/>
                <a:gd name="connsiteX4" fmla="*/ 2369 w 10000"/>
                <a:gd name="connsiteY4" fmla="*/ 8124 h 8137"/>
                <a:gd name="connsiteX5" fmla="*/ 2478 w 10000"/>
                <a:gd name="connsiteY5" fmla="*/ 7546 h 8137"/>
                <a:gd name="connsiteX6" fmla="*/ 4898 w 10000"/>
                <a:gd name="connsiteY6" fmla="*/ 8101 h 8137"/>
                <a:gd name="connsiteX7" fmla="*/ 6512 w 10000"/>
                <a:gd name="connsiteY7" fmla="*/ 7546 h 8137"/>
                <a:gd name="connsiteX8" fmla="*/ 7723 w 10000"/>
                <a:gd name="connsiteY8" fmla="*/ 5333 h 8137"/>
                <a:gd name="connsiteX9" fmla="*/ 9566 w 10000"/>
                <a:gd name="connsiteY9" fmla="*/ 6943 h 8137"/>
                <a:gd name="connsiteX10" fmla="*/ 10000 w 10000"/>
                <a:gd name="connsiteY10" fmla="*/ 4308 h 8137"/>
                <a:gd name="connsiteX11" fmla="*/ 9293 w 10000"/>
                <a:gd name="connsiteY11" fmla="*/ 2066 h 8137"/>
                <a:gd name="connsiteX12" fmla="*/ 7273 w 10000"/>
                <a:gd name="connsiteY12" fmla="*/ 4372 h 8137"/>
                <a:gd name="connsiteX13" fmla="*/ 8021 w 10000"/>
                <a:gd name="connsiteY13" fmla="*/ 3877 h 8137"/>
                <a:gd name="connsiteX14" fmla="*/ 6143 w 10000"/>
                <a:gd name="connsiteY14" fmla="*/ 2345 h 8137"/>
                <a:gd name="connsiteX15" fmla="*/ 5505 w 10000"/>
                <a:gd name="connsiteY15" fmla="*/ 797 h 8137"/>
                <a:gd name="connsiteX16" fmla="*/ 5260 w 10000"/>
                <a:gd name="connsiteY16" fmla="*/ 692 h 8137"/>
                <a:gd name="connsiteX17" fmla="*/ 4325 w 10000"/>
                <a:gd name="connsiteY17" fmla="*/ 469 h 8137"/>
                <a:gd name="connsiteX18" fmla="*/ 3171 w 10000"/>
                <a:gd name="connsiteY18" fmla="*/ 0 h 8137"/>
                <a:gd name="connsiteX19" fmla="*/ 2472 w 10000"/>
                <a:gd name="connsiteY19" fmla="*/ 1440 h 8137"/>
                <a:gd name="connsiteX20" fmla="*/ 1269 w 10000"/>
                <a:gd name="connsiteY20" fmla="*/ 1458 h 8137"/>
                <a:gd name="connsiteX21" fmla="*/ 1094 w 10000"/>
                <a:gd name="connsiteY21" fmla="*/ 2275 h 8137"/>
                <a:gd name="connsiteX22" fmla="*/ 1554 w 10000"/>
                <a:gd name="connsiteY22" fmla="*/ 2418 h 8137"/>
                <a:gd name="connsiteX23" fmla="*/ 0 w 10000"/>
                <a:gd name="connsiteY23" fmla="*/ 3876 h 8137"/>
                <a:gd name="connsiteX24" fmla="*/ 1010 w 10000"/>
                <a:gd name="connsiteY24" fmla="*/ 4499 h 8137"/>
                <a:gd name="connsiteX0" fmla="*/ 1010 w 10000"/>
                <a:gd name="connsiteY0" fmla="*/ 5529 h 10000"/>
                <a:gd name="connsiteX1" fmla="*/ 738 w 10000"/>
                <a:gd name="connsiteY1" fmla="*/ 9656 h 10000"/>
                <a:gd name="connsiteX2" fmla="*/ 305 w 10000"/>
                <a:gd name="connsiteY2" fmla="*/ 9812 h 10000"/>
                <a:gd name="connsiteX3" fmla="*/ 829 w 10000"/>
                <a:gd name="connsiteY3" fmla="*/ 9598 h 10000"/>
                <a:gd name="connsiteX4" fmla="*/ 2369 w 10000"/>
                <a:gd name="connsiteY4" fmla="*/ 9984 h 10000"/>
                <a:gd name="connsiteX5" fmla="*/ 2478 w 10000"/>
                <a:gd name="connsiteY5" fmla="*/ 9274 h 10000"/>
                <a:gd name="connsiteX6" fmla="*/ 4898 w 10000"/>
                <a:gd name="connsiteY6" fmla="*/ 9956 h 10000"/>
                <a:gd name="connsiteX7" fmla="*/ 6512 w 10000"/>
                <a:gd name="connsiteY7" fmla="*/ 9274 h 10000"/>
                <a:gd name="connsiteX8" fmla="*/ 7723 w 10000"/>
                <a:gd name="connsiteY8" fmla="*/ 6554 h 10000"/>
                <a:gd name="connsiteX9" fmla="*/ 9566 w 10000"/>
                <a:gd name="connsiteY9" fmla="*/ 8533 h 10000"/>
                <a:gd name="connsiteX10" fmla="*/ 10000 w 10000"/>
                <a:gd name="connsiteY10" fmla="*/ 5294 h 10000"/>
                <a:gd name="connsiteX11" fmla="*/ 9293 w 10000"/>
                <a:gd name="connsiteY11" fmla="*/ 2539 h 10000"/>
                <a:gd name="connsiteX12" fmla="*/ 7273 w 10000"/>
                <a:gd name="connsiteY12" fmla="*/ 5373 h 10000"/>
                <a:gd name="connsiteX13" fmla="*/ 8021 w 10000"/>
                <a:gd name="connsiteY13" fmla="*/ 4765 h 10000"/>
                <a:gd name="connsiteX14" fmla="*/ 6143 w 10000"/>
                <a:gd name="connsiteY14" fmla="*/ 2882 h 10000"/>
                <a:gd name="connsiteX15" fmla="*/ 5505 w 10000"/>
                <a:gd name="connsiteY15" fmla="*/ 979 h 10000"/>
                <a:gd name="connsiteX16" fmla="*/ 5260 w 10000"/>
                <a:gd name="connsiteY16" fmla="*/ 850 h 10000"/>
                <a:gd name="connsiteX17" fmla="*/ 4325 w 10000"/>
                <a:gd name="connsiteY17" fmla="*/ 576 h 10000"/>
                <a:gd name="connsiteX18" fmla="*/ 3171 w 10000"/>
                <a:gd name="connsiteY18" fmla="*/ 0 h 10000"/>
                <a:gd name="connsiteX19" fmla="*/ 2472 w 10000"/>
                <a:gd name="connsiteY19" fmla="*/ 1770 h 10000"/>
                <a:gd name="connsiteX20" fmla="*/ 2243 w 10000"/>
                <a:gd name="connsiteY20" fmla="*/ 3463 h 10000"/>
                <a:gd name="connsiteX21" fmla="*/ 1094 w 10000"/>
                <a:gd name="connsiteY21" fmla="*/ 2796 h 10000"/>
                <a:gd name="connsiteX22" fmla="*/ 1554 w 10000"/>
                <a:gd name="connsiteY22" fmla="*/ 2972 h 10000"/>
                <a:gd name="connsiteX23" fmla="*/ 0 w 10000"/>
                <a:gd name="connsiteY23" fmla="*/ 4763 h 10000"/>
                <a:gd name="connsiteX24" fmla="*/ 1010 w 10000"/>
                <a:gd name="connsiteY24" fmla="*/ 5529 h 10000"/>
                <a:gd name="connsiteX0" fmla="*/ 1010 w 10000"/>
                <a:gd name="connsiteY0" fmla="*/ 5529 h 10000"/>
                <a:gd name="connsiteX1" fmla="*/ 738 w 10000"/>
                <a:gd name="connsiteY1" fmla="*/ 9656 h 10000"/>
                <a:gd name="connsiteX2" fmla="*/ 305 w 10000"/>
                <a:gd name="connsiteY2" fmla="*/ 9812 h 10000"/>
                <a:gd name="connsiteX3" fmla="*/ 829 w 10000"/>
                <a:gd name="connsiteY3" fmla="*/ 9598 h 10000"/>
                <a:gd name="connsiteX4" fmla="*/ 2369 w 10000"/>
                <a:gd name="connsiteY4" fmla="*/ 9984 h 10000"/>
                <a:gd name="connsiteX5" fmla="*/ 2478 w 10000"/>
                <a:gd name="connsiteY5" fmla="*/ 9274 h 10000"/>
                <a:gd name="connsiteX6" fmla="*/ 4898 w 10000"/>
                <a:gd name="connsiteY6" fmla="*/ 9956 h 10000"/>
                <a:gd name="connsiteX7" fmla="*/ 6512 w 10000"/>
                <a:gd name="connsiteY7" fmla="*/ 9274 h 10000"/>
                <a:gd name="connsiteX8" fmla="*/ 7723 w 10000"/>
                <a:gd name="connsiteY8" fmla="*/ 6554 h 10000"/>
                <a:gd name="connsiteX9" fmla="*/ 9566 w 10000"/>
                <a:gd name="connsiteY9" fmla="*/ 8533 h 10000"/>
                <a:gd name="connsiteX10" fmla="*/ 10000 w 10000"/>
                <a:gd name="connsiteY10" fmla="*/ 5294 h 10000"/>
                <a:gd name="connsiteX11" fmla="*/ 9293 w 10000"/>
                <a:gd name="connsiteY11" fmla="*/ 2539 h 10000"/>
                <a:gd name="connsiteX12" fmla="*/ 7273 w 10000"/>
                <a:gd name="connsiteY12" fmla="*/ 5373 h 10000"/>
                <a:gd name="connsiteX13" fmla="*/ 8021 w 10000"/>
                <a:gd name="connsiteY13" fmla="*/ 4765 h 10000"/>
                <a:gd name="connsiteX14" fmla="*/ 6143 w 10000"/>
                <a:gd name="connsiteY14" fmla="*/ 2882 h 10000"/>
                <a:gd name="connsiteX15" fmla="*/ 5505 w 10000"/>
                <a:gd name="connsiteY15" fmla="*/ 979 h 10000"/>
                <a:gd name="connsiteX16" fmla="*/ 5260 w 10000"/>
                <a:gd name="connsiteY16" fmla="*/ 850 h 10000"/>
                <a:gd name="connsiteX17" fmla="*/ 4325 w 10000"/>
                <a:gd name="connsiteY17" fmla="*/ 576 h 10000"/>
                <a:gd name="connsiteX18" fmla="*/ 3171 w 10000"/>
                <a:gd name="connsiteY18" fmla="*/ 0 h 10000"/>
                <a:gd name="connsiteX19" fmla="*/ 2472 w 10000"/>
                <a:gd name="connsiteY19" fmla="*/ 1770 h 10000"/>
                <a:gd name="connsiteX20" fmla="*/ 2243 w 10000"/>
                <a:gd name="connsiteY20" fmla="*/ 3463 h 10000"/>
                <a:gd name="connsiteX21" fmla="*/ 1094 w 10000"/>
                <a:gd name="connsiteY21" fmla="*/ 2796 h 10000"/>
                <a:gd name="connsiteX22" fmla="*/ 2331 w 10000"/>
                <a:gd name="connsiteY22" fmla="*/ 4409 h 10000"/>
                <a:gd name="connsiteX23" fmla="*/ 1554 w 10000"/>
                <a:gd name="connsiteY23" fmla="*/ 2972 h 10000"/>
                <a:gd name="connsiteX24" fmla="*/ 0 w 10000"/>
                <a:gd name="connsiteY24" fmla="*/ 4763 h 10000"/>
                <a:gd name="connsiteX25" fmla="*/ 1010 w 10000"/>
                <a:gd name="connsiteY25" fmla="*/ 5529 h 10000"/>
                <a:gd name="connsiteX0" fmla="*/ 1010 w 10000"/>
                <a:gd name="connsiteY0" fmla="*/ 5529 h 10000"/>
                <a:gd name="connsiteX1" fmla="*/ 738 w 10000"/>
                <a:gd name="connsiteY1" fmla="*/ 9656 h 10000"/>
                <a:gd name="connsiteX2" fmla="*/ 305 w 10000"/>
                <a:gd name="connsiteY2" fmla="*/ 9812 h 10000"/>
                <a:gd name="connsiteX3" fmla="*/ 829 w 10000"/>
                <a:gd name="connsiteY3" fmla="*/ 9598 h 10000"/>
                <a:gd name="connsiteX4" fmla="*/ 2369 w 10000"/>
                <a:gd name="connsiteY4" fmla="*/ 9984 h 10000"/>
                <a:gd name="connsiteX5" fmla="*/ 2478 w 10000"/>
                <a:gd name="connsiteY5" fmla="*/ 9274 h 10000"/>
                <a:gd name="connsiteX6" fmla="*/ 4898 w 10000"/>
                <a:gd name="connsiteY6" fmla="*/ 9956 h 10000"/>
                <a:gd name="connsiteX7" fmla="*/ 6512 w 10000"/>
                <a:gd name="connsiteY7" fmla="*/ 9274 h 10000"/>
                <a:gd name="connsiteX8" fmla="*/ 7723 w 10000"/>
                <a:gd name="connsiteY8" fmla="*/ 6554 h 10000"/>
                <a:gd name="connsiteX9" fmla="*/ 9566 w 10000"/>
                <a:gd name="connsiteY9" fmla="*/ 8533 h 10000"/>
                <a:gd name="connsiteX10" fmla="*/ 10000 w 10000"/>
                <a:gd name="connsiteY10" fmla="*/ 5294 h 10000"/>
                <a:gd name="connsiteX11" fmla="*/ 9293 w 10000"/>
                <a:gd name="connsiteY11" fmla="*/ 2539 h 10000"/>
                <a:gd name="connsiteX12" fmla="*/ 7273 w 10000"/>
                <a:gd name="connsiteY12" fmla="*/ 5373 h 10000"/>
                <a:gd name="connsiteX13" fmla="*/ 8021 w 10000"/>
                <a:gd name="connsiteY13" fmla="*/ 4765 h 10000"/>
                <a:gd name="connsiteX14" fmla="*/ 6143 w 10000"/>
                <a:gd name="connsiteY14" fmla="*/ 2882 h 10000"/>
                <a:gd name="connsiteX15" fmla="*/ 5505 w 10000"/>
                <a:gd name="connsiteY15" fmla="*/ 979 h 10000"/>
                <a:gd name="connsiteX16" fmla="*/ 5260 w 10000"/>
                <a:gd name="connsiteY16" fmla="*/ 850 h 10000"/>
                <a:gd name="connsiteX17" fmla="*/ 4325 w 10000"/>
                <a:gd name="connsiteY17" fmla="*/ 576 h 10000"/>
                <a:gd name="connsiteX18" fmla="*/ 3171 w 10000"/>
                <a:gd name="connsiteY18" fmla="*/ 0 h 10000"/>
                <a:gd name="connsiteX19" fmla="*/ 2472 w 10000"/>
                <a:gd name="connsiteY19" fmla="*/ 1770 h 10000"/>
                <a:gd name="connsiteX20" fmla="*/ 2243 w 10000"/>
                <a:gd name="connsiteY20" fmla="*/ 3463 h 10000"/>
                <a:gd name="connsiteX21" fmla="*/ 2267 w 10000"/>
                <a:gd name="connsiteY21" fmla="*/ 3898 h 10000"/>
                <a:gd name="connsiteX22" fmla="*/ 1094 w 10000"/>
                <a:gd name="connsiteY22" fmla="*/ 2796 h 10000"/>
                <a:gd name="connsiteX23" fmla="*/ 2331 w 10000"/>
                <a:gd name="connsiteY23" fmla="*/ 4409 h 10000"/>
                <a:gd name="connsiteX24" fmla="*/ 1554 w 10000"/>
                <a:gd name="connsiteY24" fmla="*/ 2972 h 10000"/>
                <a:gd name="connsiteX25" fmla="*/ 0 w 10000"/>
                <a:gd name="connsiteY25" fmla="*/ 4763 h 10000"/>
                <a:gd name="connsiteX26" fmla="*/ 1010 w 10000"/>
                <a:gd name="connsiteY26" fmla="*/ 5529 h 10000"/>
                <a:gd name="connsiteX0" fmla="*/ 1010 w 10000"/>
                <a:gd name="connsiteY0" fmla="*/ 5529 h 10000"/>
                <a:gd name="connsiteX1" fmla="*/ 738 w 10000"/>
                <a:gd name="connsiteY1" fmla="*/ 9656 h 10000"/>
                <a:gd name="connsiteX2" fmla="*/ 305 w 10000"/>
                <a:gd name="connsiteY2" fmla="*/ 9812 h 10000"/>
                <a:gd name="connsiteX3" fmla="*/ 829 w 10000"/>
                <a:gd name="connsiteY3" fmla="*/ 9598 h 10000"/>
                <a:gd name="connsiteX4" fmla="*/ 2369 w 10000"/>
                <a:gd name="connsiteY4" fmla="*/ 9984 h 10000"/>
                <a:gd name="connsiteX5" fmla="*/ 2478 w 10000"/>
                <a:gd name="connsiteY5" fmla="*/ 9274 h 10000"/>
                <a:gd name="connsiteX6" fmla="*/ 4898 w 10000"/>
                <a:gd name="connsiteY6" fmla="*/ 9956 h 10000"/>
                <a:gd name="connsiteX7" fmla="*/ 6512 w 10000"/>
                <a:gd name="connsiteY7" fmla="*/ 9274 h 10000"/>
                <a:gd name="connsiteX8" fmla="*/ 7723 w 10000"/>
                <a:gd name="connsiteY8" fmla="*/ 6554 h 10000"/>
                <a:gd name="connsiteX9" fmla="*/ 9566 w 10000"/>
                <a:gd name="connsiteY9" fmla="*/ 8533 h 10000"/>
                <a:gd name="connsiteX10" fmla="*/ 10000 w 10000"/>
                <a:gd name="connsiteY10" fmla="*/ 5294 h 10000"/>
                <a:gd name="connsiteX11" fmla="*/ 9293 w 10000"/>
                <a:gd name="connsiteY11" fmla="*/ 2539 h 10000"/>
                <a:gd name="connsiteX12" fmla="*/ 7273 w 10000"/>
                <a:gd name="connsiteY12" fmla="*/ 5373 h 10000"/>
                <a:gd name="connsiteX13" fmla="*/ 8021 w 10000"/>
                <a:gd name="connsiteY13" fmla="*/ 4765 h 10000"/>
                <a:gd name="connsiteX14" fmla="*/ 6143 w 10000"/>
                <a:gd name="connsiteY14" fmla="*/ 2882 h 10000"/>
                <a:gd name="connsiteX15" fmla="*/ 5505 w 10000"/>
                <a:gd name="connsiteY15" fmla="*/ 979 h 10000"/>
                <a:gd name="connsiteX16" fmla="*/ 5260 w 10000"/>
                <a:gd name="connsiteY16" fmla="*/ 850 h 10000"/>
                <a:gd name="connsiteX17" fmla="*/ 4325 w 10000"/>
                <a:gd name="connsiteY17" fmla="*/ 576 h 10000"/>
                <a:gd name="connsiteX18" fmla="*/ 3171 w 10000"/>
                <a:gd name="connsiteY18" fmla="*/ 0 h 10000"/>
                <a:gd name="connsiteX19" fmla="*/ 2472 w 10000"/>
                <a:gd name="connsiteY19" fmla="*/ 1770 h 10000"/>
                <a:gd name="connsiteX20" fmla="*/ 2243 w 10000"/>
                <a:gd name="connsiteY20" fmla="*/ 3463 h 10000"/>
                <a:gd name="connsiteX21" fmla="*/ 2267 w 10000"/>
                <a:gd name="connsiteY21" fmla="*/ 3898 h 10000"/>
                <a:gd name="connsiteX22" fmla="*/ 2454 w 10000"/>
                <a:gd name="connsiteY22" fmla="*/ 3694 h 10000"/>
                <a:gd name="connsiteX23" fmla="*/ 2331 w 10000"/>
                <a:gd name="connsiteY23" fmla="*/ 4409 h 10000"/>
                <a:gd name="connsiteX24" fmla="*/ 1554 w 10000"/>
                <a:gd name="connsiteY24" fmla="*/ 2972 h 10000"/>
                <a:gd name="connsiteX25" fmla="*/ 0 w 10000"/>
                <a:gd name="connsiteY25" fmla="*/ 4763 h 10000"/>
                <a:gd name="connsiteX26" fmla="*/ 1010 w 10000"/>
                <a:gd name="connsiteY26" fmla="*/ 5529 h 10000"/>
                <a:gd name="connsiteX0" fmla="*/ 1010 w 10000"/>
                <a:gd name="connsiteY0" fmla="*/ 5529 h 10000"/>
                <a:gd name="connsiteX1" fmla="*/ 738 w 10000"/>
                <a:gd name="connsiteY1" fmla="*/ 9656 h 10000"/>
                <a:gd name="connsiteX2" fmla="*/ 305 w 10000"/>
                <a:gd name="connsiteY2" fmla="*/ 9812 h 10000"/>
                <a:gd name="connsiteX3" fmla="*/ 829 w 10000"/>
                <a:gd name="connsiteY3" fmla="*/ 9598 h 10000"/>
                <a:gd name="connsiteX4" fmla="*/ 2369 w 10000"/>
                <a:gd name="connsiteY4" fmla="*/ 9984 h 10000"/>
                <a:gd name="connsiteX5" fmla="*/ 2478 w 10000"/>
                <a:gd name="connsiteY5" fmla="*/ 9274 h 10000"/>
                <a:gd name="connsiteX6" fmla="*/ 4898 w 10000"/>
                <a:gd name="connsiteY6" fmla="*/ 9956 h 10000"/>
                <a:gd name="connsiteX7" fmla="*/ 6512 w 10000"/>
                <a:gd name="connsiteY7" fmla="*/ 9274 h 10000"/>
                <a:gd name="connsiteX8" fmla="*/ 7723 w 10000"/>
                <a:gd name="connsiteY8" fmla="*/ 6554 h 10000"/>
                <a:gd name="connsiteX9" fmla="*/ 9566 w 10000"/>
                <a:gd name="connsiteY9" fmla="*/ 8533 h 10000"/>
                <a:gd name="connsiteX10" fmla="*/ 10000 w 10000"/>
                <a:gd name="connsiteY10" fmla="*/ 5294 h 10000"/>
                <a:gd name="connsiteX11" fmla="*/ 9293 w 10000"/>
                <a:gd name="connsiteY11" fmla="*/ 2539 h 10000"/>
                <a:gd name="connsiteX12" fmla="*/ 7273 w 10000"/>
                <a:gd name="connsiteY12" fmla="*/ 5373 h 10000"/>
                <a:gd name="connsiteX13" fmla="*/ 8021 w 10000"/>
                <a:gd name="connsiteY13" fmla="*/ 4765 h 10000"/>
                <a:gd name="connsiteX14" fmla="*/ 6143 w 10000"/>
                <a:gd name="connsiteY14" fmla="*/ 2882 h 10000"/>
                <a:gd name="connsiteX15" fmla="*/ 5505 w 10000"/>
                <a:gd name="connsiteY15" fmla="*/ 979 h 10000"/>
                <a:gd name="connsiteX16" fmla="*/ 5260 w 10000"/>
                <a:gd name="connsiteY16" fmla="*/ 850 h 10000"/>
                <a:gd name="connsiteX17" fmla="*/ 4325 w 10000"/>
                <a:gd name="connsiteY17" fmla="*/ 576 h 10000"/>
                <a:gd name="connsiteX18" fmla="*/ 3171 w 10000"/>
                <a:gd name="connsiteY18" fmla="*/ 0 h 10000"/>
                <a:gd name="connsiteX19" fmla="*/ 2472 w 10000"/>
                <a:gd name="connsiteY19" fmla="*/ 1770 h 10000"/>
                <a:gd name="connsiteX20" fmla="*/ 2243 w 10000"/>
                <a:gd name="connsiteY20" fmla="*/ 3463 h 10000"/>
                <a:gd name="connsiteX21" fmla="*/ 2267 w 10000"/>
                <a:gd name="connsiteY21" fmla="*/ 3898 h 10000"/>
                <a:gd name="connsiteX22" fmla="*/ 2454 w 10000"/>
                <a:gd name="connsiteY22" fmla="*/ 3694 h 10000"/>
                <a:gd name="connsiteX23" fmla="*/ 2331 w 10000"/>
                <a:gd name="connsiteY23" fmla="*/ 4409 h 10000"/>
                <a:gd name="connsiteX24" fmla="*/ 2156 w 10000"/>
                <a:gd name="connsiteY24" fmla="*/ 3663 h 10000"/>
                <a:gd name="connsiteX25" fmla="*/ 0 w 10000"/>
                <a:gd name="connsiteY25" fmla="*/ 4763 h 10000"/>
                <a:gd name="connsiteX26" fmla="*/ 1010 w 10000"/>
                <a:gd name="connsiteY26" fmla="*/ 5529 h 10000"/>
                <a:gd name="connsiteX0" fmla="*/ 713 w 9703"/>
                <a:gd name="connsiteY0" fmla="*/ 5529 h 10000"/>
                <a:gd name="connsiteX1" fmla="*/ 441 w 9703"/>
                <a:gd name="connsiteY1" fmla="*/ 9656 h 10000"/>
                <a:gd name="connsiteX2" fmla="*/ 8 w 9703"/>
                <a:gd name="connsiteY2" fmla="*/ 9812 h 10000"/>
                <a:gd name="connsiteX3" fmla="*/ 532 w 9703"/>
                <a:gd name="connsiteY3" fmla="*/ 9598 h 10000"/>
                <a:gd name="connsiteX4" fmla="*/ 2072 w 9703"/>
                <a:gd name="connsiteY4" fmla="*/ 9984 h 10000"/>
                <a:gd name="connsiteX5" fmla="*/ 2181 w 9703"/>
                <a:gd name="connsiteY5" fmla="*/ 9274 h 10000"/>
                <a:gd name="connsiteX6" fmla="*/ 4601 w 9703"/>
                <a:gd name="connsiteY6" fmla="*/ 9956 h 10000"/>
                <a:gd name="connsiteX7" fmla="*/ 6215 w 9703"/>
                <a:gd name="connsiteY7" fmla="*/ 9274 h 10000"/>
                <a:gd name="connsiteX8" fmla="*/ 7426 w 9703"/>
                <a:gd name="connsiteY8" fmla="*/ 6554 h 10000"/>
                <a:gd name="connsiteX9" fmla="*/ 9269 w 9703"/>
                <a:gd name="connsiteY9" fmla="*/ 8533 h 10000"/>
                <a:gd name="connsiteX10" fmla="*/ 9703 w 9703"/>
                <a:gd name="connsiteY10" fmla="*/ 5294 h 10000"/>
                <a:gd name="connsiteX11" fmla="*/ 8996 w 9703"/>
                <a:gd name="connsiteY11" fmla="*/ 2539 h 10000"/>
                <a:gd name="connsiteX12" fmla="*/ 6976 w 9703"/>
                <a:gd name="connsiteY12" fmla="*/ 5373 h 10000"/>
                <a:gd name="connsiteX13" fmla="*/ 7724 w 9703"/>
                <a:gd name="connsiteY13" fmla="*/ 4765 h 10000"/>
                <a:gd name="connsiteX14" fmla="*/ 5846 w 9703"/>
                <a:gd name="connsiteY14" fmla="*/ 2882 h 10000"/>
                <a:gd name="connsiteX15" fmla="*/ 5208 w 9703"/>
                <a:gd name="connsiteY15" fmla="*/ 979 h 10000"/>
                <a:gd name="connsiteX16" fmla="*/ 4963 w 9703"/>
                <a:gd name="connsiteY16" fmla="*/ 850 h 10000"/>
                <a:gd name="connsiteX17" fmla="*/ 4028 w 9703"/>
                <a:gd name="connsiteY17" fmla="*/ 576 h 10000"/>
                <a:gd name="connsiteX18" fmla="*/ 2874 w 9703"/>
                <a:gd name="connsiteY18" fmla="*/ 0 h 10000"/>
                <a:gd name="connsiteX19" fmla="*/ 2175 w 9703"/>
                <a:gd name="connsiteY19" fmla="*/ 1770 h 10000"/>
                <a:gd name="connsiteX20" fmla="*/ 1946 w 9703"/>
                <a:gd name="connsiteY20" fmla="*/ 3463 h 10000"/>
                <a:gd name="connsiteX21" fmla="*/ 1970 w 9703"/>
                <a:gd name="connsiteY21" fmla="*/ 3898 h 10000"/>
                <a:gd name="connsiteX22" fmla="*/ 2157 w 9703"/>
                <a:gd name="connsiteY22" fmla="*/ 3694 h 10000"/>
                <a:gd name="connsiteX23" fmla="*/ 2034 w 9703"/>
                <a:gd name="connsiteY23" fmla="*/ 4409 h 10000"/>
                <a:gd name="connsiteX24" fmla="*/ 1859 w 9703"/>
                <a:gd name="connsiteY24" fmla="*/ 3663 h 10000"/>
                <a:gd name="connsiteX25" fmla="*/ 2057 w 9703"/>
                <a:gd name="connsiteY25" fmla="*/ 4703 h 10000"/>
                <a:gd name="connsiteX26" fmla="*/ 713 w 9703"/>
                <a:gd name="connsiteY26" fmla="*/ 5529 h 10000"/>
                <a:gd name="connsiteX0" fmla="*/ 2050 w 10000"/>
                <a:gd name="connsiteY0" fmla="*/ 6546 h 10000"/>
                <a:gd name="connsiteX1" fmla="*/ 454 w 10000"/>
                <a:gd name="connsiteY1" fmla="*/ 9656 h 10000"/>
                <a:gd name="connsiteX2" fmla="*/ 8 w 10000"/>
                <a:gd name="connsiteY2" fmla="*/ 9812 h 10000"/>
                <a:gd name="connsiteX3" fmla="*/ 548 w 10000"/>
                <a:gd name="connsiteY3" fmla="*/ 9598 h 10000"/>
                <a:gd name="connsiteX4" fmla="*/ 2135 w 10000"/>
                <a:gd name="connsiteY4" fmla="*/ 9984 h 10000"/>
                <a:gd name="connsiteX5" fmla="*/ 2248 w 10000"/>
                <a:gd name="connsiteY5" fmla="*/ 9274 h 10000"/>
                <a:gd name="connsiteX6" fmla="*/ 4742 w 10000"/>
                <a:gd name="connsiteY6" fmla="*/ 9956 h 10000"/>
                <a:gd name="connsiteX7" fmla="*/ 6405 w 10000"/>
                <a:gd name="connsiteY7" fmla="*/ 9274 h 10000"/>
                <a:gd name="connsiteX8" fmla="*/ 7653 w 10000"/>
                <a:gd name="connsiteY8" fmla="*/ 6554 h 10000"/>
                <a:gd name="connsiteX9" fmla="*/ 9553 w 10000"/>
                <a:gd name="connsiteY9" fmla="*/ 8533 h 10000"/>
                <a:gd name="connsiteX10" fmla="*/ 10000 w 10000"/>
                <a:gd name="connsiteY10" fmla="*/ 5294 h 10000"/>
                <a:gd name="connsiteX11" fmla="*/ 9271 w 10000"/>
                <a:gd name="connsiteY11" fmla="*/ 2539 h 10000"/>
                <a:gd name="connsiteX12" fmla="*/ 7190 w 10000"/>
                <a:gd name="connsiteY12" fmla="*/ 5373 h 10000"/>
                <a:gd name="connsiteX13" fmla="*/ 7960 w 10000"/>
                <a:gd name="connsiteY13" fmla="*/ 4765 h 10000"/>
                <a:gd name="connsiteX14" fmla="*/ 6025 w 10000"/>
                <a:gd name="connsiteY14" fmla="*/ 2882 h 10000"/>
                <a:gd name="connsiteX15" fmla="*/ 5367 w 10000"/>
                <a:gd name="connsiteY15" fmla="*/ 979 h 10000"/>
                <a:gd name="connsiteX16" fmla="*/ 5115 w 10000"/>
                <a:gd name="connsiteY16" fmla="*/ 850 h 10000"/>
                <a:gd name="connsiteX17" fmla="*/ 4151 w 10000"/>
                <a:gd name="connsiteY17" fmla="*/ 576 h 10000"/>
                <a:gd name="connsiteX18" fmla="*/ 2962 w 10000"/>
                <a:gd name="connsiteY18" fmla="*/ 0 h 10000"/>
                <a:gd name="connsiteX19" fmla="*/ 2242 w 10000"/>
                <a:gd name="connsiteY19" fmla="*/ 1770 h 10000"/>
                <a:gd name="connsiteX20" fmla="*/ 2006 w 10000"/>
                <a:gd name="connsiteY20" fmla="*/ 3463 h 10000"/>
                <a:gd name="connsiteX21" fmla="*/ 2030 w 10000"/>
                <a:gd name="connsiteY21" fmla="*/ 3898 h 10000"/>
                <a:gd name="connsiteX22" fmla="*/ 2223 w 10000"/>
                <a:gd name="connsiteY22" fmla="*/ 3694 h 10000"/>
                <a:gd name="connsiteX23" fmla="*/ 2096 w 10000"/>
                <a:gd name="connsiteY23" fmla="*/ 4409 h 10000"/>
                <a:gd name="connsiteX24" fmla="*/ 1916 w 10000"/>
                <a:gd name="connsiteY24" fmla="*/ 3663 h 10000"/>
                <a:gd name="connsiteX25" fmla="*/ 2120 w 10000"/>
                <a:gd name="connsiteY25" fmla="*/ 4703 h 10000"/>
                <a:gd name="connsiteX26" fmla="*/ 2050 w 10000"/>
                <a:gd name="connsiteY26" fmla="*/ 6546 h 10000"/>
                <a:gd name="connsiteX0" fmla="*/ 2045 w 9995"/>
                <a:gd name="connsiteY0" fmla="*/ 6546 h 9984"/>
                <a:gd name="connsiteX1" fmla="*/ 449 w 9995"/>
                <a:gd name="connsiteY1" fmla="*/ 9656 h 9984"/>
                <a:gd name="connsiteX2" fmla="*/ 3 w 9995"/>
                <a:gd name="connsiteY2" fmla="*/ 9812 h 9984"/>
                <a:gd name="connsiteX3" fmla="*/ 2077 w 9995"/>
                <a:gd name="connsiteY3" fmla="*/ 6960 h 9984"/>
                <a:gd name="connsiteX4" fmla="*/ 2130 w 9995"/>
                <a:gd name="connsiteY4" fmla="*/ 9984 h 9984"/>
                <a:gd name="connsiteX5" fmla="*/ 2243 w 9995"/>
                <a:gd name="connsiteY5" fmla="*/ 9274 h 9984"/>
                <a:gd name="connsiteX6" fmla="*/ 4737 w 9995"/>
                <a:gd name="connsiteY6" fmla="*/ 9956 h 9984"/>
                <a:gd name="connsiteX7" fmla="*/ 6400 w 9995"/>
                <a:gd name="connsiteY7" fmla="*/ 9274 h 9984"/>
                <a:gd name="connsiteX8" fmla="*/ 7648 w 9995"/>
                <a:gd name="connsiteY8" fmla="*/ 6554 h 9984"/>
                <a:gd name="connsiteX9" fmla="*/ 9548 w 9995"/>
                <a:gd name="connsiteY9" fmla="*/ 8533 h 9984"/>
                <a:gd name="connsiteX10" fmla="*/ 9995 w 9995"/>
                <a:gd name="connsiteY10" fmla="*/ 5294 h 9984"/>
                <a:gd name="connsiteX11" fmla="*/ 9266 w 9995"/>
                <a:gd name="connsiteY11" fmla="*/ 2539 h 9984"/>
                <a:gd name="connsiteX12" fmla="*/ 7185 w 9995"/>
                <a:gd name="connsiteY12" fmla="*/ 5373 h 9984"/>
                <a:gd name="connsiteX13" fmla="*/ 7955 w 9995"/>
                <a:gd name="connsiteY13" fmla="*/ 4765 h 9984"/>
                <a:gd name="connsiteX14" fmla="*/ 6020 w 9995"/>
                <a:gd name="connsiteY14" fmla="*/ 2882 h 9984"/>
                <a:gd name="connsiteX15" fmla="*/ 5362 w 9995"/>
                <a:gd name="connsiteY15" fmla="*/ 979 h 9984"/>
                <a:gd name="connsiteX16" fmla="*/ 5110 w 9995"/>
                <a:gd name="connsiteY16" fmla="*/ 850 h 9984"/>
                <a:gd name="connsiteX17" fmla="*/ 4146 w 9995"/>
                <a:gd name="connsiteY17" fmla="*/ 576 h 9984"/>
                <a:gd name="connsiteX18" fmla="*/ 2957 w 9995"/>
                <a:gd name="connsiteY18" fmla="*/ 0 h 9984"/>
                <a:gd name="connsiteX19" fmla="*/ 2237 w 9995"/>
                <a:gd name="connsiteY19" fmla="*/ 1770 h 9984"/>
                <a:gd name="connsiteX20" fmla="*/ 2001 w 9995"/>
                <a:gd name="connsiteY20" fmla="*/ 3463 h 9984"/>
                <a:gd name="connsiteX21" fmla="*/ 2025 w 9995"/>
                <a:gd name="connsiteY21" fmla="*/ 3898 h 9984"/>
                <a:gd name="connsiteX22" fmla="*/ 2218 w 9995"/>
                <a:gd name="connsiteY22" fmla="*/ 3694 h 9984"/>
                <a:gd name="connsiteX23" fmla="*/ 2091 w 9995"/>
                <a:gd name="connsiteY23" fmla="*/ 4409 h 9984"/>
                <a:gd name="connsiteX24" fmla="*/ 1911 w 9995"/>
                <a:gd name="connsiteY24" fmla="*/ 3663 h 9984"/>
                <a:gd name="connsiteX25" fmla="*/ 2115 w 9995"/>
                <a:gd name="connsiteY25" fmla="*/ 4703 h 9984"/>
                <a:gd name="connsiteX26" fmla="*/ 2045 w 9995"/>
                <a:gd name="connsiteY26" fmla="*/ 6546 h 9984"/>
                <a:gd name="connsiteX0" fmla="*/ 1603 w 9557"/>
                <a:gd name="connsiteY0" fmla="*/ 6556 h 10000"/>
                <a:gd name="connsiteX1" fmla="*/ 6 w 9557"/>
                <a:gd name="connsiteY1" fmla="*/ 9671 h 10000"/>
                <a:gd name="connsiteX2" fmla="*/ 2233 w 9557"/>
                <a:gd name="connsiteY2" fmla="*/ 7881 h 10000"/>
                <a:gd name="connsiteX3" fmla="*/ 1635 w 9557"/>
                <a:gd name="connsiteY3" fmla="*/ 6971 h 10000"/>
                <a:gd name="connsiteX4" fmla="*/ 1688 w 9557"/>
                <a:gd name="connsiteY4" fmla="*/ 10000 h 10000"/>
                <a:gd name="connsiteX5" fmla="*/ 1801 w 9557"/>
                <a:gd name="connsiteY5" fmla="*/ 9289 h 10000"/>
                <a:gd name="connsiteX6" fmla="*/ 4296 w 9557"/>
                <a:gd name="connsiteY6" fmla="*/ 9972 h 10000"/>
                <a:gd name="connsiteX7" fmla="*/ 5960 w 9557"/>
                <a:gd name="connsiteY7" fmla="*/ 9289 h 10000"/>
                <a:gd name="connsiteX8" fmla="*/ 7209 w 9557"/>
                <a:gd name="connsiteY8" fmla="*/ 6565 h 10000"/>
                <a:gd name="connsiteX9" fmla="*/ 9110 w 9557"/>
                <a:gd name="connsiteY9" fmla="*/ 8547 h 10000"/>
                <a:gd name="connsiteX10" fmla="*/ 9557 w 9557"/>
                <a:gd name="connsiteY10" fmla="*/ 5302 h 10000"/>
                <a:gd name="connsiteX11" fmla="*/ 8828 w 9557"/>
                <a:gd name="connsiteY11" fmla="*/ 2543 h 10000"/>
                <a:gd name="connsiteX12" fmla="*/ 6746 w 9557"/>
                <a:gd name="connsiteY12" fmla="*/ 5382 h 10000"/>
                <a:gd name="connsiteX13" fmla="*/ 7516 w 9557"/>
                <a:gd name="connsiteY13" fmla="*/ 4773 h 10000"/>
                <a:gd name="connsiteX14" fmla="*/ 5580 w 9557"/>
                <a:gd name="connsiteY14" fmla="*/ 2887 h 10000"/>
                <a:gd name="connsiteX15" fmla="*/ 4922 w 9557"/>
                <a:gd name="connsiteY15" fmla="*/ 981 h 10000"/>
                <a:gd name="connsiteX16" fmla="*/ 4670 w 9557"/>
                <a:gd name="connsiteY16" fmla="*/ 851 h 10000"/>
                <a:gd name="connsiteX17" fmla="*/ 3705 w 9557"/>
                <a:gd name="connsiteY17" fmla="*/ 577 h 10000"/>
                <a:gd name="connsiteX18" fmla="*/ 2515 w 9557"/>
                <a:gd name="connsiteY18" fmla="*/ 0 h 10000"/>
                <a:gd name="connsiteX19" fmla="*/ 1795 w 9557"/>
                <a:gd name="connsiteY19" fmla="*/ 1773 h 10000"/>
                <a:gd name="connsiteX20" fmla="*/ 1559 w 9557"/>
                <a:gd name="connsiteY20" fmla="*/ 3469 h 10000"/>
                <a:gd name="connsiteX21" fmla="*/ 1583 w 9557"/>
                <a:gd name="connsiteY21" fmla="*/ 3904 h 10000"/>
                <a:gd name="connsiteX22" fmla="*/ 1776 w 9557"/>
                <a:gd name="connsiteY22" fmla="*/ 3700 h 10000"/>
                <a:gd name="connsiteX23" fmla="*/ 1649 w 9557"/>
                <a:gd name="connsiteY23" fmla="*/ 4416 h 10000"/>
                <a:gd name="connsiteX24" fmla="*/ 1469 w 9557"/>
                <a:gd name="connsiteY24" fmla="*/ 3669 h 10000"/>
                <a:gd name="connsiteX25" fmla="*/ 1673 w 9557"/>
                <a:gd name="connsiteY25" fmla="*/ 4711 h 10000"/>
                <a:gd name="connsiteX26" fmla="*/ 1603 w 9557"/>
                <a:gd name="connsiteY26" fmla="*/ 6556 h 10000"/>
                <a:gd name="connsiteX0" fmla="*/ 141 w 8464"/>
                <a:gd name="connsiteY0" fmla="*/ 6556 h 10000"/>
                <a:gd name="connsiteX1" fmla="*/ 373 w 8464"/>
                <a:gd name="connsiteY1" fmla="*/ 7883 h 10000"/>
                <a:gd name="connsiteX2" fmla="*/ 801 w 8464"/>
                <a:gd name="connsiteY2" fmla="*/ 7881 h 10000"/>
                <a:gd name="connsiteX3" fmla="*/ 175 w 8464"/>
                <a:gd name="connsiteY3" fmla="*/ 6971 h 10000"/>
                <a:gd name="connsiteX4" fmla="*/ 230 w 8464"/>
                <a:gd name="connsiteY4" fmla="*/ 10000 h 10000"/>
                <a:gd name="connsiteX5" fmla="*/ 348 w 8464"/>
                <a:gd name="connsiteY5" fmla="*/ 9289 h 10000"/>
                <a:gd name="connsiteX6" fmla="*/ 2959 w 8464"/>
                <a:gd name="connsiteY6" fmla="*/ 9972 h 10000"/>
                <a:gd name="connsiteX7" fmla="*/ 4700 w 8464"/>
                <a:gd name="connsiteY7" fmla="*/ 9289 h 10000"/>
                <a:gd name="connsiteX8" fmla="*/ 6007 w 8464"/>
                <a:gd name="connsiteY8" fmla="*/ 6565 h 10000"/>
                <a:gd name="connsiteX9" fmla="*/ 7996 w 8464"/>
                <a:gd name="connsiteY9" fmla="*/ 8547 h 10000"/>
                <a:gd name="connsiteX10" fmla="*/ 8464 w 8464"/>
                <a:gd name="connsiteY10" fmla="*/ 5302 h 10000"/>
                <a:gd name="connsiteX11" fmla="*/ 7701 w 8464"/>
                <a:gd name="connsiteY11" fmla="*/ 2543 h 10000"/>
                <a:gd name="connsiteX12" fmla="*/ 5523 w 8464"/>
                <a:gd name="connsiteY12" fmla="*/ 5382 h 10000"/>
                <a:gd name="connsiteX13" fmla="*/ 6328 w 8464"/>
                <a:gd name="connsiteY13" fmla="*/ 4773 h 10000"/>
                <a:gd name="connsiteX14" fmla="*/ 4303 w 8464"/>
                <a:gd name="connsiteY14" fmla="*/ 2887 h 10000"/>
                <a:gd name="connsiteX15" fmla="*/ 3614 w 8464"/>
                <a:gd name="connsiteY15" fmla="*/ 981 h 10000"/>
                <a:gd name="connsiteX16" fmla="*/ 3350 w 8464"/>
                <a:gd name="connsiteY16" fmla="*/ 851 h 10000"/>
                <a:gd name="connsiteX17" fmla="*/ 2341 w 8464"/>
                <a:gd name="connsiteY17" fmla="*/ 577 h 10000"/>
                <a:gd name="connsiteX18" fmla="*/ 1096 w 8464"/>
                <a:gd name="connsiteY18" fmla="*/ 0 h 10000"/>
                <a:gd name="connsiteX19" fmla="*/ 342 w 8464"/>
                <a:gd name="connsiteY19" fmla="*/ 1773 h 10000"/>
                <a:gd name="connsiteX20" fmla="*/ 95 w 8464"/>
                <a:gd name="connsiteY20" fmla="*/ 3469 h 10000"/>
                <a:gd name="connsiteX21" fmla="*/ 120 w 8464"/>
                <a:gd name="connsiteY21" fmla="*/ 3904 h 10000"/>
                <a:gd name="connsiteX22" fmla="*/ 322 w 8464"/>
                <a:gd name="connsiteY22" fmla="*/ 3700 h 10000"/>
                <a:gd name="connsiteX23" fmla="*/ 189 w 8464"/>
                <a:gd name="connsiteY23" fmla="*/ 4416 h 10000"/>
                <a:gd name="connsiteX24" fmla="*/ 1 w 8464"/>
                <a:gd name="connsiteY24" fmla="*/ 3669 h 10000"/>
                <a:gd name="connsiteX25" fmla="*/ 215 w 8464"/>
                <a:gd name="connsiteY25" fmla="*/ 4711 h 10000"/>
                <a:gd name="connsiteX26" fmla="*/ 141 w 8464"/>
                <a:gd name="connsiteY26" fmla="*/ 6556 h 10000"/>
                <a:gd name="connsiteX0" fmla="*/ 167 w 10000"/>
                <a:gd name="connsiteY0" fmla="*/ 6556 h 9972"/>
                <a:gd name="connsiteX1" fmla="*/ 441 w 10000"/>
                <a:gd name="connsiteY1" fmla="*/ 7883 h 9972"/>
                <a:gd name="connsiteX2" fmla="*/ 946 w 10000"/>
                <a:gd name="connsiteY2" fmla="*/ 7881 h 9972"/>
                <a:gd name="connsiteX3" fmla="*/ 207 w 10000"/>
                <a:gd name="connsiteY3" fmla="*/ 6971 h 9972"/>
                <a:gd name="connsiteX4" fmla="*/ 1069 w 10000"/>
                <a:gd name="connsiteY4" fmla="*/ 8621 h 9972"/>
                <a:gd name="connsiteX5" fmla="*/ 411 w 10000"/>
                <a:gd name="connsiteY5" fmla="*/ 9289 h 9972"/>
                <a:gd name="connsiteX6" fmla="*/ 3496 w 10000"/>
                <a:gd name="connsiteY6" fmla="*/ 9972 h 9972"/>
                <a:gd name="connsiteX7" fmla="*/ 5553 w 10000"/>
                <a:gd name="connsiteY7" fmla="*/ 9289 h 9972"/>
                <a:gd name="connsiteX8" fmla="*/ 7097 w 10000"/>
                <a:gd name="connsiteY8" fmla="*/ 6565 h 9972"/>
                <a:gd name="connsiteX9" fmla="*/ 9447 w 10000"/>
                <a:gd name="connsiteY9" fmla="*/ 8547 h 9972"/>
                <a:gd name="connsiteX10" fmla="*/ 10000 w 10000"/>
                <a:gd name="connsiteY10" fmla="*/ 5302 h 9972"/>
                <a:gd name="connsiteX11" fmla="*/ 9099 w 10000"/>
                <a:gd name="connsiteY11" fmla="*/ 2543 h 9972"/>
                <a:gd name="connsiteX12" fmla="*/ 6525 w 10000"/>
                <a:gd name="connsiteY12" fmla="*/ 5382 h 9972"/>
                <a:gd name="connsiteX13" fmla="*/ 7476 w 10000"/>
                <a:gd name="connsiteY13" fmla="*/ 4773 h 9972"/>
                <a:gd name="connsiteX14" fmla="*/ 5084 w 10000"/>
                <a:gd name="connsiteY14" fmla="*/ 2887 h 9972"/>
                <a:gd name="connsiteX15" fmla="*/ 4270 w 10000"/>
                <a:gd name="connsiteY15" fmla="*/ 981 h 9972"/>
                <a:gd name="connsiteX16" fmla="*/ 3958 w 10000"/>
                <a:gd name="connsiteY16" fmla="*/ 851 h 9972"/>
                <a:gd name="connsiteX17" fmla="*/ 2766 w 10000"/>
                <a:gd name="connsiteY17" fmla="*/ 577 h 9972"/>
                <a:gd name="connsiteX18" fmla="*/ 1295 w 10000"/>
                <a:gd name="connsiteY18" fmla="*/ 0 h 9972"/>
                <a:gd name="connsiteX19" fmla="*/ 404 w 10000"/>
                <a:gd name="connsiteY19" fmla="*/ 1773 h 9972"/>
                <a:gd name="connsiteX20" fmla="*/ 112 w 10000"/>
                <a:gd name="connsiteY20" fmla="*/ 3469 h 9972"/>
                <a:gd name="connsiteX21" fmla="*/ 142 w 10000"/>
                <a:gd name="connsiteY21" fmla="*/ 3904 h 9972"/>
                <a:gd name="connsiteX22" fmla="*/ 380 w 10000"/>
                <a:gd name="connsiteY22" fmla="*/ 3700 h 9972"/>
                <a:gd name="connsiteX23" fmla="*/ 223 w 10000"/>
                <a:gd name="connsiteY23" fmla="*/ 4416 h 9972"/>
                <a:gd name="connsiteX24" fmla="*/ 1 w 10000"/>
                <a:gd name="connsiteY24" fmla="*/ 3669 h 9972"/>
                <a:gd name="connsiteX25" fmla="*/ 254 w 10000"/>
                <a:gd name="connsiteY25" fmla="*/ 4711 h 9972"/>
                <a:gd name="connsiteX26" fmla="*/ 167 w 10000"/>
                <a:gd name="connsiteY26" fmla="*/ 6556 h 9972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411 w 10000"/>
                <a:gd name="connsiteY5" fmla="*/ 9315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6525 w 10000"/>
                <a:gd name="connsiteY12" fmla="*/ 5397 h 10000"/>
                <a:gd name="connsiteX13" fmla="*/ 7476 w 10000"/>
                <a:gd name="connsiteY13" fmla="*/ 4786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411 w 10000"/>
                <a:gd name="connsiteY5" fmla="*/ 9315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5665 w 10000"/>
                <a:gd name="connsiteY12" fmla="*/ 7077 h 10000"/>
                <a:gd name="connsiteX13" fmla="*/ 7476 w 10000"/>
                <a:gd name="connsiteY13" fmla="*/ 4786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411 w 10000"/>
                <a:gd name="connsiteY5" fmla="*/ 9315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5665 w 10000"/>
                <a:gd name="connsiteY12" fmla="*/ 7077 h 10000"/>
                <a:gd name="connsiteX13" fmla="*/ 6206 w 10000"/>
                <a:gd name="connsiteY13" fmla="*/ 6470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411 w 10000"/>
                <a:gd name="connsiteY5" fmla="*/ 9315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5665 w 10000"/>
                <a:gd name="connsiteY12" fmla="*/ 7077 h 10000"/>
                <a:gd name="connsiteX13" fmla="*/ 6206 w 10000"/>
                <a:gd name="connsiteY13" fmla="*/ 6470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411 w 10000"/>
                <a:gd name="connsiteY5" fmla="*/ 9315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5665 w 10000"/>
                <a:gd name="connsiteY12" fmla="*/ 7077 h 10000"/>
                <a:gd name="connsiteX13" fmla="*/ 6729 w 10000"/>
                <a:gd name="connsiteY13" fmla="*/ 6188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411 w 10000"/>
                <a:gd name="connsiteY5" fmla="*/ 9315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5665 w 10000"/>
                <a:gd name="connsiteY12" fmla="*/ 7077 h 10000"/>
                <a:gd name="connsiteX13" fmla="*/ 6313 w 10000"/>
                <a:gd name="connsiteY13" fmla="*/ 6350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411 w 10000"/>
                <a:gd name="connsiteY5" fmla="*/ 9315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6179 w 10000"/>
                <a:gd name="connsiteY12" fmla="*/ 6389 h 10000"/>
                <a:gd name="connsiteX13" fmla="*/ 6313 w 10000"/>
                <a:gd name="connsiteY13" fmla="*/ 6350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  <a:gd name="connsiteX0" fmla="*/ 167 w 10000"/>
                <a:gd name="connsiteY0" fmla="*/ 6574 h 10000"/>
                <a:gd name="connsiteX1" fmla="*/ 441 w 10000"/>
                <a:gd name="connsiteY1" fmla="*/ 7905 h 10000"/>
                <a:gd name="connsiteX2" fmla="*/ 946 w 10000"/>
                <a:gd name="connsiteY2" fmla="*/ 7903 h 10000"/>
                <a:gd name="connsiteX3" fmla="*/ 207 w 10000"/>
                <a:gd name="connsiteY3" fmla="*/ 6991 h 10000"/>
                <a:gd name="connsiteX4" fmla="*/ 1069 w 10000"/>
                <a:gd name="connsiteY4" fmla="*/ 8645 h 10000"/>
                <a:gd name="connsiteX5" fmla="*/ 1177 w 10000"/>
                <a:gd name="connsiteY5" fmla="*/ 8724 h 10000"/>
                <a:gd name="connsiteX6" fmla="*/ 3496 w 10000"/>
                <a:gd name="connsiteY6" fmla="*/ 10000 h 10000"/>
                <a:gd name="connsiteX7" fmla="*/ 5327 w 10000"/>
                <a:gd name="connsiteY7" fmla="*/ 7864 h 10000"/>
                <a:gd name="connsiteX8" fmla="*/ 7097 w 10000"/>
                <a:gd name="connsiteY8" fmla="*/ 6583 h 10000"/>
                <a:gd name="connsiteX9" fmla="*/ 9447 w 10000"/>
                <a:gd name="connsiteY9" fmla="*/ 8571 h 10000"/>
                <a:gd name="connsiteX10" fmla="*/ 10000 w 10000"/>
                <a:gd name="connsiteY10" fmla="*/ 5317 h 10000"/>
                <a:gd name="connsiteX11" fmla="*/ 9099 w 10000"/>
                <a:gd name="connsiteY11" fmla="*/ 2550 h 10000"/>
                <a:gd name="connsiteX12" fmla="*/ 6179 w 10000"/>
                <a:gd name="connsiteY12" fmla="*/ 6389 h 10000"/>
                <a:gd name="connsiteX13" fmla="*/ 6313 w 10000"/>
                <a:gd name="connsiteY13" fmla="*/ 6350 h 10000"/>
                <a:gd name="connsiteX14" fmla="*/ 5084 w 10000"/>
                <a:gd name="connsiteY14" fmla="*/ 2895 h 10000"/>
                <a:gd name="connsiteX15" fmla="*/ 4270 w 10000"/>
                <a:gd name="connsiteY15" fmla="*/ 984 h 10000"/>
                <a:gd name="connsiteX16" fmla="*/ 3958 w 10000"/>
                <a:gd name="connsiteY16" fmla="*/ 853 h 10000"/>
                <a:gd name="connsiteX17" fmla="*/ 2766 w 10000"/>
                <a:gd name="connsiteY17" fmla="*/ 579 h 10000"/>
                <a:gd name="connsiteX18" fmla="*/ 1295 w 10000"/>
                <a:gd name="connsiteY18" fmla="*/ 0 h 10000"/>
                <a:gd name="connsiteX19" fmla="*/ 404 w 10000"/>
                <a:gd name="connsiteY19" fmla="*/ 1778 h 10000"/>
                <a:gd name="connsiteX20" fmla="*/ 112 w 10000"/>
                <a:gd name="connsiteY20" fmla="*/ 3479 h 10000"/>
                <a:gd name="connsiteX21" fmla="*/ 142 w 10000"/>
                <a:gd name="connsiteY21" fmla="*/ 3915 h 10000"/>
                <a:gd name="connsiteX22" fmla="*/ 380 w 10000"/>
                <a:gd name="connsiteY22" fmla="*/ 3710 h 10000"/>
                <a:gd name="connsiteX23" fmla="*/ 223 w 10000"/>
                <a:gd name="connsiteY23" fmla="*/ 4428 h 10000"/>
                <a:gd name="connsiteX24" fmla="*/ 1 w 10000"/>
                <a:gd name="connsiteY24" fmla="*/ 3679 h 10000"/>
                <a:gd name="connsiteX25" fmla="*/ 254 w 10000"/>
                <a:gd name="connsiteY25" fmla="*/ 4724 h 10000"/>
                <a:gd name="connsiteX26" fmla="*/ 167 w 10000"/>
                <a:gd name="connsiteY26" fmla="*/ 657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00" h="10000">
                  <a:moveTo>
                    <a:pt x="167" y="6574"/>
                  </a:moveTo>
                  <a:cubicBezTo>
                    <a:pt x="314" y="8031"/>
                    <a:pt x="292" y="6449"/>
                    <a:pt x="441" y="7905"/>
                  </a:cubicBezTo>
                  <a:lnTo>
                    <a:pt x="946" y="7903"/>
                  </a:lnTo>
                  <a:cubicBezTo>
                    <a:pt x="840" y="8635"/>
                    <a:pt x="312" y="6259"/>
                    <a:pt x="207" y="6991"/>
                  </a:cubicBezTo>
                  <a:cubicBezTo>
                    <a:pt x="229" y="8003"/>
                    <a:pt x="1046" y="7632"/>
                    <a:pt x="1069" y="8645"/>
                  </a:cubicBezTo>
                  <a:cubicBezTo>
                    <a:pt x="1239" y="7735"/>
                    <a:pt x="1007" y="9636"/>
                    <a:pt x="1177" y="8724"/>
                  </a:cubicBezTo>
                  <a:lnTo>
                    <a:pt x="3496" y="10000"/>
                  </a:lnTo>
                  <a:lnTo>
                    <a:pt x="5327" y="7864"/>
                  </a:lnTo>
                  <a:lnTo>
                    <a:pt x="7097" y="6583"/>
                  </a:lnTo>
                  <a:lnTo>
                    <a:pt x="9447" y="8571"/>
                  </a:lnTo>
                  <a:cubicBezTo>
                    <a:pt x="9630" y="7485"/>
                    <a:pt x="9816" y="6403"/>
                    <a:pt x="10000" y="5317"/>
                  </a:cubicBezTo>
                  <a:cubicBezTo>
                    <a:pt x="9589" y="3042"/>
                    <a:pt x="9511" y="4827"/>
                    <a:pt x="9099" y="2550"/>
                  </a:cubicBezTo>
                  <a:cubicBezTo>
                    <a:pt x="8241" y="3500"/>
                    <a:pt x="6012" y="6092"/>
                    <a:pt x="6179" y="6389"/>
                  </a:cubicBezTo>
                  <a:cubicBezTo>
                    <a:pt x="6359" y="6187"/>
                    <a:pt x="6430" y="6826"/>
                    <a:pt x="6313" y="6350"/>
                  </a:cubicBezTo>
                  <a:lnTo>
                    <a:pt x="5084" y="2895"/>
                  </a:lnTo>
                  <a:cubicBezTo>
                    <a:pt x="4863" y="1763"/>
                    <a:pt x="4490" y="2115"/>
                    <a:pt x="4270" y="984"/>
                  </a:cubicBezTo>
                  <a:cubicBezTo>
                    <a:pt x="4106" y="1068"/>
                    <a:pt x="4123" y="770"/>
                    <a:pt x="3958" y="853"/>
                  </a:cubicBezTo>
                  <a:lnTo>
                    <a:pt x="2766" y="579"/>
                  </a:lnTo>
                  <a:cubicBezTo>
                    <a:pt x="2598" y="-513"/>
                    <a:pt x="1465" y="1093"/>
                    <a:pt x="1295" y="0"/>
                  </a:cubicBezTo>
                  <a:cubicBezTo>
                    <a:pt x="1464" y="1359"/>
                    <a:pt x="236" y="419"/>
                    <a:pt x="404" y="1778"/>
                  </a:cubicBezTo>
                  <a:cubicBezTo>
                    <a:pt x="825" y="4373"/>
                    <a:pt x="-310" y="880"/>
                    <a:pt x="112" y="3479"/>
                  </a:cubicBezTo>
                  <a:cubicBezTo>
                    <a:pt x="-104" y="3661"/>
                    <a:pt x="388" y="4026"/>
                    <a:pt x="142" y="3915"/>
                  </a:cubicBezTo>
                  <a:cubicBezTo>
                    <a:pt x="-102" y="3804"/>
                    <a:pt x="195" y="3453"/>
                    <a:pt x="380" y="3710"/>
                  </a:cubicBezTo>
                  <a:cubicBezTo>
                    <a:pt x="175" y="3609"/>
                    <a:pt x="128" y="4399"/>
                    <a:pt x="223" y="4428"/>
                  </a:cubicBezTo>
                  <a:cubicBezTo>
                    <a:pt x="321" y="4457"/>
                    <a:pt x="271" y="3360"/>
                    <a:pt x="1" y="3679"/>
                  </a:cubicBezTo>
                  <a:cubicBezTo>
                    <a:pt x="-4" y="4323"/>
                    <a:pt x="258" y="4080"/>
                    <a:pt x="254" y="4724"/>
                  </a:cubicBezTo>
                  <a:cubicBezTo>
                    <a:pt x="224" y="5341"/>
                    <a:pt x="195" y="5959"/>
                    <a:pt x="167" y="657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IE" sz="2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51" name="Connecteur droit 50"/>
            <p:cNvCxnSpPr>
              <a:stCxn id="96" idx="15"/>
              <a:endCxn id="102" idx="40"/>
            </p:cNvCxnSpPr>
            <p:nvPr/>
          </p:nvCxnSpPr>
          <p:spPr bwMode="auto">
            <a:xfrm>
              <a:off x="4578350" y="3584575"/>
              <a:ext cx="160338" cy="207963"/>
            </a:xfrm>
            <a:prstGeom prst="line">
              <a:avLst/>
            </a:prstGeom>
            <a:ln w="2540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eur droit 51"/>
            <p:cNvCxnSpPr>
              <a:stCxn id="75" idx="8"/>
              <a:endCxn id="71" idx="5"/>
            </p:cNvCxnSpPr>
            <p:nvPr/>
          </p:nvCxnSpPr>
          <p:spPr>
            <a:xfrm>
              <a:off x="6650985" y="5490144"/>
              <a:ext cx="263633" cy="148359"/>
            </a:xfrm>
            <a:prstGeom prst="line">
              <a:avLst/>
            </a:prstGeom>
            <a:ln w="2540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eur droit 52"/>
            <p:cNvCxnSpPr>
              <a:stCxn id="103" idx="17"/>
            </p:cNvCxnSpPr>
            <p:nvPr/>
          </p:nvCxnSpPr>
          <p:spPr bwMode="auto">
            <a:xfrm>
              <a:off x="4268360" y="3134602"/>
              <a:ext cx="132190" cy="138603"/>
            </a:xfrm>
            <a:prstGeom prst="line">
              <a:avLst/>
            </a:prstGeom>
            <a:ln w="2540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95B4C14-6E57-411F-A4A0-79ABD1F55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799C5B8-F0A3-457F-ABB7-0740A8DB1A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0C38B58-4C19-4E43-A4F4-5002EC232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7EE5A6E-BB3B-4C5B-BC85-ACE7857B3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642FAD7-DF75-4380-B91A-DDF15B46C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3296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A7FEA4-4E1E-407B-8F39-7A5530EA3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60D01A6-E2D2-4121-8B16-80CCC7EAF4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3D33E0E-DCC2-404B-855C-B4AD32E25A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AE367B3-AAD2-4676-8F84-50AE0DE03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10F0614-D1D9-43B1-B7F7-1C47C7689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E50A2E8-A3C6-4995-A1B7-F018FD23B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3454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4C0255D-DC06-4E44-8328-6BA17292C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70CCBEB-C47F-4337-A448-FF8DEDB493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8642FE4-C248-4C01-9222-FB6973FE1E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F070AA-7BA1-4D3D-9766-A1517EAE1F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B4581BDD-DE35-464B-9335-5AD2660F89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E0386912-B637-4A4D-AE27-B56EB8526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E6C1A243-11BC-4061-9B49-43D5D9B04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68812BA-4F0D-45B4-BCAB-CC0C8173FE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18567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115FB4-D63C-4DA0-8E33-B61042FC2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10FA64C-742E-419A-B6A7-25FEC0EDE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6909B85-0AD3-4A59-B533-E54C23E5F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E2B684C-8CB7-4F91-8CE2-C7BFF392A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85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BDB6F26-F50D-4798-9DC8-3C88986053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97AADA7-1216-4AEA-9464-78C2A21C3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4C3054B-0E09-4BDE-8219-988A16ABB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6613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FCADEA9-495A-4AEE-8FB6-9CBD52582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29E7CB8-1D50-4E56-86D7-DAF1E95F1D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6449E8F-91A9-4DC3-A53E-82B1C397D1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4EEF8F1-7011-4045-89EE-7130C2CEC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BCAFB2-668A-4160-A743-9D0E4153A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BA9D2D8-5A64-4E26-9F16-B56CC7AB6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4255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01048D-CF83-432C-945F-CABB4AC0F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D990A3-69F3-43B7-944F-AEB78B3111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B9510CD-E901-4034-9896-B74E7BBA1C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DCF1B22-B930-493B-B6F1-152903546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2B71F62-EF93-4090-8480-168C2C9D1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698CCF-1FF9-4543-BEFA-170F58E1D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91515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DC124A-14B2-48BC-B4E8-D72EF8732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16F95DD-E8F9-4342-9927-66AD75E9D5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3FD09B-16E8-4463-B916-B5F81BDB14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A980C44-A0DF-4325-8B54-A4017B4AC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8F451EC-8E00-4319-B7E2-EED5F73EC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2455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056A174E-047E-4452-A294-04C5B16D84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08416F5-F071-4A93-BE9B-2071CCB108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F4BDEF7-A971-4A0F-B4B0-866B4C79A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E12B37D-1407-4E5A-8166-B5ED79934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9CE30DE-2387-4348-BF61-08BDC8D4C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9019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1E8B38E-D08B-4B87-9405-946783FD2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439F469-D71A-4D63-9FDC-0C43E4D271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9763434-8180-461F-88C1-811B39C4F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4443033-897E-4FE9-B22C-74CA17554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2764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D14A2B-6F71-4FF2-90EC-DE2FEDE470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B2A45AA-198A-4CD6-AE10-2359DB14A8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743C57B-51FE-49D9-97B0-2A57D25EC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B6A7940-D517-4EAB-821D-B3EA6815C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5DB561-7EE2-45D2-8D3F-D7E7CD0FD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5698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AFF2011-91A8-421E-B606-990C716A6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0EB0F66-B59A-4ACF-BE7E-99EFEC2751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B681D2D-C0AB-4288-94CB-8CF363EA4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B46B0BD-ED8B-4306-8400-575BD99A4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A5264F2-CD55-4B83-9879-286A3C442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43372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6C42A3-D5B0-4BA2-9E1F-31C2A50EA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CF7200E-EF76-45E8-866B-9D06A391E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7CA28F1-09C8-44A0-A02B-C1E862201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5EC881F-E986-4C45-BA7F-811C5425D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E2EC990-A1E6-4A12-A8B6-5950312DD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6088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5999F5-889A-4FF4-B874-0E02D8045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32B41DF-343A-4760-BDBA-3CFDEE93C5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97D6AF3-74F5-4AB7-9414-8B4DEDF159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D312528-D7D7-41E3-8ECE-EE7A7189D4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DF076E4-1756-4CCE-9567-E941899DD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7270199-4542-4048-AD79-E1DB15AA5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8678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849A93-AFA3-47FF-A08B-701EBFE5C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A71AB7C-737E-47C0-B779-B1A4155A51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D9F4245D-ABCC-41BC-A4F3-669EF693F7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BAA2DE2-9700-4BC6-A0B4-C2781BC8BB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4504D6B-5975-4D3B-8695-E19A5C4986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06CAF972-6CE1-4975-ABA1-8F46DD4614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3EFA27CE-1A97-4F17-A80A-938DBA849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2A9F202-AE97-43F3-B09F-901CFC7DF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1233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246EC0-527A-4946-BE32-18FD5C02F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A1C2B160-B53B-4837-9676-1919146F7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A888A05-47E4-452E-9515-B594338B2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970D17-E7C2-424A-B2EB-9A0BDD12E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2193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8A2B653-3971-4F05-A9E1-1B7CEAC07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2939830-52B1-4D97-8681-6B70C3051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4F4DC01-514A-4513-843A-23FD474BC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51901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5838DB-F430-48AF-822A-EEC493DAB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6794264-F073-434B-90A7-A5B40A2DCA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EF2B92D-8A3D-47D8-B1AD-0E80C3C126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CAF398E-CAE6-4ACF-9031-AAC89597B4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6FD1316-5068-4B14-ABEB-BA25A09C0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6002B27-B3E7-4FD5-94E9-AB14ECA6B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65136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26B986D-D7D4-48E1-8BC5-2BA4D3403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30A404B-1767-4554-A2CA-0999699B61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EF9A4CE-9593-4D24-8881-85B8B5B5B0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1AD66EF-97F6-4B02-ADD6-51DA78319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3171081-BAD0-4947-998F-1F2F778F3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17E6A0B-4138-40CC-A4C8-52A97775C0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4059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19FE6D-F3BE-4CDC-9EFB-B4D0A41FA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FE483DA-181D-444B-8FD1-93C0541382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610EBEB-D99A-4AD7-91AA-B68A1765BA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8FFFDDA-902A-4630-AFF6-B640E9DB4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DEA02D3-5369-427F-98E2-11C7416A6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1593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528" y="170334"/>
            <a:ext cx="8496944" cy="492471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041152"/>
            <a:ext cx="8229600" cy="5085012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323528" y="597717"/>
            <a:ext cx="8496944" cy="360362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43586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EB66ABD9-393A-44A5-9DF3-B652DA56A3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0E49241F-7727-4A64-9464-90630F042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8EA1860-4CDB-4E26-9D06-70BCDB473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EB460AB-654A-4300-88B8-8F46DB548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BDF438B-D0B4-4663-9608-17436E9D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2997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16F0F-C0D6-4015-A187-E7A6620B0FB9}" type="datetime1">
              <a:rPr lang="fr-FR" smtClean="0"/>
              <a:t>24/06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251520" y="908720"/>
            <a:ext cx="8640960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Rectangle 4"/>
          <p:cNvSpPr/>
          <p:nvPr userDrawn="1"/>
        </p:nvSpPr>
        <p:spPr>
          <a:xfrm>
            <a:off x="251520" y="908720"/>
            <a:ext cx="8640960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re 1"/>
          <p:cNvSpPr>
            <a:spLocks noGrp="1"/>
          </p:cNvSpPr>
          <p:nvPr>
            <p:ph type="ctrTitle"/>
          </p:nvPr>
        </p:nvSpPr>
        <p:spPr>
          <a:xfrm>
            <a:off x="1115616" y="2693988"/>
            <a:ext cx="6912768" cy="147002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102118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D78D2-EE62-47EF-8750-582C82D6DFDE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RRE Project - Stakeholder Forum - 4th July - London - Elexon's 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457200" y="1014413"/>
            <a:ext cx="8229600" cy="360362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38103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2675AD1-5A1E-4D6A-8306-2E66C30B51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D6C768E-C78B-4F55-BB9F-1A4E99AA7E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7B2D4CC-4A94-4E13-81F9-487B5447F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DBCDD40-CAA5-423F-B5BE-A5AFA196A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B47555D-D1D6-48AE-808E-45A88EFC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1151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CC5183-C9E9-4EF8-8305-165F8EC9A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BF29282-A321-4654-AD46-89213A05AB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3F1E6D9-C669-40A9-BFA9-5EEB94B9CD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B782B5-E097-4638-9199-5CD3F119BE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8AE21B5-1D6F-4754-B269-A44B83648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7410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S" descr="80%"/>
          <p:cNvSpPr>
            <a:spLocks noChangeAspect="1"/>
          </p:cNvSpPr>
          <p:nvPr/>
        </p:nvSpPr>
        <p:spPr bwMode="auto">
          <a:xfrm>
            <a:off x="6699250" y="4576763"/>
            <a:ext cx="520700" cy="654050"/>
          </a:xfrm>
          <a:custGeom>
            <a:avLst/>
            <a:gdLst>
              <a:gd name="T0" fmla="*/ 152 w 414"/>
              <a:gd name="T1" fmla="*/ 4 h 550"/>
              <a:gd name="T2" fmla="*/ 213 w 414"/>
              <a:gd name="T3" fmla="*/ 1 h 550"/>
              <a:gd name="T4" fmla="*/ 228 w 414"/>
              <a:gd name="T5" fmla="*/ 17 h 550"/>
              <a:gd name="T6" fmla="*/ 237 w 414"/>
              <a:gd name="T7" fmla="*/ 30 h 550"/>
              <a:gd name="T8" fmla="*/ 248 w 414"/>
              <a:gd name="T9" fmla="*/ 82 h 550"/>
              <a:gd name="T10" fmla="*/ 282 w 414"/>
              <a:gd name="T11" fmla="*/ 94 h 550"/>
              <a:gd name="T12" fmla="*/ 297 w 414"/>
              <a:gd name="T13" fmla="*/ 168 h 550"/>
              <a:gd name="T14" fmla="*/ 319 w 414"/>
              <a:gd name="T15" fmla="*/ 188 h 550"/>
              <a:gd name="T16" fmla="*/ 357 w 414"/>
              <a:gd name="T17" fmla="*/ 181 h 550"/>
              <a:gd name="T18" fmla="*/ 384 w 414"/>
              <a:gd name="T19" fmla="*/ 222 h 550"/>
              <a:gd name="T20" fmla="*/ 381 w 414"/>
              <a:gd name="T21" fmla="*/ 256 h 550"/>
              <a:gd name="T22" fmla="*/ 376 w 414"/>
              <a:gd name="T23" fmla="*/ 274 h 550"/>
              <a:gd name="T24" fmla="*/ 387 w 414"/>
              <a:gd name="T25" fmla="*/ 326 h 550"/>
              <a:gd name="T26" fmla="*/ 414 w 414"/>
              <a:gd name="T27" fmla="*/ 347 h 550"/>
              <a:gd name="T28" fmla="*/ 377 w 414"/>
              <a:gd name="T29" fmla="*/ 411 h 550"/>
              <a:gd name="T30" fmla="*/ 373 w 414"/>
              <a:gd name="T31" fmla="*/ 488 h 550"/>
              <a:gd name="T32" fmla="*/ 343 w 414"/>
              <a:gd name="T33" fmla="*/ 505 h 550"/>
              <a:gd name="T34" fmla="*/ 305 w 414"/>
              <a:gd name="T35" fmla="*/ 513 h 550"/>
              <a:gd name="T36" fmla="*/ 259 w 414"/>
              <a:gd name="T37" fmla="*/ 525 h 550"/>
              <a:gd name="T38" fmla="*/ 225 w 414"/>
              <a:gd name="T39" fmla="*/ 501 h 550"/>
              <a:gd name="T40" fmla="*/ 194 w 414"/>
              <a:gd name="T41" fmla="*/ 483 h 550"/>
              <a:gd name="T42" fmla="*/ 171 w 414"/>
              <a:gd name="T43" fmla="*/ 461 h 550"/>
              <a:gd name="T44" fmla="*/ 133 w 414"/>
              <a:gd name="T45" fmla="*/ 461 h 550"/>
              <a:gd name="T46" fmla="*/ 115 w 414"/>
              <a:gd name="T47" fmla="*/ 509 h 550"/>
              <a:gd name="T48" fmla="*/ 16 w 414"/>
              <a:gd name="T49" fmla="*/ 454 h 550"/>
              <a:gd name="T50" fmla="*/ 23 w 414"/>
              <a:gd name="T51" fmla="*/ 402 h 550"/>
              <a:gd name="T52" fmla="*/ 42 w 414"/>
              <a:gd name="T53" fmla="*/ 360 h 550"/>
              <a:gd name="T54" fmla="*/ 69 w 414"/>
              <a:gd name="T55" fmla="*/ 324 h 550"/>
              <a:gd name="T56" fmla="*/ 95 w 414"/>
              <a:gd name="T57" fmla="*/ 287 h 550"/>
              <a:gd name="T58" fmla="*/ 106 w 414"/>
              <a:gd name="T59" fmla="*/ 252 h 550"/>
              <a:gd name="T60" fmla="*/ 107 w 414"/>
              <a:gd name="T61" fmla="*/ 175 h 550"/>
              <a:gd name="T62" fmla="*/ 91 w 414"/>
              <a:gd name="T63" fmla="*/ 112 h 550"/>
              <a:gd name="T64" fmla="*/ 69 w 414"/>
              <a:gd name="T65" fmla="*/ 38 h 550"/>
              <a:gd name="connsiteX0" fmla="*/ 1667 w 10000"/>
              <a:gd name="connsiteY0" fmla="*/ 691 h 10000"/>
              <a:gd name="connsiteX1" fmla="*/ 3671 w 10000"/>
              <a:gd name="connsiteY1" fmla="*/ 73 h 10000"/>
              <a:gd name="connsiteX2" fmla="*/ 4589 w 10000"/>
              <a:gd name="connsiteY2" fmla="*/ 0 h 10000"/>
              <a:gd name="connsiteX3" fmla="*/ 5145 w 10000"/>
              <a:gd name="connsiteY3" fmla="*/ 18 h 10000"/>
              <a:gd name="connsiteX4" fmla="*/ 5338 w 10000"/>
              <a:gd name="connsiteY4" fmla="*/ 145 h 10000"/>
              <a:gd name="connsiteX5" fmla="*/ 5507 w 10000"/>
              <a:gd name="connsiteY5" fmla="*/ 309 h 10000"/>
              <a:gd name="connsiteX6" fmla="*/ 5531 w 10000"/>
              <a:gd name="connsiteY6" fmla="*/ 491 h 10000"/>
              <a:gd name="connsiteX7" fmla="*/ 5725 w 10000"/>
              <a:gd name="connsiteY7" fmla="*/ 545 h 10000"/>
              <a:gd name="connsiteX8" fmla="*/ 5966 w 10000"/>
              <a:gd name="connsiteY8" fmla="*/ 927 h 10000"/>
              <a:gd name="connsiteX9" fmla="*/ 5990 w 10000"/>
              <a:gd name="connsiteY9" fmla="*/ 1491 h 10000"/>
              <a:gd name="connsiteX10" fmla="*/ 6232 w 10000"/>
              <a:gd name="connsiteY10" fmla="*/ 1709 h 10000"/>
              <a:gd name="connsiteX11" fmla="*/ 6812 w 10000"/>
              <a:gd name="connsiteY11" fmla="*/ 1709 h 10000"/>
              <a:gd name="connsiteX12" fmla="*/ 7174 w 10000"/>
              <a:gd name="connsiteY12" fmla="*/ 2509 h 10000"/>
              <a:gd name="connsiteX13" fmla="*/ 7174 w 10000"/>
              <a:gd name="connsiteY13" fmla="*/ 3055 h 10000"/>
              <a:gd name="connsiteX14" fmla="*/ 7440 w 10000"/>
              <a:gd name="connsiteY14" fmla="*/ 3418 h 10000"/>
              <a:gd name="connsiteX15" fmla="*/ 7705 w 10000"/>
              <a:gd name="connsiteY15" fmla="*/ 3418 h 10000"/>
              <a:gd name="connsiteX16" fmla="*/ 8285 w 10000"/>
              <a:gd name="connsiteY16" fmla="*/ 3055 h 10000"/>
              <a:gd name="connsiteX17" fmla="*/ 8623 w 10000"/>
              <a:gd name="connsiteY17" fmla="*/ 3291 h 10000"/>
              <a:gd name="connsiteX18" fmla="*/ 8647 w 10000"/>
              <a:gd name="connsiteY18" fmla="*/ 3745 h 10000"/>
              <a:gd name="connsiteX19" fmla="*/ 9275 w 10000"/>
              <a:gd name="connsiteY19" fmla="*/ 4036 h 10000"/>
              <a:gd name="connsiteX20" fmla="*/ 9179 w 10000"/>
              <a:gd name="connsiteY20" fmla="*/ 4527 h 10000"/>
              <a:gd name="connsiteX21" fmla="*/ 9203 w 10000"/>
              <a:gd name="connsiteY21" fmla="*/ 4655 h 10000"/>
              <a:gd name="connsiteX22" fmla="*/ 9300 w 10000"/>
              <a:gd name="connsiteY22" fmla="*/ 4727 h 10000"/>
              <a:gd name="connsiteX23" fmla="*/ 9082 w 10000"/>
              <a:gd name="connsiteY23" fmla="*/ 4982 h 10000"/>
              <a:gd name="connsiteX24" fmla="*/ 9010 w 10000"/>
              <a:gd name="connsiteY24" fmla="*/ 5291 h 10000"/>
              <a:gd name="connsiteX25" fmla="*/ 9348 w 10000"/>
              <a:gd name="connsiteY25" fmla="*/ 5927 h 10000"/>
              <a:gd name="connsiteX26" fmla="*/ 9855 w 10000"/>
              <a:gd name="connsiteY26" fmla="*/ 6000 h 10000"/>
              <a:gd name="connsiteX27" fmla="*/ 10000 w 10000"/>
              <a:gd name="connsiteY27" fmla="*/ 6309 h 10000"/>
              <a:gd name="connsiteX28" fmla="*/ 9855 w 10000"/>
              <a:gd name="connsiteY28" fmla="*/ 6927 h 10000"/>
              <a:gd name="connsiteX29" fmla="*/ 9106 w 10000"/>
              <a:gd name="connsiteY29" fmla="*/ 7473 h 10000"/>
              <a:gd name="connsiteX30" fmla="*/ 9300 w 10000"/>
              <a:gd name="connsiteY30" fmla="*/ 8455 h 10000"/>
              <a:gd name="connsiteX31" fmla="*/ 9010 w 10000"/>
              <a:gd name="connsiteY31" fmla="*/ 8873 h 10000"/>
              <a:gd name="connsiteX32" fmla="*/ 9203 w 10000"/>
              <a:gd name="connsiteY32" fmla="*/ 9327 h 10000"/>
              <a:gd name="connsiteX33" fmla="*/ 8285 w 10000"/>
              <a:gd name="connsiteY33" fmla="*/ 9182 h 10000"/>
              <a:gd name="connsiteX34" fmla="*/ 7826 w 10000"/>
              <a:gd name="connsiteY34" fmla="*/ 9327 h 10000"/>
              <a:gd name="connsiteX35" fmla="*/ 7367 w 10000"/>
              <a:gd name="connsiteY35" fmla="*/ 9327 h 10000"/>
              <a:gd name="connsiteX36" fmla="*/ 6812 w 10000"/>
              <a:gd name="connsiteY36" fmla="*/ 9455 h 10000"/>
              <a:gd name="connsiteX37" fmla="*/ 6256 w 10000"/>
              <a:gd name="connsiteY37" fmla="*/ 9545 h 10000"/>
              <a:gd name="connsiteX38" fmla="*/ 5411 w 10000"/>
              <a:gd name="connsiteY38" fmla="*/ 10000 h 10000"/>
              <a:gd name="connsiteX39" fmla="*/ 5435 w 10000"/>
              <a:gd name="connsiteY39" fmla="*/ 9109 h 10000"/>
              <a:gd name="connsiteX40" fmla="*/ 5266 w 10000"/>
              <a:gd name="connsiteY40" fmla="*/ 8873 h 10000"/>
              <a:gd name="connsiteX41" fmla="*/ 4686 w 10000"/>
              <a:gd name="connsiteY41" fmla="*/ 8782 h 10000"/>
              <a:gd name="connsiteX42" fmla="*/ 4493 w 10000"/>
              <a:gd name="connsiteY42" fmla="*/ 8400 h 10000"/>
              <a:gd name="connsiteX43" fmla="*/ 4130 w 10000"/>
              <a:gd name="connsiteY43" fmla="*/ 8382 h 10000"/>
              <a:gd name="connsiteX44" fmla="*/ 3961 w 10000"/>
              <a:gd name="connsiteY44" fmla="*/ 8473 h 10000"/>
              <a:gd name="connsiteX45" fmla="*/ 3213 w 10000"/>
              <a:gd name="connsiteY45" fmla="*/ 8382 h 10000"/>
              <a:gd name="connsiteX46" fmla="*/ 2923 w 10000"/>
              <a:gd name="connsiteY46" fmla="*/ 8564 h 10000"/>
              <a:gd name="connsiteX47" fmla="*/ 2778 w 10000"/>
              <a:gd name="connsiteY47" fmla="*/ 9255 h 10000"/>
              <a:gd name="connsiteX48" fmla="*/ 2464 w 10000"/>
              <a:gd name="connsiteY48" fmla="*/ 9800 h 10000"/>
              <a:gd name="connsiteX49" fmla="*/ 2000 w 10000"/>
              <a:gd name="connsiteY49" fmla="*/ 7090 h 10000"/>
              <a:gd name="connsiteX50" fmla="*/ 0 w 10000"/>
              <a:gd name="connsiteY50" fmla="*/ 7527 h 10000"/>
              <a:gd name="connsiteX51" fmla="*/ 556 w 10000"/>
              <a:gd name="connsiteY51" fmla="*/ 7309 h 10000"/>
              <a:gd name="connsiteX52" fmla="*/ 1014 w 10000"/>
              <a:gd name="connsiteY52" fmla="*/ 7127 h 10000"/>
              <a:gd name="connsiteX53" fmla="*/ 1014 w 10000"/>
              <a:gd name="connsiteY53" fmla="*/ 6545 h 10000"/>
              <a:gd name="connsiteX54" fmla="*/ 1473 w 10000"/>
              <a:gd name="connsiteY54" fmla="*/ 6309 h 10000"/>
              <a:gd name="connsiteX55" fmla="*/ 1667 w 10000"/>
              <a:gd name="connsiteY55" fmla="*/ 5891 h 10000"/>
              <a:gd name="connsiteX56" fmla="*/ 2198 w 10000"/>
              <a:gd name="connsiteY56" fmla="*/ 5618 h 10000"/>
              <a:gd name="connsiteX57" fmla="*/ 2295 w 10000"/>
              <a:gd name="connsiteY57" fmla="*/ 5218 h 10000"/>
              <a:gd name="connsiteX58" fmla="*/ 2222 w 10000"/>
              <a:gd name="connsiteY58" fmla="*/ 4800 h 10000"/>
              <a:gd name="connsiteX59" fmla="*/ 2560 w 10000"/>
              <a:gd name="connsiteY59" fmla="*/ 4582 h 10000"/>
              <a:gd name="connsiteX60" fmla="*/ 2101 w 10000"/>
              <a:gd name="connsiteY60" fmla="*/ 3982 h 10000"/>
              <a:gd name="connsiteX61" fmla="*/ 2585 w 10000"/>
              <a:gd name="connsiteY61" fmla="*/ 3182 h 10000"/>
              <a:gd name="connsiteX62" fmla="*/ 2053 w 10000"/>
              <a:gd name="connsiteY62" fmla="*/ 2636 h 10000"/>
              <a:gd name="connsiteX63" fmla="*/ 2198 w 10000"/>
              <a:gd name="connsiteY63" fmla="*/ 2036 h 10000"/>
              <a:gd name="connsiteX64" fmla="*/ 1667 w 10000"/>
              <a:gd name="connsiteY64" fmla="*/ 1491 h 10000"/>
              <a:gd name="connsiteX65" fmla="*/ 1667 w 10000"/>
              <a:gd name="connsiteY65" fmla="*/ 691 h 10000"/>
              <a:gd name="connsiteX0" fmla="*/ 1667 w 10000"/>
              <a:gd name="connsiteY0" fmla="*/ 691 h 10000"/>
              <a:gd name="connsiteX1" fmla="*/ 3671 w 10000"/>
              <a:gd name="connsiteY1" fmla="*/ 73 h 10000"/>
              <a:gd name="connsiteX2" fmla="*/ 4589 w 10000"/>
              <a:gd name="connsiteY2" fmla="*/ 0 h 10000"/>
              <a:gd name="connsiteX3" fmla="*/ 5145 w 10000"/>
              <a:gd name="connsiteY3" fmla="*/ 18 h 10000"/>
              <a:gd name="connsiteX4" fmla="*/ 5338 w 10000"/>
              <a:gd name="connsiteY4" fmla="*/ 145 h 10000"/>
              <a:gd name="connsiteX5" fmla="*/ 5507 w 10000"/>
              <a:gd name="connsiteY5" fmla="*/ 309 h 10000"/>
              <a:gd name="connsiteX6" fmla="*/ 5531 w 10000"/>
              <a:gd name="connsiteY6" fmla="*/ 491 h 10000"/>
              <a:gd name="connsiteX7" fmla="*/ 5725 w 10000"/>
              <a:gd name="connsiteY7" fmla="*/ 545 h 10000"/>
              <a:gd name="connsiteX8" fmla="*/ 5966 w 10000"/>
              <a:gd name="connsiteY8" fmla="*/ 927 h 10000"/>
              <a:gd name="connsiteX9" fmla="*/ 5990 w 10000"/>
              <a:gd name="connsiteY9" fmla="*/ 1491 h 10000"/>
              <a:gd name="connsiteX10" fmla="*/ 6232 w 10000"/>
              <a:gd name="connsiteY10" fmla="*/ 1709 h 10000"/>
              <a:gd name="connsiteX11" fmla="*/ 6812 w 10000"/>
              <a:gd name="connsiteY11" fmla="*/ 1709 h 10000"/>
              <a:gd name="connsiteX12" fmla="*/ 7174 w 10000"/>
              <a:gd name="connsiteY12" fmla="*/ 2509 h 10000"/>
              <a:gd name="connsiteX13" fmla="*/ 7174 w 10000"/>
              <a:gd name="connsiteY13" fmla="*/ 3055 h 10000"/>
              <a:gd name="connsiteX14" fmla="*/ 7440 w 10000"/>
              <a:gd name="connsiteY14" fmla="*/ 3418 h 10000"/>
              <a:gd name="connsiteX15" fmla="*/ 7705 w 10000"/>
              <a:gd name="connsiteY15" fmla="*/ 3418 h 10000"/>
              <a:gd name="connsiteX16" fmla="*/ 8285 w 10000"/>
              <a:gd name="connsiteY16" fmla="*/ 3055 h 10000"/>
              <a:gd name="connsiteX17" fmla="*/ 8623 w 10000"/>
              <a:gd name="connsiteY17" fmla="*/ 3291 h 10000"/>
              <a:gd name="connsiteX18" fmla="*/ 8647 w 10000"/>
              <a:gd name="connsiteY18" fmla="*/ 3745 h 10000"/>
              <a:gd name="connsiteX19" fmla="*/ 9275 w 10000"/>
              <a:gd name="connsiteY19" fmla="*/ 4036 h 10000"/>
              <a:gd name="connsiteX20" fmla="*/ 9179 w 10000"/>
              <a:gd name="connsiteY20" fmla="*/ 4527 h 10000"/>
              <a:gd name="connsiteX21" fmla="*/ 9203 w 10000"/>
              <a:gd name="connsiteY21" fmla="*/ 4655 h 10000"/>
              <a:gd name="connsiteX22" fmla="*/ 9300 w 10000"/>
              <a:gd name="connsiteY22" fmla="*/ 4727 h 10000"/>
              <a:gd name="connsiteX23" fmla="*/ 9082 w 10000"/>
              <a:gd name="connsiteY23" fmla="*/ 4982 h 10000"/>
              <a:gd name="connsiteX24" fmla="*/ 9010 w 10000"/>
              <a:gd name="connsiteY24" fmla="*/ 5291 h 10000"/>
              <a:gd name="connsiteX25" fmla="*/ 9348 w 10000"/>
              <a:gd name="connsiteY25" fmla="*/ 5927 h 10000"/>
              <a:gd name="connsiteX26" fmla="*/ 9855 w 10000"/>
              <a:gd name="connsiteY26" fmla="*/ 6000 h 10000"/>
              <a:gd name="connsiteX27" fmla="*/ 10000 w 10000"/>
              <a:gd name="connsiteY27" fmla="*/ 6309 h 10000"/>
              <a:gd name="connsiteX28" fmla="*/ 9855 w 10000"/>
              <a:gd name="connsiteY28" fmla="*/ 6927 h 10000"/>
              <a:gd name="connsiteX29" fmla="*/ 9106 w 10000"/>
              <a:gd name="connsiteY29" fmla="*/ 7473 h 10000"/>
              <a:gd name="connsiteX30" fmla="*/ 9300 w 10000"/>
              <a:gd name="connsiteY30" fmla="*/ 8455 h 10000"/>
              <a:gd name="connsiteX31" fmla="*/ 9010 w 10000"/>
              <a:gd name="connsiteY31" fmla="*/ 8873 h 10000"/>
              <a:gd name="connsiteX32" fmla="*/ 9203 w 10000"/>
              <a:gd name="connsiteY32" fmla="*/ 9327 h 10000"/>
              <a:gd name="connsiteX33" fmla="*/ 8285 w 10000"/>
              <a:gd name="connsiteY33" fmla="*/ 9182 h 10000"/>
              <a:gd name="connsiteX34" fmla="*/ 7826 w 10000"/>
              <a:gd name="connsiteY34" fmla="*/ 9327 h 10000"/>
              <a:gd name="connsiteX35" fmla="*/ 7367 w 10000"/>
              <a:gd name="connsiteY35" fmla="*/ 9327 h 10000"/>
              <a:gd name="connsiteX36" fmla="*/ 6812 w 10000"/>
              <a:gd name="connsiteY36" fmla="*/ 9455 h 10000"/>
              <a:gd name="connsiteX37" fmla="*/ 6256 w 10000"/>
              <a:gd name="connsiteY37" fmla="*/ 9545 h 10000"/>
              <a:gd name="connsiteX38" fmla="*/ 5411 w 10000"/>
              <a:gd name="connsiteY38" fmla="*/ 10000 h 10000"/>
              <a:gd name="connsiteX39" fmla="*/ 5435 w 10000"/>
              <a:gd name="connsiteY39" fmla="*/ 9109 h 10000"/>
              <a:gd name="connsiteX40" fmla="*/ 5266 w 10000"/>
              <a:gd name="connsiteY40" fmla="*/ 8873 h 10000"/>
              <a:gd name="connsiteX41" fmla="*/ 4686 w 10000"/>
              <a:gd name="connsiteY41" fmla="*/ 8782 h 10000"/>
              <a:gd name="connsiteX42" fmla="*/ 4493 w 10000"/>
              <a:gd name="connsiteY42" fmla="*/ 8400 h 10000"/>
              <a:gd name="connsiteX43" fmla="*/ 4130 w 10000"/>
              <a:gd name="connsiteY43" fmla="*/ 8382 h 10000"/>
              <a:gd name="connsiteX44" fmla="*/ 3961 w 10000"/>
              <a:gd name="connsiteY44" fmla="*/ 8473 h 10000"/>
              <a:gd name="connsiteX45" fmla="*/ 3213 w 10000"/>
              <a:gd name="connsiteY45" fmla="*/ 8382 h 10000"/>
              <a:gd name="connsiteX46" fmla="*/ 2923 w 10000"/>
              <a:gd name="connsiteY46" fmla="*/ 8564 h 10000"/>
              <a:gd name="connsiteX47" fmla="*/ 3406 w 10000"/>
              <a:gd name="connsiteY47" fmla="*/ 8173 h 10000"/>
              <a:gd name="connsiteX48" fmla="*/ 2464 w 10000"/>
              <a:gd name="connsiteY48" fmla="*/ 9800 h 10000"/>
              <a:gd name="connsiteX49" fmla="*/ 2000 w 10000"/>
              <a:gd name="connsiteY49" fmla="*/ 7090 h 10000"/>
              <a:gd name="connsiteX50" fmla="*/ 0 w 10000"/>
              <a:gd name="connsiteY50" fmla="*/ 7527 h 10000"/>
              <a:gd name="connsiteX51" fmla="*/ 556 w 10000"/>
              <a:gd name="connsiteY51" fmla="*/ 7309 h 10000"/>
              <a:gd name="connsiteX52" fmla="*/ 1014 w 10000"/>
              <a:gd name="connsiteY52" fmla="*/ 7127 h 10000"/>
              <a:gd name="connsiteX53" fmla="*/ 1014 w 10000"/>
              <a:gd name="connsiteY53" fmla="*/ 6545 h 10000"/>
              <a:gd name="connsiteX54" fmla="*/ 1473 w 10000"/>
              <a:gd name="connsiteY54" fmla="*/ 6309 h 10000"/>
              <a:gd name="connsiteX55" fmla="*/ 1667 w 10000"/>
              <a:gd name="connsiteY55" fmla="*/ 5891 h 10000"/>
              <a:gd name="connsiteX56" fmla="*/ 2198 w 10000"/>
              <a:gd name="connsiteY56" fmla="*/ 5618 h 10000"/>
              <a:gd name="connsiteX57" fmla="*/ 2295 w 10000"/>
              <a:gd name="connsiteY57" fmla="*/ 5218 h 10000"/>
              <a:gd name="connsiteX58" fmla="*/ 2222 w 10000"/>
              <a:gd name="connsiteY58" fmla="*/ 4800 h 10000"/>
              <a:gd name="connsiteX59" fmla="*/ 2560 w 10000"/>
              <a:gd name="connsiteY59" fmla="*/ 4582 h 10000"/>
              <a:gd name="connsiteX60" fmla="*/ 2101 w 10000"/>
              <a:gd name="connsiteY60" fmla="*/ 3982 h 10000"/>
              <a:gd name="connsiteX61" fmla="*/ 2585 w 10000"/>
              <a:gd name="connsiteY61" fmla="*/ 3182 h 10000"/>
              <a:gd name="connsiteX62" fmla="*/ 2053 w 10000"/>
              <a:gd name="connsiteY62" fmla="*/ 2636 h 10000"/>
              <a:gd name="connsiteX63" fmla="*/ 2198 w 10000"/>
              <a:gd name="connsiteY63" fmla="*/ 2036 h 10000"/>
              <a:gd name="connsiteX64" fmla="*/ 1667 w 10000"/>
              <a:gd name="connsiteY64" fmla="*/ 1491 h 10000"/>
              <a:gd name="connsiteX65" fmla="*/ 1667 w 10000"/>
              <a:gd name="connsiteY65" fmla="*/ 691 h 10000"/>
              <a:gd name="connsiteX0" fmla="*/ 1667 w 10000"/>
              <a:gd name="connsiteY0" fmla="*/ 691 h 10000"/>
              <a:gd name="connsiteX1" fmla="*/ 3671 w 10000"/>
              <a:gd name="connsiteY1" fmla="*/ 73 h 10000"/>
              <a:gd name="connsiteX2" fmla="*/ 4589 w 10000"/>
              <a:gd name="connsiteY2" fmla="*/ 0 h 10000"/>
              <a:gd name="connsiteX3" fmla="*/ 5145 w 10000"/>
              <a:gd name="connsiteY3" fmla="*/ 18 h 10000"/>
              <a:gd name="connsiteX4" fmla="*/ 5338 w 10000"/>
              <a:gd name="connsiteY4" fmla="*/ 145 h 10000"/>
              <a:gd name="connsiteX5" fmla="*/ 5507 w 10000"/>
              <a:gd name="connsiteY5" fmla="*/ 309 h 10000"/>
              <a:gd name="connsiteX6" fmla="*/ 5531 w 10000"/>
              <a:gd name="connsiteY6" fmla="*/ 491 h 10000"/>
              <a:gd name="connsiteX7" fmla="*/ 5725 w 10000"/>
              <a:gd name="connsiteY7" fmla="*/ 545 h 10000"/>
              <a:gd name="connsiteX8" fmla="*/ 5966 w 10000"/>
              <a:gd name="connsiteY8" fmla="*/ 927 h 10000"/>
              <a:gd name="connsiteX9" fmla="*/ 5990 w 10000"/>
              <a:gd name="connsiteY9" fmla="*/ 1491 h 10000"/>
              <a:gd name="connsiteX10" fmla="*/ 6232 w 10000"/>
              <a:gd name="connsiteY10" fmla="*/ 1709 h 10000"/>
              <a:gd name="connsiteX11" fmla="*/ 6812 w 10000"/>
              <a:gd name="connsiteY11" fmla="*/ 1709 h 10000"/>
              <a:gd name="connsiteX12" fmla="*/ 7174 w 10000"/>
              <a:gd name="connsiteY12" fmla="*/ 2509 h 10000"/>
              <a:gd name="connsiteX13" fmla="*/ 7174 w 10000"/>
              <a:gd name="connsiteY13" fmla="*/ 3055 h 10000"/>
              <a:gd name="connsiteX14" fmla="*/ 7440 w 10000"/>
              <a:gd name="connsiteY14" fmla="*/ 3418 h 10000"/>
              <a:gd name="connsiteX15" fmla="*/ 7705 w 10000"/>
              <a:gd name="connsiteY15" fmla="*/ 3418 h 10000"/>
              <a:gd name="connsiteX16" fmla="*/ 8285 w 10000"/>
              <a:gd name="connsiteY16" fmla="*/ 3055 h 10000"/>
              <a:gd name="connsiteX17" fmla="*/ 8623 w 10000"/>
              <a:gd name="connsiteY17" fmla="*/ 3291 h 10000"/>
              <a:gd name="connsiteX18" fmla="*/ 8647 w 10000"/>
              <a:gd name="connsiteY18" fmla="*/ 3745 h 10000"/>
              <a:gd name="connsiteX19" fmla="*/ 9275 w 10000"/>
              <a:gd name="connsiteY19" fmla="*/ 4036 h 10000"/>
              <a:gd name="connsiteX20" fmla="*/ 9179 w 10000"/>
              <a:gd name="connsiteY20" fmla="*/ 4527 h 10000"/>
              <a:gd name="connsiteX21" fmla="*/ 9203 w 10000"/>
              <a:gd name="connsiteY21" fmla="*/ 4655 h 10000"/>
              <a:gd name="connsiteX22" fmla="*/ 9300 w 10000"/>
              <a:gd name="connsiteY22" fmla="*/ 4727 h 10000"/>
              <a:gd name="connsiteX23" fmla="*/ 9082 w 10000"/>
              <a:gd name="connsiteY23" fmla="*/ 4982 h 10000"/>
              <a:gd name="connsiteX24" fmla="*/ 9010 w 10000"/>
              <a:gd name="connsiteY24" fmla="*/ 5291 h 10000"/>
              <a:gd name="connsiteX25" fmla="*/ 9348 w 10000"/>
              <a:gd name="connsiteY25" fmla="*/ 5927 h 10000"/>
              <a:gd name="connsiteX26" fmla="*/ 9855 w 10000"/>
              <a:gd name="connsiteY26" fmla="*/ 6000 h 10000"/>
              <a:gd name="connsiteX27" fmla="*/ 10000 w 10000"/>
              <a:gd name="connsiteY27" fmla="*/ 6309 h 10000"/>
              <a:gd name="connsiteX28" fmla="*/ 9855 w 10000"/>
              <a:gd name="connsiteY28" fmla="*/ 6927 h 10000"/>
              <a:gd name="connsiteX29" fmla="*/ 9106 w 10000"/>
              <a:gd name="connsiteY29" fmla="*/ 7473 h 10000"/>
              <a:gd name="connsiteX30" fmla="*/ 9300 w 10000"/>
              <a:gd name="connsiteY30" fmla="*/ 8455 h 10000"/>
              <a:gd name="connsiteX31" fmla="*/ 9010 w 10000"/>
              <a:gd name="connsiteY31" fmla="*/ 8873 h 10000"/>
              <a:gd name="connsiteX32" fmla="*/ 9203 w 10000"/>
              <a:gd name="connsiteY32" fmla="*/ 9327 h 10000"/>
              <a:gd name="connsiteX33" fmla="*/ 8285 w 10000"/>
              <a:gd name="connsiteY33" fmla="*/ 9182 h 10000"/>
              <a:gd name="connsiteX34" fmla="*/ 7826 w 10000"/>
              <a:gd name="connsiteY34" fmla="*/ 9327 h 10000"/>
              <a:gd name="connsiteX35" fmla="*/ 7367 w 10000"/>
              <a:gd name="connsiteY35" fmla="*/ 9327 h 10000"/>
              <a:gd name="connsiteX36" fmla="*/ 6812 w 10000"/>
              <a:gd name="connsiteY36" fmla="*/ 9455 h 10000"/>
              <a:gd name="connsiteX37" fmla="*/ 6256 w 10000"/>
              <a:gd name="connsiteY37" fmla="*/ 9545 h 10000"/>
              <a:gd name="connsiteX38" fmla="*/ 5411 w 10000"/>
              <a:gd name="connsiteY38" fmla="*/ 10000 h 10000"/>
              <a:gd name="connsiteX39" fmla="*/ 5435 w 10000"/>
              <a:gd name="connsiteY39" fmla="*/ 9109 h 10000"/>
              <a:gd name="connsiteX40" fmla="*/ 5266 w 10000"/>
              <a:gd name="connsiteY40" fmla="*/ 8873 h 10000"/>
              <a:gd name="connsiteX41" fmla="*/ 4686 w 10000"/>
              <a:gd name="connsiteY41" fmla="*/ 8782 h 10000"/>
              <a:gd name="connsiteX42" fmla="*/ 4493 w 10000"/>
              <a:gd name="connsiteY42" fmla="*/ 8400 h 10000"/>
              <a:gd name="connsiteX43" fmla="*/ 4130 w 10000"/>
              <a:gd name="connsiteY43" fmla="*/ 8382 h 10000"/>
              <a:gd name="connsiteX44" fmla="*/ 3961 w 10000"/>
              <a:gd name="connsiteY44" fmla="*/ 8473 h 10000"/>
              <a:gd name="connsiteX45" fmla="*/ 3213 w 10000"/>
              <a:gd name="connsiteY45" fmla="*/ 8382 h 10000"/>
              <a:gd name="connsiteX46" fmla="*/ 2923 w 10000"/>
              <a:gd name="connsiteY46" fmla="*/ 8564 h 10000"/>
              <a:gd name="connsiteX47" fmla="*/ 3406 w 10000"/>
              <a:gd name="connsiteY47" fmla="*/ 8173 h 10000"/>
              <a:gd name="connsiteX48" fmla="*/ 3989 w 10000"/>
              <a:gd name="connsiteY48" fmla="*/ 7969 h 10000"/>
              <a:gd name="connsiteX49" fmla="*/ 2000 w 10000"/>
              <a:gd name="connsiteY49" fmla="*/ 7090 h 10000"/>
              <a:gd name="connsiteX50" fmla="*/ 0 w 10000"/>
              <a:gd name="connsiteY50" fmla="*/ 7527 h 10000"/>
              <a:gd name="connsiteX51" fmla="*/ 556 w 10000"/>
              <a:gd name="connsiteY51" fmla="*/ 7309 h 10000"/>
              <a:gd name="connsiteX52" fmla="*/ 1014 w 10000"/>
              <a:gd name="connsiteY52" fmla="*/ 7127 h 10000"/>
              <a:gd name="connsiteX53" fmla="*/ 1014 w 10000"/>
              <a:gd name="connsiteY53" fmla="*/ 6545 h 10000"/>
              <a:gd name="connsiteX54" fmla="*/ 1473 w 10000"/>
              <a:gd name="connsiteY54" fmla="*/ 6309 h 10000"/>
              <a:gd name="connsiteX55" fmla="*/ 1667 w 10000"/>
              <a:gd name="connsiteY55" fmla="*/ 5891 h 10000"/>
              <a:gd name="connsiteX56" fmla="*/ 2198 w 10000"/>
              <a:gd name="connsiteY56" fmla="*/ 5618 h 10000"/>
              <a:gd name="connsiteX57" fmla="*/ 2295 w 10000"/>
              <a:gd name="connsiteY57" fmla="*/ 5218 h 10000"/>
              <a:gd name="connsiteX58" fmla="*/ 2222 w 10000"/>
              <a:gd name="connsiteY58" fmla="*/ 4800 h 10000"/>
              <a:gd name="connsiteX59" fmla="*/ 2560 w 10000"/>
              <a:gd name="connsiteY59" fmla="*/ 4582 h 10000"/>
              <a:gd name="connsiteX60" fmla="*/ 2101 w 10000"/>
              <a:gd name="connsiteY60" fmla="*/ 3982 h 10000"/>
              <a:gd name="connsiteX61" fmla="*/ 2585 w 10000"/>
              <a:gd name="connsiteY61" fmla="*/ 3182 h 10000"/>
              <a:gd name="connsiteX62" fmla="*/ 2053 w 10000"/>
              <a:gd name="connsiteY62" fmla="*/ 2636 h 10000"/>
              <a:gd name="connsiteX63" fmla="*/ 2198 w 10000"/>
              <a:gd name="connsiteY63" fmla="*/ 2036 h 10000"/>
              <a:gd name="connsiteX64" fmla="*/ 1667 w 10000"/>
              <a:gd name="connsiteY64" fmla="*/ 1491 h 10000"/>
              <a:gd name="connsiteX65" fmla="*/ 1667 w 10000"/>
              <a:gd name="connsiteY65" fmla="*/ 691 h 10000"/>
              <a:gd name="connsiteX0" fmla="*/ 1111 w 9444"/>
              <a:gd name="connsiteY0" fmla="*/ 691 h 10000"/>
              <a:gd name="connsiteX1" fmla="*/ 3115 w 9444"/>
              <a:gd name="connsiteY1" fmla="*/ 73 h 10000"/>
              <a:gd name="connsiteX2" fmla="*/ 4033 w 9444"/>
              <a:gd name="connsiteY2" fmla="*/ 0 h 10000"/>
              <a:gd name="connsiteX3" fmla="*/ 4589 w 9444"/>
              <a:gd name="connsiteY3" fmla="*/ 18 h 10000"/>
              <a:gd name="connsiteX4" fmla="*/ 4782 w 9444"/>
              <a:gd name="connsiteY4" fmla="*/ 145 h 10000"/>
              <a:gd name="connsiteX5" fmla="*/ 4951 w 9444"/>
              <a:gd name="connsiteY5" fmla="*/ 309 h 10000"/>
              <a:gd name="connsiteX6" fmla="*/ 4975 w 9444"/>
              <a:gd name="connsiteY6" fmla="*/ 491 h 10000"/>
              <a:gd name="connsiteX7" fmla="*/ 5169 w 9444"/>
              <a:gd name="connsiteY7" fmla="*/ 545 h 10000"/>
              <a:gd name="connsiteX8" fmla="*/ 5410 w 9444"/>
              <a:gd name="connsiteY8" fmla="*/ 927 h 10000"/>
              <a:gd name="connsiteX9" fmla="*/ 5434 w 9444"/>
              <a:gd name="connsiteY9" fmla="*/ 1491 h 10000"/>
              <a:gd name="connsiteX10" fmla="*/ 5676 w 9444"/>
              <a:gd name="connsiteY10" fmla="*/ 1709 h 10000"/>
              <a:gd name="connsiteX11" fmla="*/ 6256 w 9444"/>
              <a:gd name="connsiteY11" fmla="*/ 1709 h 10000"/>
              <a:gd name="connsiteX12" fmla="*/ 6618 w 9444"/>
              <a:gd name="connsiteY12" fmla="*/ 2509 h 10000"/>
              <a:gd name="connsiteX13" fmla="*/ 6618 w 9444"/>
              <a:gd name="connsiteY13" fmla="*/ 3055 h 10000"/>
              <a:gd name="connsiteX14" fmla="*/ 6884 w 9444"/>
              <a:gd name="connsiteY14" fmla="*/ 3418 h 10000"/>
              <a:gd name="connsiteX15" fmla="*/ 7149 w 9444"/>
              <a:gd name="connsiteY15" fmla="*/ 3418 h 10000"/>
              <a:gd name="connsiteX16" fmla="*/ 7729 w 9444"/>
              <a:gd name="connsiteY16" fmla="*/ 3055 h 10000"/>
              <a:gd name="connsiteX17" fmla="*/ 8067 w 9444"/>
              <a:gd name="connsiteY17" fmla="*/ 3291 h 10000"/>
              <a:gd name="connsiteX18" fmla="*/ 8091 w 9444"/>
              <a:gd name="connsiteY18" fmla="*/ 3745 h 10000"/>
              <a:gd name="connsiteX19" fmla="*/ 8719 w 9444"/>
              <a:gd name="connsiteY19" fmla="*/ 4036 h 10000"/>
              <a:gd name="connsiteX20" fmla="*/ 8623 w 9444"/>
              <a:gd name="connsiteY20" fmla="*/ 4527 h 10000"/>
              <a:gd name="connsiteX21" fmla="*/ 8647 w 9444"/>
              <a:gd name="connsiteY21" fmla="*/ 4655 h 10000"/>
              <a:gd name="connsiteX22" fmla="*/ 8744 w 9444"/>
              <a:gd name="connsiteY22" fmla="*/ 4727 h 10000"/>
              <a:gd name="connsiteX23" fmla="*/ 8526 w 9444"/>
              <a:gd name="connsiteY23" fmla="*/ 4982 h 10000"/>
              <a:gd name="connsiteX24" fmla="*/ 8454 w 9444"/>
              <a:gd name="connsiteY24" fmla="*/ 5291 h 10000"/>
              <a:gd name="connsiteX25" fmla="*/ 8792 w 9444"/>
              <a:gd name="connsiteY25" fmla="*/ 5927 h 10000"/>
              <a:gd name="connsiteX26" fmla="*/ 9299 w 9444"/>
              <a:gd name="connsiteY26" fmla="*/ 6000 h 10000"/>
              <a:gd name="connsiteX27" fmla="*/ 9444 w 9444"/>
              <a:gd name="connsiteY27" fmla="*/ 6309 h 10000"/>
              <a:gd name="connsiteX28" fmla="*/ 9299 w 9444"/>
              <a:gd name="connsiteY28" fmla="*/ 6927 h 10000"/>
              <a:gd name="connsiteX29" fmla="*/ 8550 w 9444"/>
              <a:gd name="connsiteY29" fmla="*/ 7473 h 10000"/>
              <a:gd name="connsiteX30" fmla="*/ 8744 w 9444"/>
              <a:gd name="connsiteY30" fmla="*/ 8455 h 10000"/>
              <a:gd name="connsiteX31" fmla="*/ 8454 w 9444"/>
              <a:gd name="connsiteY31" fmla="*/ 8873 h 10000"/>
              <a:gd name="connsiteX32" fmla="*/ 8647 w 9444"/>
              <a:gd name="connsiteY32" fmla="*/ 9327 h 10000"/>
              <a:gd name="connsiteX33" fmla="*/ 7729 w 9444"/>
              <a:gd name="connsiteY33" fmla="*/ 9182 h 10000"/>
              <a:gd name="connsiteX34" fmla="*/ 7270 w 9444"/>
              <a:gd name="connsiteY34" fmla="*/ 9327 h 10000"/>
              <a:gd name="connsiteX35" fmla="*/ 6811 w 9444"/>
              <a:gd name="connsiteY35" fmla="*/ 9327 h 10000"/>
              <a:gd name="connsiteX36" fmla="*/ 6256 w 9444"/>
              <a:gd name="connsiteY36" fmla="*/ 9455 h 10000"/>
              <a:gd name="connsiteX37" fmla="*/ 5700 w 9444"/>
              <a:gd name="connsiteY37" fmla="*/ 9545 h 10000"/>
              <a:gd name="connsiteX38" fmla="*/ 4855 w 9444"/>
              <a:gd name="connsiteY38" fmla="*/ 10000 h 10000"/>
              <a:gd name="connsiteX39" fmla="*/ 4879 w 9444"/>
              <a:gd name="connsiteY39" fmla="*/ 9109 h 10000"/>
              <a:gd name="connsiteX40" fmla="*/ 4710 w 9444"/>
              <a:gd name="connsiteY40" fmla="*/ 8873 h 10000"/>
              <a:gd name="connsiteX41" fmla="*/ 4130 w 9444"/>
              <a:gd name="connsiteY41" fmla="*/ 8782 h 10000"/>
              <a:gd name="connsiteX42" fmla="*/ 3937 w 9444"/>
              <a:gd name="connsiteY42" fmla="*/ 8400 h 10000"/>
              <a:gd name="connsiteX43" fmla="*/ 3574 w 9444"/>
              <a:gd name="connsiteY43" fmla="*/ 8382 h 10000"/>
              <a:gd name="connsiteX44" fmla="*/ 3405 w 9444"/>
              <a:gd name="connsiteY44" fmla="*/ 8473 h 10000"/>
              <a:gd name="connsiteX45" fmla="*/ 2657 w 9444"/>
              <a:gd name="connsiteY45" fmla="*/ 8382 h 10000"/>
              <a:gd name="connsiteX46" fmla="*/ 2367 w 9444"/>
              <a:gd name="connsiteY46" fmla="*/ 8564 h 10000"/>
              <a:gd name="connsiteX47" fmla="*/ 2850 w 9444"/>
              <a:gd name="connsiteY47" fmla="*/ 8173 h 10000"/>
              <a:gd name="connsiteX48" fmla="*/ 3433 w 9444"/>
              <a:gd name="connsiteY48" fmla="*/ 7969 h 10000"/>
              <a:gd name="connsiteX49" fmla="*/ 1444 w 9444"/>
              <a:gd name="connsiteY49" fmla="*/ 7090 h 10000"/>
              <a:gd name="connsiteX50" fmla="*/ 1238 w 9444"/>
              <a:gd name="connsiteY50" fmla="*/ 6861 h 10000"/>
              <a:gd name="connsiteX51" fmla="*/ 0 w 9444"/>
              <a:gd name="connsiteY51" fmla="*/ 7309 h 10000"/>
              <a:gd name="connsiteX52" fmla="*/ 458 w 9444"/>
              <a:gd name="connsiteY52" fmla="*/ 7127 h 10000"/>
              <a:gd name="connsiteX53" fmla="*/ 458 w 9444"/>
              <a:gd name="connsiteY53" fmla="*/ 6545 h 10000"/>
              <a:gd name="connsiteX54" fmla="*/ 917 w 9444"/>
              <a:gd name="connsiteY54" fmla="*/ 6309 h 10000"/>
              <a:gd name="connsiteX55" fmla="*/ 1111 w 9444"/>
              <a:gd name="connsiteY55" fmla="*/ 5891 h 10000"/>
              <a:gd name="connsiteX56" fmla="*/ 1642 w 9444"/>
              <a:gd name="connsiteY56" fmla="*/ 5618 h 10000"/>
              <a:gd name="connsiteX57" fmla="*/ 1739 w 9444"/>
              <a:gd name="connsiteY57" fmla="*/ 5218 h 10000"/>
              <a:gd name="connsiteX58" fmla="*/ 1666 w 9444"/>
              <a:gd name="connsiteY58" fmla="*/ 4800 h 10000"/>
              <a:gd name="connsiteX59" fmla="*/ 2004 w 9444"/>
              <a:gd name="connsiteY59" fmla="*/ 4582 h 10000"/>
              <a:gd name="connsiteX60" fmla="*/ 1545 w 9444"/>
              <a:gd name="connsiteY60" fmla="*/ 3982 h 10000"/>
              <a:gd name="connsiteX61" fmla="*/ 2029 w 9444"/>
              <a:gd name="connsiteY61" fmla="*/ 3182 h 10000"/>
              <a:gd name="connsiteX62" fmla="*/ 1497 w 9444"/>
              <a:gd name="connsiteY62" fmla="*/ 2636 h 10000"/>
              <a:gd name="connsiteX63" fmla="*/ 1642 w 9444"/>
              <a:gd name="connsiteY63" fmla="*/ 2036 h 10000"/>
              <a:gd name="connsiteX64" fmla="*/ 1111 w 9444"/>
              <a:gd name="connsiteY64" fmla="*/ 1491 h 10000"/>
              <a:gd name="connsiteX65" fmla="*/ 1111 w 9444"/>
              <a:gd name="connsiteY65" fmla="*/ 691 h 10000"/>
              <a:gd name="connsiteX0" fmla="*/ 691 w 9515"/>
              <a:gd name="connsiteY0" fmla="*/ 691 h 10000"/>
              <a:gd name="connsiteX1" fmla="*/ 2813 w 9515"/>
              <a:gd name="connsiteY1" fmla="*/ 73 h 10000"/>
              <a:gd name="connsiteX2" fmla="*/ 3785 w 9515"/>
              <a:gd name="connsiteY2" fmla="*/ 0 h 10000"/>
              <a:gd name="connsiteX3" fmla="*/ 4374 w 9515"/>
              <a:gd name="connsiteY3" fmla="*/ 18 h 10000"/>
              <a:gd name="connsiteX4" fmla="*/ 4579 w 9515"/>
              <a:gd name="connsiteY4" fmla="*/ 145 h 10000"/>
              <a:gd name="connsiteX5" fmla="*/ 4757 w 9515"/>
              <a:gd name="connsiteY5" fmla="*/ 309 h 10000"/>
              <a:gd name="connsiteX6" fmla="*/ 4783 w 9515"/>
              <a:gd name="connsiteY6" fmla="*/ 491 h 10000"/>
              <a:gd name="connsiteX7" fmla="*/ 4988 w 9515"/>
              <a:gd name="connsiteY7" fmla="*/ 545 h 10000"/>
              <a:gd name="connsiteX8" fmla="*/ 5244 w 9515"/>
              <a:gd name="connsiteY8" fmla="*/ 927 h 10000"/>
              <a:gd name="connsiteX9" fmla="*/ 5269 w 9515"/>
              <a:gd name="connsiteY9" fmla="*/ 1491 h 10000"/>
              <a:gd name="connsiteX10" fmla="*/ 5525 w 9515"/>
              <a:gd name="connsiteY10" fmla="*/ 1709 h 10000"/>
              <a:gd name="connsiteX11" fmla="*/ 6139 w 9515"/>
              <a:gd name="connsiteY11" fmla="*/ 1709 h 10000"/>
              <a:gd name="connsiteX12" fmla="*/ 6523 w 9515"/>
              <a:gd name="connsiteY12" fmla="*/ 2509 h 10000"/>
              <a:gd name="connsiteX13" fmla="*/ 6523 w 9515"/>
              <a:gd name="connsiteY13" fmla="*/ 3055 h 10000"/>
              <a:gd name="connsiteX14" fmla="*/ 6804 w 9515"/>
              <a:gd name="connsiteY14" fmla="*/ 3418 h 10000"/>
              <a:gd name="connsiteX15" fmla="*/ 7085 w 9515"/>
              <a:gd name="connsiteY15" fmla="*/ 3418 h 10000"/>
              <a:gd name="connsiteX16" fmla="*/ 7699 w 9515"/>
              <a:gd name="connsiteY16" fmla="*/ 3055 h 10000"/>
              <a:gd name="connsiteX17" fmla="*/ 8057 w 9515"/>
              <a:gd name="connsiteY17" fmla="*/ 3291 h 10000"/>
              <a:gd name="connsiteX18" fmla="*/ 8082 w 9515"/>
              <a:gd name="connsiteY18" fmla="*/ 3745 h 10000"/>
              <a:gd name="connsiteX19" fmla="*/ 8747 w 9515"/>
              <a:gd name="connsiteY19" fmla="*/ 4036 h 10000"/>
              <a:gd name="connsiteX20" fmla="*/ 8646 w 9515"/>
              <a:gd name="connsiteY20" fmla="*/ 4527 h 10000"/>
              <a:gd name="connsiteX21" fmla="*/ 8671 w 9515"/>
              <a:gd name="connsiteY21" fmla="*/ 4655 h 10000"/>
              <a:gd name="connsiteX22" fmla="*/ 8774 w 9515"/>
              <a:gd name="connsiteY22" fmla="*/ 4727 h 10000"/>
              <a:gd name="connsiteX23" fmla="*/ 8543 w 9515"/>
              <a:gd name="connsiteY23" fmla="*/ 4982 h 10000"/>
              <a:gd name="connsiteX24" fmla="*/ 8467 w 9515"/>
              <a:gd name="connsiteY24" fmla="*/ 5291 h 10000"/>
              <a:gd name="connsiteX25" fmla="*/ 8825 w 9515"/>
              <a:gd name="connsiteY25" fmla="*/ 5927 h 10000"/>
              <a:gd name="connsiteX26" fmla="*/ 9361 w 9515"/>
              <a:gd name="connsiteY26" fmla="*/ 6000 h 10000"/>
              <a:gd name="connsiteX27" fmla="*/ 9515 w 9515"/>
              <a:gd name="connsiteY27" fmla="*/ 6309 h 10000"/>
              <a:gd name="connsiteX28" fmla="*/ 9361 w 9515"/>
              <a:gd name="connsiteY28" fmla="*/ 6927 h 10000"/>
              <a:gd name="connsiteX29" fmla="*/ 8568 w 9515"/>
              <a:gd name="connsiteY29" fmla="*/ 7473 h 10000"/>
              <a:gd name="connsiteX30" fmla="*/ 8774 w 9515"/>
              <a:gd name="connsiteY30" fmla="*/ 8455 h 10000"/>
              <a:gd name="connsiteX31" fmla="*/ 8467 w 9515"/>
              <a:gd name="connsiteY31" fmla="*/ 8873 h 10000"/>
              <a:gd name="connsiteX32" fmla="*/ 8671 w 9515"/>
              <a:gd name="connsiteY32" fmla="*/ 9327 h 10000"/>
              <a:gd name="connsiteX33" fmla="*/ 7699 w 9515"/>
              <a:gd name="connsiteY33" fmla="*/ 9182 h 10000"/>
              <a:gd name="connsiteX34" fmla="*/ 7213 w 9515"/>
              <a:gd name="connsiteY34" fmla="*/ 9327 h 10000"/>
              <a:gd name="connsiteX35" fmla="*/ 6727 w 9515"/>
              <a:gd name="connsiteY35" fmla="*/ 9327 h 10000"/>
              <a:gd name="connsiteX36" fmla="*/ 6139 w 9515"/>
              <a:gd name="connsiteY36" fmla="*/ 9455 h 10000"/>
              <a:gd name="connsiteX37" fmla="*/ 5551 w 9515"/>
              <a:gd name="connsiteY37" fmla="*/ 9545 h 10000"/>
              <a:gd name="connsiteX38" fmla="*/ 4656 w 9515"/>
              <a:gd name="connsiteY38" fmla="*/ 10000 h 10000"/>
              <a:gd name="connsiteX39" fmla="*/ 4681 w 9515"/>
              <a:gd name="connsiteY39" fmla="*/ 9109 h 10000"/>
              <a:gd name="connsiteX40" fmla="*/ 4502 w 9515"/>
              <a:gd name="connsiteY40" fmla="*/ 8873 h 10000"/>
              <a:gd name="connsiteX41" fmla="*/ 3888 w 9515"/>
              <a:gd name="connsiteY41" fmla="*/ 8782 h 10000"/>
              <a:gd name="connsiteX42" fmla="*/ 3684 w 9515"/>
              <a:gd name="connsiteY42" fmla="*/ 8400 h 10000"/>
              <a:gd name="connsiteX43" fmla="*/ 3299 w 9515"/>
              <a:gd name="connsiteY43" fmla="*/ 8382 h 10000"/>
              <a:gd name="connsiteX44" fmla="*/ 3120 w 9515"/>
              <a:gd name="connsiteY44" fmla="*/ 8473 h 10000"/>
              <a:gd name="connsiteX45" fmla="*/ 2328 w 9515"/>
              <a:gd name="connsiteY45" fmla="*/ 8382 h 10000"/>
              <a:gd name="connsiteX46" fmla="*/ 2021 w 9515"/>
              <a:gd name="connsiteY46" fmla="*/ 8564 h 10000"/>
              <a:gd name="connsiteX47" fmla="*/ 2533 w 9515"/>
              <a:gd name="connsiteY47" fmla="*/ 8173 h 10000"/>
              <a:gd name="connsiteX48" fmla="*/ 3150 w 9515"/>
              <a:gd name="connsiteY48" fmla="*/ 7969 h 10000"/>
              <a:gd name="connsiteX49" fmla="*/ 1044 w 9515"/>
              <a:gd name="connsiteY49" fmla="*/ 7090 h 10000"/>
              <a:gd name="connsiteX50" fmla="*/ 826 w 9515"/>
              <a:gd name="connsiteY50" fmla="*/ 6861 h 10000"/>
              <a:gd name="connsiteX51" fmla="*/ 1034 w 9515"/>
              <a:gd name="connsiteY51" fmla="*/ 6726 h 10000"/>
              <a:gd name="connsiteX52" fmla="*/ 0 w 9515"/>
              <a:gd name="connsiteY52" fmla="*/ 7127 h 10000"/>
              <a:gd name="connsiteX53" fmla="*/ 0 w 9515"/>
              <a:gd name="connsiteY53" fmla="*/ 6545 h 10000"/>
              <a:gd name="connsiteX54" fmla="*/ 486 w 9515"/>
              <a:gd name="connsiteY54" fmla="*/ 6309 h 10000"/>
              <a:gd name="connsiteX55" fmla="*/ 691 w 9515"/>
              <a:gd name="connsiteY55" fmla="*/ 5891 h 10000"/>
              <a:gd name="connsiteX56" fmla="*/ 1254 w 9515"/>
              <a:gd name="connsiteY56" fmla="*/ 5618 h 10000"/>
              <a:gd name="connsiteX57" fmla="*/ 1356 w 9515"/>
              <a:gd name="connsiteY57" fmla="*/ 5218 h 10000"/>
              <a:gd name="connsiteX58" fmla="*/ 1279 w 9515"/>
              <a:gd name="connsiteY58" fmla="*/ 4800 h 10000"/>
              <a:gd name="connsiteX59" fmla="*/ 1637 w 9515"/>
              <a:gd name="connsiteY59" fmla="*/ 4582 h 10000"/>
              <a:gd name="connsiteX60" fmla="*/ 1151 w 9515"/>
              <a:gd name="connsiteY60" fmla="*/ 3982 h 10000"/>
              <a:gd name="connsiteX61" fmla="*/ 1663 w 9515"/>
              <a:gd name="connsiteY61" fmla="*/ 3182 h 10000"/>
              <a:gd name="connsiteX62" fmla="*/ 1100 w 9515"/>
              <a:gd name="connsiteY62" fmla="*/ 2636 h 10000"/>
              <a:gd name="connsiteX63" fmla="*/ 1254 w 9515"/>
              <a:gd name="connsiteY63" fmla="*/ 2036 h 10000"/>
              <a:gd name="connsiteX64" fmla="*/ 691 w 9515"/>
              <a:gd name="connsiteY64" fmla="*/ 1491 h 10000"/>
              <a:gd name="connsiteX65" fmla="*/ 691 w 9515"/>
              <a:gd name="connsiteY65" fmla="*/ 691 h 10000"/>
              <a:gd name="connsiteX0" fmla="*/ 726 w 10000"/>
              <a:gd name="connsiteY0" fmla="*/ 691 h 10000"/>
              <a:gd name="connsiteX1" fmla="*/ 2956 w 10000"/>
              <a:gd name="connsiteY1" fmla="*/ 73 h 10000"/>
              <a:gd name="connsiteX2" fmla="*/ 3978 w 10000"/>
              <a:gd name="connsiteY2" fmla="*/ 0 h 10000"/>
              <a:gd name="connsiteX3" fmla="*/ 4597 w 10000"/>
              <a:gd name="connsiteY3" fmla="*/ 18 h 10000"/>
              <a:gd name="connsiteX4" fmla="*/ 4812 w 10000"/>
              <a:gd name="connsiteY4" fmla="*/ 145 h 10000"/>
              <a:gd name="connsiteX5" fmla="*/ 4999 w 10000"/>
              <a:gd name="connsiteY5" fmla="*/ 309 h 10000"/>
              <a:gd name="connsiteX6" fmla="*/ 5027 w 10000"/>
              <a:gd name="connsiteY6" fmla="*/ 491 h 10000"/>
              <a:gd name="connsiteX7" fmla="*/ 5242 w 10000"/>
              <a:gd name="connsiteY7" fmla="*/ 545 h 10000"/>
              <a:gd name="connsiteX8" fmla="*/ 5511 w 10000"/>
              <a:gd name="connsiteY8" fmla="*/ 927 h 10000"/>
              <a:gd name="connsiteX9" fmla="*/ 5538 w 10000"/>
              <a:gd name="connsiteY9" fmla="*/ 1491 h 10000"/>
              <a:gd name="connsiteX10" fmla="*/ 5807 w 10000"/>
              <a:gd name="connsiteY10" fmla="*/ 1709 h 10000"/>
              <a:gd name="connsiteX11" fmla="*/ 6452 w 10000"/>
              <a:gd name="connsiteY11" fmla="*/ 1709 h 10000"/>
              <a:gd name="connsiteX12" fmla="*/ 6855 w 10000"/>
              <a:gd name="connsiteY12" fmla="*/ 2509 h 10000"/>
              <a:gd name="connsiteX13" fmla="*/ 6855 w 10000"/>
              <a:gd name="connsiteY13" fmla="*/ 3055 h 10000"/>
              <a:gd name="connsiteX14" fmla="*/ 7151 w 10000"/>
              <a:gd name="connsiteY14" fmla="*/ 3418 h 10000"/>
              <a:gd name="connsiteX15" fmla="*/ 7446 w 10000"/>
              <a:gd name="connsiteY15" fmla="*/ 3418 h 10000"/>
              <a:gd name="connsiteX16" fmla="*/ 8091 w 10000"/>
              <a:gd name="connsiteY16" fmla="*/ 3055 h 10000"/>
              <a:gd name="connsiteX17" fmla="*/ 8468 w 10000"/>
              <a:gd name="connsiteY17" fmla="*/ 3291 h 10000"/>
              <a:gd name="connsiteX18" fmla="*/ 8494 w 10000"/>
              <a:gd name="connsiteY18" fmla="*/ 3745 h 10000"/>
              <a:gd name="connsiteX19" fmla="*/ 9193 w 10000"/>
              <a:gd name="connsiteY19" fmla="*/ 4036 h 10000"/>
              <a:gd name="connsiteX20" fmla="*/ 9087 w 10000"/>
              <a:gd name="connsiteY20" fmla="*/ 4527 h 10000"/>
              <a:gd name="connsiteX21" fmla="*/ 9113 w 10000"/>
              <a:gd name="connsiteY21" fmla="*/ 4655 h 10000"/>
              <a:gd name="connsiteX22" fmla="*/ 9221 w 10000"/>
              <a:gd name="connsiteY22" fmla="*/ 4727 h 10000"/>
              <a:gd name="connsiteX23" fmla="*/ 8978 w 10000"/>
              <a:gd name="connsiteY23" fmla="*/ 4982 h 10000"/>
              <a:gd name="connsiteX24" fmla="*/ 8899 w 10000"/>
              <a:gd name="connsiteY24" fmla="*/ 5291 h 10000"/>
              <a:gd name="connsiteX25" fmla="*/ 9275 w 10000"/>
              <a:gd name="connsiteY25" fmla="*/ 5927 h 10000"/>
              <a:gd name="connsiteX26" fmla="*/ 9838 w 10000"/>
              <a:gd name="connsiteY26" fmla="*/ 6000 h 10000"/>
              <a:gd name="connsiteX27" fmla="*/ 10000 w 10000"/>
              <a:gd name="connsiteY27" fmla="*/ 6309 h 10000"/>
              <a:gd name="connsiteX28" fmla="*/ 9838 w 10000"/>
              <a:gd name="connsiteY28" fmla="*/ 6927 h 10000"/>
              <a:gd name="connsiteX29" fmla="*/ 9005 w 10000"/>
              <a:gd name="connsiteY29" fmla="*/ 7473 h 10000"/>
              <a:gd name="connsiteX30" fmla="*/ 9221 w 10000"/>
              <a:gd name="connsiteY30" fmla="*/ 8455 h 10000"/>
              <a:gd name="connsiteX31" fmla="*/ 8899 w 10000"/>
              <a:gd name="connsiteY31" fmla="*/ 8873 h 10000"/>
              <a:gd name="connsiteX32" fmla="*/ 9113 w 10000"/>
              <a:gd name="connsiteY32" fmla="*/ 9327 h 10000"/>
              <a:gd name="connsiteX33" fmla="*/ 8091 w 10000"/>
              <a:gd name="connsiteY33" fmla="*/ 9182 h 10000"/>
              <a:gd name="connsiteX34" fmla="*/ 7581 w 10000"/>
              <a:gd name="connsiteY34" fmla="*/ 9327 h 10000"/>
              <a:gd name="connsiteX35" fmla="*/ 7070 w 10000"/>
              <a:gd name="connsiteY35" fmla="*/ 9327 h 10000"/>
              <a:gd name="connsiteX36" fmla="*/ 6452 w 10000"/>
              <a:gd name="connsiteY36" fmla="*/ 9455 h 10000"/>
              <a:gd name="connsiteX37" fmla="*/ 5834 w 10000"/>
              <a:gd name="connsiteY37" fmla="*/ 9545 h 10000"/>
              <a:gd name="connsiteX38" fmla="*/ 4893 w 10000"/>
              <a:gd name="connsiteY38" fmla="*/ 10000 h 10000"/>
              <a:gd name="connsiteX39" fmla="*/ 4920 w 10000"/>
              <a:gd name="connsiteY39" fmla="*/ 9109 h 10000"/>
              <a:gd name="connsiteX40" fmla="*/ 4731 w 10000"/>
              <a:gd name="connsiteY40" fmla="*/ 8873 h 10000"/>
              <a:gd name="connsiteX41" fmla="*/ 4086 w 10000"/>
              <a:gd name="connsiteY41" fmla="*/ 8782 h 10000"/>
              <a:gd name="connsiteX42" fmla="*/ 3872 w 10000"/>
              <a:gd name="connsiteY42" fmla="*/ 8400 h 10000"/>
              <a:gd name="connsiteX43" fmla="*/ 3467 w 10000"/>
              <a:gd name="connsiteY43" fmla="*/ 8382 h 10000"/>
              <a:gd name="connsiteX44" fmla="*/ 3279 w 10000"/>
              <a:gd name="connsiteY44" fmla="*/ 8473 h 10000"/>
              <a:gd name="connsiteX45" fmla="*/ 2447 w 10000"/>
              <a:gd name="connsiteY45" fmla="*/ 8382 h 10000"/>
              <a:gd name="connsiteX46" fmla="*/ 2124 w 10000"/>
              <a:gd name="connsiteY46" fmla="*/ 8564 h 10000"/>
              <a:gd name="connsiteX47" fmla="*/ 2662 w 10000"/>
              <a:gd name="connsiteY47" fmla="*/ 8173 h 10000"/>
              <a:gd name="connsiteX48" fmla="*/ 3311 w 10000"/>
              <a:gd name="connsiteY48" fmla="*/ 7969 h 10000"/>
              <a:gd name="connsiteX49" fmla="*/ 1097 w 10000"/>
              <a:gd name="connsiteY49" fmla="*/ 7090 h 10000"/>
              <a:gd name="connsiteX50" fmla="*/ 868 w 10000"/>
              <a:gd name="connsiteY50" fmla="*/ 6861 h 10000"/>
              <a:gd name="connsiteX51" fmla="*/ 1087 w 10000"/>
              <a:gd name="connsiteY51" fmla="*/ 6726 h 10000"/>
              <a:gd name="connsiteX52" fmla="*/ 1497 w 10000"/>
              <a:gd name="connsiteY52" fmla="*/ 6877 h 10000"/>
              <a:gd name="connsiteX53" fmla="*/ 0 w 10000"/>
              <a:gd name="connsiteY53" fmla="*/ 6545 h 10000"/>
              <a:gd name="connsiteX54" fmla="*/ 511 w 10000"/>
              <a:gd name="connsiteY54" fmla="*/ 6309 h 10000"/>
              <a:gd name="connsiteX55" fmla="*/ 726 w 10000"/>
              <a:gd name="connsiteY55" fmla="*/ 5891 h 10000"/>
              <a:gd name="connsiteX56" fmla="*/ 1318 w 10000"/>
              <a:gd name="connsiteY56" fmla="*/ 5618 h 10000"/>
              <a:gd name="connsiteX57" fmla="*/ 1425 w 10000"/>
              <a:gd name="connsiteY57" fmla="*/ 5218 h 10000"/>
              <a:gd name="connsiteX58" fmla="*/ 1344 w 10000"/>
              <a:gd name="connsiteY58" fmla="*/ 4800 h 10000"/>
              <a:gd name="connsiteX59" fmla="*/ 1720 w 10000"/>
              <a:gd name="connsiteY59" fmla="*/ 4582 h 10000"/>
              <a:gd name="connsiteX60" fmla="*/ 1210 w 10000"/>
              <a:gd name="connsiteY60" fmla="*/ 3982 h 10000"/>
              <a:gd name="connsiteX61" fmla="*/ 1748 w 10000"/>
              <a:gd name="connsiteY61" fmla="*/ 3182 h 10000"/>
              <a:gd name="connsiteX62" fmla="*/ 1156 w 10000"/>
              <a:gd name="connsiteY62" fmla="*/ 2636 h 10000"/>
              <a:gd name="connsiteX63" fmla="*/ 1318 w 10000"/>
              <a:gd name="connsiteY63" fmla="*/ 2036 h 10000"/>
              <a:gd name="connsiteX64" fmla="*/ 726 w 10000"/>
              <a:gd name="connsiteY64" fmla="*/ 1491 h 10000"/>
              <a:gd name="connsiteX65" fmla="*/ 726 w 10000"/>
              <a:gd name="connsiteY65" fmla="*/ 691 h 10000"/>
              <a:gd name="connsiteX0" fmla="*/ 215 w 9489"/>
              <a:gd name="connsiteY0" fmla="*/ 691 h 10000"/>
              <a:gd name="connsiteX1" fmla="*/ 2445 w 9489"/>
              <a:gd name="connsiteY1" fmla="*/ 73 h 10000"/>
              <a:gd name="connsiteX2" fmla="*/ 3467 w 9489"/>
              <a:gd name="connsiteY2" fmla="*/ 0 h 10000"/>
              <a:gd name="connsiteX3" fmla="*/ 4086 w 9489"/>
              <a:gd name="connsiteY3" fmla="*/ 18 h 10000"/>
              <a:gd name="connsiteX4" fmla="*/ 4301 w 9489"/>
              <a:gd name="connsiteY4" fmla="*/ 145 h 10000"/>
              <a:gd name="connsiteX5" fmla="*/ 4488 w 9489"/>
              <a:gd name="connsiteY5" fmla="*/ 309 h 10000"/>
              <a:gd name="connsiteX6" fmla="*/ 4516 w 9489"/>
              <a:gd name="connsiteY6" fmla="*/ 491 h 10000"/>
              <a:gd name="connsiteX7" fmla="*/ 4731 w 9489"/>
              <a:gd name="connsiteY7" fmla="*/ 545 h 10000"/>
              <a:gd name="connsiteX8" fmla="*/ 5000 w 9489"/>
              <a:gd name="connsiteY8" fmla="*/ 927 h 10000"/>
              <a:gd name="connsiteX9" fmla="*/ 5027 w 9489"/>
              <a:gd name="connsiteY9" fmla="*/ 1491 h 10000"/>
              <a:gd name="connsiteX10" fmla="*/ 5296 w 9489"/>
              <a:gd name="connsiteY10" fmla="*/ 1709 h 10000"/>
              <a:gd name="connsiteX11" fmla="*/ 5941 w 9489"/>
              <a:gd name="connsiteY11" fmla="*/ 1709 h 10000"/>
              <a:gd name="connsiteX12" fmla="*/ 6344 w 9489"/>
              <a:gd name="connsiteY12" fmla="*/ 2509 h 10000"/>
              <a:gd name="connsiteX13" fmla="*/ 6344 w 9489"/>
              <a:gd name="connsiteY13" fmla="*/ 3055 h 10000"/>
              <a:gd name="connsiteX14" fmla="*/ 6640 w 9489"/>
              <a:gd name="connsiteY14" fmla="*/ 3418 h 10000"/>
              <a:gd name="connsiteX15" fmla="*/ 6935 w 9489"/>
              <a:gd name="connsiteY15" fmla="*/ 3418 h 10000"/>
              <a:gd name="connsiteX16" fmla="*/ 7580 w 9489"/>
              <a:gd name="connsiteY16" fmla="*/ 3055 h 10000"/>
              <a:gd name="connsiteX17" fmla="*/ 7957 w 9489"/>
              <a:gd name="connsiteY17" fmla="*/ 3291 h 10000"/>
              <a:gd name="connsiteX18" fmla="*/ 7983 w 9489"/>
              <a:gd name="connsiteY18" fmla="*/ 3745 h 10000"/>
              <a:gd name="connsiteX19" fmla="*/ 8682 w 9489"/>
              <a:gd name="connsiteY19" fmla="*/ 4036 h 10000"/>
              <a:gd name="connsiteX20" fmla="*/ 8576 w 9489"/>
              <a:gd name="connsiteY20" fmla="*/ 4527 h 10000"/>
              <a:gd name="connsiteX21" fmla="*/ 8602 w 9489"/>
              <a:gd name="connsiteY21" fmla="*/ 4655 h 10000"/>
              <a:gd name="connsiteX22" fmla="*/ 8710 w 9489"/>
              <a:gd name="connsiteY22" fmla="*/ 4727 h 10000"/>
              <a:gd name="connsiteX23" fmla="*/ 8467 w 9489"/>
              <a:gd name="connsiteY23" fmla="*/ 4982 h 10000"/>
              <a:gd name="connsiteX24" fmla="*/ 8388 w 9489"/>
              <a:gd name="connsiteY24" fmla="*/ 5291 h 10000"/>
              <a:gd name="connsiteX25" fmla="*/ 8764 w 9489"/>
              <a:gd name="connsiteY25" fmla="*/ 5927 h 10000"/>
              <a:gd name="connsiteX26" fmla="*/ 9327 w 9489"/>
              <a:gd name="connsiteY26" fmla="*/ 6000 h 10000"/>
              <a:gd name="connsiteX27" fmla="*/ 9489 w 9489"/>
              <a:gd name="connsiteY27" fmla="*/ 6309 h 10000"/>
              <a:gd name="connsiteX28" fmla="*/ 9327 w 9489"/>
              <a:gd name="connsiteY28" fmla="*/ 6927 h 10000"/>
              <a:gd name="connsiteX29" fmla="*/ 8494 w 9489"/>
              <a:gd name="connsiteY29" fmla="*/ 7473 h 10000"/>
              <a:gd name="connsiteX30" fmla="*/ 8710 w 9489"/>
              <a:gd name="connsiteY30" fmla="*/ 8455 h 10000"/>
              <a:gd name="connsiteX31" fmla="*/ 8388 w 9489"/>
              <a:gd name="connsiteY31" fmla="*/ 8873 h 10000"/>
              <a:gd name="connsiteX32" fmla="*/ 8602 w 9489"/>
              <a:gd name="connsiteY32" fmla="*/ 9327 h 10000"/>
              <a:gd name="connsiteX33" fmla="*/ 7580 w 9489"/>
              <a:gd name="connsiteY33" fmla="*/ 9182 h 10000"/>
              <a:gd name="connsiteX34" fmla="*/ 7070 w 9489"/>
              <a:gd name="connsiteY34" fmla="*/ 9327 h 10000"/>
              <a:gd name="connsiteX35" fmla="*/ 6559 w 9489"/>
              <a:gd name="connsiteY35" fmla="*/ 9327 h 10000"/>
              <a:gd name="connsiteX36" fmla="*/ 5941 w 9489"/>
              <a:gd name="connsiteY36" fmla="*/ 9455 h 10000"/>
              <a:gd name="connsiteX37" fmla="*/ 5323 w 9489"/>
              <a:gd name="connsiteY37" fmla="*/ 9545 h 10000"/>
              <a:gd name="connsiteX38" fmla="*/ 4382 w 9489"/>
              <a:gd name="connsiteY38" fmla="*/ 10000 h 10000"/>
              <a:gd name="connsiteX39" fmla="*/ 4409 w 9489"/>
              <a:gd name="connsiteY39" fmla="*/ 9109 h 10000"/>
              <a:gd name="connsiteX40" fmla="*/ 4220 w 9489"/>
              <a:gd name="connsiteY40" fmla="*/ 8873 h 10000"/>
              <a:gd name="connsiteX41" fmla="*/ 3575 w 9489"/>
              <a:gd name="connsiteY41" fmla="*/ 8782 h 10000"/>
              <a:gd name="connsiteX42" fmla="*/ 3361 w 9489"/>
              <a:gd name="connsiteY42" fmla="*/ 8400 h 10000"/>
              <a:gd name="connsiteX43" fmla="*/ 2956 w 9489"/>
              <a:gd name="connsiteY43" fmla="*/ 8382 h 10000"/>
              <a:gd name="connsiteX44" fmla="*/ 2768 w 9489"/>
              <a:gd name="connsiteY44" fmla="*/ 8473 h 10000"/>
              <a:gd name="connsiteX45" fmla="*/ 1936 w 9489"/>
              <a:gd name="connsiteY45" fmla="*/ 8382 h 10000"/>
              <a:gd name="connsiteX46" fmla="*/ 1613 w 9489"/>
              <a:gd name="connsiteY46" fmla="*/ 8564 h 10000"/>
              <a:gd name="connsiteX47" fmla="*/ 2151 w 9489"/>
              <a:gd name="connsiteY47" fmla="*/ 8173 h 10000"/>
              <a:gd name="connsiteX48" fmla="*/ 2800 w 9489"/>
              <a:gd name="connsiteY48" fmla="*/ 7969 h 10000"/>
              <a:gd name="connsiteX49" fmla="*/ 586 w 9489"/>
              <a:gd name="connsiteY49" fmla="*/ 7090 h 10000"/>
              <a:gd name="connsiteX50" fmla="*/ 357 w 9489"/>
              <a:gd name="connsiteY50" fmla="*/ 6861 h 10000"/>
              <a:gd name="connsiteX51" fmla="*/ 576 w 9489"/>
              <a:gd name="connsiteY51" fmla="*/ 6726 h 10000"/>
              <a:gd name="connsiteX52" fmla="*/ 986 w 9489"/>
              <a:gd name="connsiteY52" fmla="*/ 6877 h 10000"/>
              <a:gd name="connsiteX53" fmla="*/ 587 w 9489"/>
              <a:gd name="connsiteY53" fmla="*/ 6295 h 10000"/>
              <a:gd name="connsiteX54" fmla="*/ 0 w 9489"/>
              <a:gd name="connsiteY54" fmla="*/ 6309 h 10000"/>
              <a:gd name="connsiteX55" fmla="*/ 215 w 9489"/>
              <a:gd name="connsiteY55" fmla="*/ 5891 h 10000"/>
              <a:gd name="connsiteX56" fmla="*/ 807 w 9489"/>
              <a:gd name="connsiteY56" fmla="*/ 5618 h 10000"/>
              <a:gd name="connsiteX57" fmla="*/ 914 w 9489"/>
              <a:gd name="connsiteY57" fmla="*/ 5218 h 10000"/>
              <a:gd name="connsiteX58" fmla="*/ 833 w 9489"/>
              <a:gd name="connsiteY58" fmla="*/ 4800 h 10000"/>
              <a:gd name="connsiteX59" fmla="*/ 1209 w 9489"/>
              <a:gd name="connsiteY59" fmla="*/ 4582 h 10000"/>
              <a:gd name="connsiteX60" fmla="*/ 699 w 9489"/>
              <a:gd name="connsiteY60" fmla="*/ 3982 h 10000"/>
              <a:gd name="connsiteX61" fmla="*/ 1237 w 9489"/>
              <a:gd name="connsiteY61" fmla="*/ 3182 h 10000"/>
              <a:gd name="connsiteX62" fmla="*/ 645 w 9489"/>
              <a:gd name="connsiteY62" fmla="*/ 2636 h 10000"/>
              <a:gd name="connsiteX63" fmla="*/ 807 w 9489"/>
              <a:gd name="connsiteY63" fmla="*/ 2036 h 10000"/>
              <a:gd name="connsiteX64" fmla="*/ 215 w 9489"/>
              <a:gd name="connsiteY64" fmla="*/ 1491 h 10000"/>
              <a:gd name="connsiteX65" fmla="*/ 215 w 9489"/>
              <a:gd name="connsiteY65" fmla="*/ 691 h 10000"/>
              <a:gd name="connsiteX0" fmla="*/ 227 w 10000"/>
              <a:gd name="connsiteY0" fmla="*/ 691 h 10000"/>
              <a:gd name="connsiteX1" fmla="*/ 2577 w 10000"/>
              <a:gd name="connsiteY1" fmla="*/ 73 h 10000"/>
              <a:gd name="connsiteX2" fmla="*/ 3654 w 10000"/>
              <a:gd name="connsiteY2" fmla="*/ 0 h 10000"/>
              <a:gd name="connsiteX3" fmla="*/ 4306 w 10000"/>
              <a:gd name="connsiteY3" fmla="*/ 18 h 10000"/>
              <a:gd name="connsiteX4" fmla="*/ 4533 w 10000"/>
              <a:gd name="connsiteY4" fmla="*/ 145 h 10000"/>
              <a:gd name="connsiteX5" fmla="*/ 4730 w 10000"/>
              <a:gd name="connsiteY5" fmla="*/ 309 h 10000"/>
              <a:gd name="connsiteX6" fmla="*/ 4759 w 10000"/>
              <a:gd name="connsiteY6" fmla="*/ 491 h 10000"/>
              <a:gd name="connsiteX7" fmla="*/ 4986 w 10000"/>
              <a:gd name="connsiteY7" fmla="*/ 545 h 10000"/>
              <a:gd name="connsiteX8" fmla="*/ 5269 w 10000"/>
              <a:gd name="connsiteY8" fmla="*/ 927 h 10000"/>
              <a:gd name="connsiteX9" fmla="*/ 5298 w 10000"/>
              <a:gd name="connsiteY9" fmla="*/ 1491 h 10000"/>
              <a:gd name="connsiteX10" fmla="*/ 5581 w 10000"/>
              <a:gd name="connsiteY10" fmla="*/ 1709 h 10000"/>
              <a:gd name="connsiteX11" fmla="*/ 6261 w 10000"/>
              <a:gd name="connsiteY11" fmla="*/ 1709 h 10000"/>
              <a:gd name="connsiteX12" fmla="*/ 6686 w 10000"/>
              <a:gd name="connsiteY12" fmla="*/ 2509 h 10000"/>
              <a:gd name="connsiteX13" fmla="*/ 6686 w 10000"/>
              <a:gd name="connsiteY13" fmla="*/ 3055 h 10000"/>
              <a:gd name="connsiteX14" fmla="*/ 6998 w 10000"/>
              <a:gd name="connsiteY14" fmla="*/ 3418 h 10000"/>
              <a:gd name="connsiteX15" fmla="*/ 7308 w 10000"/>
              <a:gd name="connsiteY15" fmla="*/ 3418 h 10000"/>
              <a:gd name="connsiteX16" fmla="*/ 7988 w 10000"/>
              <a:gd name="connsiteY16" fmla="*/ 3055 h 10000"/>
              <a:gd name="connsiteX17" fmla="*/ 8385 w 10000"/>
              <a:gd name="connsiteY17" fmla="*/ 3291 h 10000"/>
              <a:gd name="connsiteX18" fmla="*/ 8413 w 10000"/>
              <a:gd name="connsiteY18" fmla="*/ 3745 h 10000"/>
              <a:gd name="connsiteX19" fmla="*/ 9150 w 10000"/>
              <a:gd name="connsiteY19" fmla="*/ 4036 h 10000"/>
              <a:gd name="connsiteX20" fmla="*/ 9038 w 10000"/>
              <a:gd name="connsiteY20" fmla="*/ 4527 h 10000"/>
              <a:gd name="connsiteX21" fmla="*/ 9065 w 10000"/>
              <a:gd name="connsiteY21" fmla="*/ 4655 h 10000"/>
              <a:gd name="connsiteX22" fmla="*/ 9179 w 10000"/>
              <a:gd name="connsiteY22" fmla="*/ 4727 h 10000"/>
              <a:gd name="connsiteX23" fmla="*/ 8923 w 10000"/>
              <a:gd name="connsiteY23" fmla="*/ 4982 h 10000"/>
              <a:gd name="connsiteX24" fmla="*/ 8840 w 10000"/>
              <a:gd name="connsiteY24" fmla="*/ 5291 h 10000"/>
              <a:gd name="connsiteX25" fmla="*/ 9236 w 10000"/>
              <a:gd name="connsiteY25" fmla="*/ 5927 h 10000"/>
              <a:gd name="connsiteX26" fmla="*/ 9829 w 10000"/>
              <a:gd name="connsiteY26" fmla="*/ 6000 h 10000"/>
              <a:gd name="connsiteX27" fmla="*/ 10000 w 10000"/>
              <a:gd name="connsiteY27" fmla="*/ 6309 h 10000"/>
              <a:gd name="connsiteX28" fmla="*/ 9829 w 10000"/>
              <a:gd name="connsiteY28" fmla="*/ 6927 h 10000"/>
              <a:gd name="connsiteX29" fmla="*/ 8951 w 10000"/>
              <a:gd name="connsiteY29" fmla="*/ 7473 h 10000"/>
              <a:gd name="connsiteX30" fmla="*/ 9179 w 10000"/>
              <a:gd name="connsiteY30" fmla="*/ 8455 h 10000"/>
              <a:gd name="connsiteX31" fmla="*/ 8840 w 10000"/>
              <a:gd name="connsiteY31" fmla="*/ 8873 h 10000"/>
              <a:gd name="connsiteX32" fmla="*/ 9065 w 10000"/>
              <a:gd name="connsiteY32" fmla="*/ 9327 h 10000"/>
              <a:gd name="connsiteX33" fmla="*/ 7988 w 10000"/>
              <a:gd name="connsiteY33" fmla="*/ 9182 h 10000"/>
              <a:gd name="connsiteX34" fmla="*/ 7451 w 10000"/>
              <a:gd name="connsiteY34" fmla="*/ 9327 h 10000"/>
              <a:gd name="connsiteX35" fmla="*/ 6912 w 10000"/>
              <a:gd name="connsiteY35" fmla="*/ 9327 h 10000"/>
              <a:gd name="connsiteX36" fmla="*/ 6261 w 10000"/>
              <a:gd name="connsiteY36" fmla="*/ 9455 h 10000"/>
              <a:gd name="connsiteX37" fmla="*/ 5610 w 10000"/>
              <a:gd name="connsiteY37" fmla="*/ 9545 h 10000"/>
              <a:gd name="connsiteX38" fmla="*/ 4618 w 10000"/>
              <a:gd name="connsiteY38" fmla="*/ 10000 h 10000"/>
              <a:gd name="connsiteX39" fmla="*/ 4646 w 10000"/>
              <a:gd name="connsiteY39" fmla="*/ 9109 h 10000"/>
              <a:gd name="connsiteX40" fmla="*/ 4447 w 10000"/>
              <a:gd name="connsiteY40" fmla="*/ 8873 h 10000"/>
              <a:gd name="connsiteX41" fmla="*/ 3768 w 10000"/>
              <a:gd name="connsiteY41" fmla="*/ 8782 h 10000"/>
              <a:gd name="connsiteX42" fmla="*/ 3542 w 10000"/>
              <a:gd name="connsiteY42" fmla="*/ 8400 h 10000"/>
              <a:gd name="connsiteX43" fmla="*/ 3115 w 10000"/>
              <a:gd name="connsiteY43" fmla="*/ 8382 h 10000"/>
              <a:gd name="connsiteX44" fmla="*/ 2917 w 10000"/>
              <a:gd name="connsiteY44" fmla="*/ 8473 h 10000"/>
              <a:gd name="connsiteX45" fmla="*/ 2040 w 10000"/>
              <a:gd name="connsiteY45" fmla="*/ 8382 h 10000"/>
              <a:gd name="connsiteX46" fmla="*/ 1700 w 10000"/>
              <a:gd name="connsiteY46" fmla="*/ 8564 h 10000"/>
              <a:gd name="connsiteX47" fmla="*/ 2267 w 10000"/>
              <a:gd name="connsiteY47" fmla="*/ 8173 h 10000"/>
              <a:gd name="connsiteX48" fmla="*/ 2951 w 10000"/>
              <a:gd name="connsiteY48" fmla="*/ 7969 h 10000"/>
              <a:gd name="connsiteX49" fmla="*/ 618 w 10000"/>
              <a:gd name="connsiteY49" fmla="*/ 7090 h 10000"/>
              <a:gd name="connsiteX50" fmla="*/ 1112 w 10000"/>
              <a:gd name="connsiteY50" fmla="*/ 6778 h 10000"/>
              <a:gd name="connsiteX51" fmla="*/ 607 w 10000"/>
              <a:gd name="connsiteY51" fmla="*/ 6726 h 10000"/>
              <a:gd name="connsiteX52" fmla="*/ 1039 w 10000"/>
              <a:gd name="connsiteY52" fmla="*/ 6877 h 10000"/>
              <a:gd name="connsiteX53" fmla="*/ 619 w 10000"/>
              <a:gd name="connsiteY53" fmla="*/ 6295 h 10000"/>
              <a:gd name="connsiteX54" fmla="*/ 0 w 10000"/>
              <a:gd name="connsiteY54" fmla="*/ 6309 h 10000"/>
              <a:gd name="connsiteX55" fmla="*/ 227 w 10000"/>
              <a:gd name="connsiteY55" fmla="*/ 5891 h 10000"/>
              <a:gd name="connsiteX56" fmla="*/ 850 w 10000"/>
              <a:gd name="connsiteY56" fmla="*/ 5618 h 10000"/>
              <a:gd name="connsiteX57" fmla="*/ 963 w 10000"/>
              <a:gd name="connsiteY57" fmla="*/ 5218 h 10000"/>
              <a:gd name="connsiteX58" fmla="*/ 878 w 10000"/>
              <a:gd name="connsiteY58" fmla="*/ 4800 h 10000"/>
              <a:gd name="connsiteX59" fmla="*/ 1274 w 10000"/>
              <a:gd name="connsiteY59" fmla="*/ 4582 h 10000"/>
              <a:gd name="connsiteX60" fmla="*/ 737 w 10000"/>
              <a:gd name="connsiteY60" fmla="*/ 3982 h 10000"/>
              <a:gd name="connsiteX61" fmla="*/ 1304 w 10000"/>
              <a:gd name="connsiteY61" fmla="*/ 3182 h 10000"/>
              <a:gd name="connsiteX62" fmla="*/ 680 w 10000"/>
              <a:gd name="connsiteY62" fmla="*/ 2636 h 10000"/>
              <a:gd name="connsiteX63" fmla="*/ 850 w 10000"/>
              <a:gd name="connsiteY63" fmla="*/ 2036 h 10000"/>
              <a:gd name="connsiteX64" fmla="*/ 227 w 10000"/>
              <a:gd name="connsiteY64" fmla="*/ 1491 h 10000"/>
              <a:gd name="connsiteX65" fmla="*/ 227 w 10000"/>
              <a:gd name="connsiteY65" fmla="*/ 691 h 10000"/>
              <a:gd name="connsiteX0" fmla="*/ 227 w 10000"/>
              <a:gd name="connsiteY0" fmla="*/ 691 h 10000"/>
              <a:gd name="connsiteX1" fmla="*/ 2577 w 10000"/>
              <a:gd name="connsiteY1" fmla="*/ 73 h 10000"/>
              <a:gd name="connsiteX2" fmla="*/ 3654 w 10000"/>
              <a:gd name="connsiteY2" fmla="*/ 0 h 10000"/>
              <a:gd name="connsiteX3" fmla="*/ 4306 w 10000"/>
              <a:gd name="connsiteY3" fmla="*/ 18 h 10000"/>
              <a:gd name="connsiteX4" fmla="*/ 4533 w 10000"/>
              <a:gd name="connsiteY4" fmla="*/ 145 h 10000"/>
              <a:gd name="connsiteX5" fmla="*/ 4730 w 10000"/>
              <a:gd name="connsiteY5" fmla="*/ 309 h 10000"/>
              <a:gd name="connsiteX6" fmla="*/ 4759 w 10000"/>
              <a:gd name="connsiteY6" fmla="*/ 491 h 10000"/>
              <a:gd name="connsiteX7" fmla="*/ 4986 w 10000"/>
              <a:gd name="connsiteY7" fmla="*/ 545 h 10000"/>
              <a:gd name="connsiteX8" fmla="*/ 5269 w 10000"/>
              <a:gd name="connsiteY8" fmla="*/ 927 h 10000"/>
              <a:gd name="connsiteX9" fmla="*/ 5298 w 10000"/>
              <a:gd name="connsiteY9" fmla="*/ 1491 h 10000"/>
              <a:gd name="connsiteX10" fmla="*/ 5581 w 10000"/>
              <a:gd name="connsiteY10" fmla="*/ 1709 h 10000"/>
              <a:gd name="connsiteX11" fmla="*/ 6261 w 10000"/>
              <a:gd name="connsiteY11" fmla="*/ 1709 h 10000"/>
              <a:gd name="connsiteX12" fmla="*/ 6686 w 10000"/>
              <a:gd name="connsiteY12" fmla="*/ 2509 h 10000"/>
              <a:gd name="connsiteX13" fmla="*/ 6686 w 10000"/>
              <a:gd name="connsiteY13" fmla="*/ 3055 h 10000"/>
              <a:gd name="connsiteX14" fmla="*/ 6998 w 10000"/>
              <a:gd name="connsiteY14" fmla="*/ 3418 h 10000"/>
              <a:gd name="connsiteX15" fmla="*/ 7308 w 10000"/>
              <a:gd name="connsiteY15" fmla="*/ 3418 h 10000"/>
              <a:gd name="connsiteX16" fmla="*/ 7988 w 10000"/>
              <a:gd name="connsiteY16" fmla="*/ 3055 h 10000"/>
              <a:gd name="connsiteX17" fmla="*/ 8385 w 10000"/>
              <a:gd name="connsiteY17" fmla="*/ 3291 h 10000"/>
              <a:gd name="connsiteX18" fmla="*/ 8413 w 10000"/>
              <a:gd name="connsiteY18" fmla="*/ 3745 h 10000"/>
              <a:gd name="connsiteX19" fmla="*/ 9150 w 10000"/>
              <a:gd name="connsiteY19" fmla="*/ 4036 h 10000"/>
              <a:gd name="connsiteX20" fmla="*/ 9038 w 10000"/>
              <a:gd name="connsiteY20" fmla="*/ 4527 h 10000"/>
              <a:gd name="connsiteX21" fmla="*/ 9065 w 10000"/>
              <a:gd name="connsiteY21" fmla="*/ 4655 h 10000"/>
              <a:gd name="connsiteX22" fmla="*/ 9179 w 10000"/>
              <a:gd name="connsiteY22" fmla="*/ 4727 h 10000"/>
              <a:gd name="connsiteX23" fmla="*/ 8923 w 10000"/>
              <a:gd name="connsiteY23" fmla="*/ 4982 h 10000"/>
              <a:gd name="connsiteX24" fmla="*/ 8840 w 10000"/>
              <a:gd name="connsiteY24" fmla="*/ 5291 h 10000"/>
              <a:gd name="connsiteX25" fmla="*/ 9236 w 10000"/>
              <a:gd name="connsiteY25" fmla="*/ 5927 h 10000"/>
              <a:gd name="connsiteX26" fmla="*/ 9829 w 10000"/>
              <a:gd name="connsiteY26" fmla="*/ 6000 h 10000"/>
              <a:gd name="connsiteX27" fmla="*/ 10000 w 10000"/>
              <a:gd name="connsiteY27" fmla="*/ 6309 h 10000"/>
              <a:gd name="connsiteX28" fmla="*/ 9829 w 10000"/>
              <a:gd name="connsiteY28" fmla="*/ 6927 h 10000"/>
              <a:gd name="connsiteX29" fmla="*/ 8951 w 10000"/>
              <a:gd name="connsiteY29" fmla="*/ 7473 h 10000"/>
              <a:gd name="connsiteX30" fmla="*/ 9179 w 10000"/>
              <a:gd name="connsiteY30" fmla="*/ 8455 h 10000"/>
              <a:gd name="connsiteX31" fmla="*/ 8840 w 10000"/>
              <a:gd name="connsiteY31" fmla="*/ 8873 h 10000"/>
              <a:gd name="connsiteX32" fmla="*/ 9065 w 10000"/>
              <a:gd name="connsiteY32" fmla="*/ 9327 h 10000"/>
              <a:gd name="connsiteX33" fmla="*/ 7988 w 10000"/>
              <a:gd name="connsiteY33" fmla="*/ 9182 h 10000"/>
              <a:gd name="connsiteX34" fmla="*/ 7451 w 10000"/>
              <a:gd name="connsiteY34" fmla="*/ 9327 h 10000"/>
              <a:gd name="connsiteX35" fmla="*/ 6912 w 10000"/>
              <a:gd name="connsiteY35" fmla="*/ 9327 h 10000"/>
              <a:gd name="connsiteX36" fmla="*/ 6261 w 10000"/>
              <a:gd name="connsiteY36" fmla="*/ 9455 h 10000"/>
              <a:gd name="connsiteX37" fmla="*/ 5610 w 10000"/>
              <a:gd name="connsiteY37" fmla="*/ 9545 h 10000"/>
              <a:gd name="connsiteX38" fmla="*/ 4618 w 10000"/>
              <a:gd name="connsiteY38" fmla="*/ 10000 h 10000"/>
              <a:gd name="connsiteX39" fmla="*/ 4646 w 10000"/>
              <a:gd name="connsiteY39" fmla="*/ 9109 h 10000"/>
              <a:gd name="connsiteX40" fmla="*/ 4447 w 10000"/>
              <a:gd name="connsiteY40" fmla="*/ 8873 h 10000"/>
              <a:gd name="connsiteX41" fmla="*/ 3768 w 10000"/>
              <a:gd name="connsiteY41" fmla="*/ 8782 h 10000"/>
              <a:gd name="connsiteX42" fmla="*/ 3542 w 10000"/>
              <a:gd name="connsiteY42" fmla="*/ 8400 h 10000"/>
              <a:gd name="connsiteX43" fmla="*/ 3115 w 10000"/>
              <a:gd name="connsiteY43" fmla="*/ 8382 h 10000"/>
              <a:gd name="connsiteX44" fmla="*/ 2917 w 10000"/>
              <a:gd name="connsiteY44" fmla="*/ 8473 h 10000"/>
              <a:gd name="connsiteX45" fmla="*/ 2040 w 10000"/>
              <a:gd name="connsiteY45" fmla="*/ 8382 h 10000"/>
              <a:gd name="connsiteX46" fmla="*/ 1700 w 10000"/>
              <a:gd name="connsiteY46" fmla="*/ 8564 h 10000"/>
              <a:gd name="connsiteX47" fmla="*/ 2267 w 10000"/>
              <a:gd name="connsiteY47" fmla="*/ 8173 h 10000"/>
              <a:gd name="connsiteX48" fmla="*/ 2951 w 10000"/>
              <a:gd name="connsiteY48" fmla="*/ 7969 h 10000"/>
              <a:gd name="connsiteX49" fmla="*/ 1901 w 10000"/>
              <a:gd name="connsiteY49" fmla="*/ 7254 h 10000"/>
              <a:gd name="connsiteX50" fmla="*/ 618 w 10000"/>
              <a:gd name="connsiteY50" fmla="*/ 7090 h 10000"/>
              <a:gd name="connsiteX51" fmla="*/ 1112 w 10000"/>
              <a:gd name="connsiteY51" fmla="*/ 6778 h 10000"/>
              <a:gd name="connsiteX52" fmla="*/ 607 w 10000"/>
              <a:gd name="connsiteY52" fmla="*/ 6726 h 10000"/>
              <a:gd name="connsiteX53" fmla="*/ 1039 w 10000"/>
              <a:gd name="connsiteY53" fmla="*/ 6877 h 10000"/>
              <a:gd name="connsiteX54" fmla="*/ 619 w 10000"/>
              <a:gd name="connsiteY54" fmla="*/ 6295 h 10000"/>
              <a:gd name="connsiteX55" fmla="*/ 0 w 10000"/>
              <a:gd name="connsiteY55" fmla="*/ 6309 h 10000"/>
              <a:gd name="connsiteX56" fmla="*/ 227 w 10000"/>
              <a:gd name="connsiteY56" fmla="*/ 5891 h 10000"/>
              <a:gd name="connsiteX57" fmla="*/ 850 w 10000"/>
              <a:gd name="connsiteY57" fmla="*/ 5618 h 10000"/>
              <a:gd name="connsiteX58" fmla="*/ 963 w 10000"/>
              <a:gd name="connsiteY58" fmla="*/ 5218 h 10000"/>
              <a:gd name="connsiteX59" fmla="*/ 878 w 10000"/>
              <a:gd name="connsiteY59" fmla="*/ 4800 h 10000"/>
              <a:gd name="connsiteX60" fmla="*/ 1274 w 10000"/>
              <a:gd name="connsiteY60" fmla="*/ 4582 h 10000"/>
              <a:gd name="connsiteX61" fmla="*/ 737 w 10000"/>
              <a:gd name="connsiteY61" fmla="*/ 3982 h 10000"/>
              <a:gd name="connsiteX62" fmla="*/ 1304 w 10000"/>
              <a:gd name="connsiteY62" fmla="*/ 3182 h 10000"/>
              <a:gd name="connsiteX63" fmla="*/ 680 w 10000"/>
              <a:gd name="connsiteY63" fmla="*/ 2636 h 10000"/>
              <a:gd name="connsiteX64" fmla="*/ 850 w 10000"/>
              <a:gd name="connsiteY64" fmla="*/ 2036 h 10000"/>
              <a:gd name="connsiteX65" fmla="*/ 227 w 10000"/>
              <a:gd name="connsiteY65" fmla="*/ 1491 h 10000"/>
              <a:gd name="connsiteX66" fmla="*/ 227 w 10000"/>
              <a:gd name="connsiteY66" fmla="*/ 691 h 10000"/>
              <a:gd name="connsiteX0" fmla="*/ 227 w 10000"/>
              <a:gd name="connsiteY0" fmla="*/ 691 h 10000"/>
              <a:gd name="connsiteX1" fmla="*/ 2577 w 10000"/>
              <a:gd name="connsiteY1" fmla="*/ 73 h 10000"/>
              <a:gd name="connsiteX2" fmla="*/ 3654 w 10000"/>
              <a:gd name="connsiteY2" fmla="*/ 0 h 10000"/>
              <a:gd name="connsiteX3" fmla="*/ 4306 w 10000"/>
              <a:gd name="connsiteY3" fmla="*/ 18 h 10000"/>
              <a:gd name="connsiteX4" fmla="*/ 4533 w 10000"/>
              <a:gd name="connsiteY4" fmla="*/ 145 h 10000"/>
              <a:gd name="connsiteX5" fmla="*/ 4730 w 10000"/>
              <a:gd name="connsiteY5" fmla="*/ 309 h 10000"/>
              <a:gd name="connsiteX6" fmla="*/ 4759 w 10000"/>
              <a:gd name="connsiteY6" fmla="*/ 491 h 10000"/>
              <a:gd name="connsiteX7" fmla="*/ 4986 w 10000"/>
              <a:gd name="connsiteY7" fmla="*/ 545 h 10000"/>
              <a:gd name="connsiteX8" fmla="*/ 5269 w 10000"/>
              <a:gd name="connsiteY8" fmla="*/ 927 h 10000"/>
              <a:gd name="connsiteX9" fmla="*/ 5298 w 10000"/>
              <a:gd name="connsiteY9" fmla="*/ 1491 h 10000"/>
              <a:gd name="connsiteX10" fmla="*/ 5581 w 10000"/>
              <a:gd name="connsiteY10" fmla="*/ 1709 h 10000"/>
              <a:gd name="connsiteX11" fmla="*/ 6261 w 10000"/>
              <a:gd name="connsiteY11" fmla="*/ 1709 h 10000"/>
              <a:gd name="connsiteX12" fmla="*/ 6686 w 10000"/>
              <a:gd name="connsiteY12" fmla="*/ 2509 h 10000"/>
              <a:gd name="connsiteX13" fmla="*/ 6686 w 10000"/>
              <a:gd name="connsiteY13" fmla="*/ 3055 h 10000"/>
              <a:gd name="connsiteX14" fmla="*/ 6998 w 10000"/>
              <a:gd name="connsiteY14" fmla="*/ 3418 h 10000"/>
              <a:gd name="connsiteX15" fmla="*/ 7308 w 10000"/>
              <a:gd name="connsiteY15" fmla="*/ 3418 h 10000"/>
              <a:gd name="connsiteX16" fmla="*/ 7988 w 10000"/>
              <a:gd name="connsiteY16" fmla="*/ 3055 h 10000"/>
              <a:gd name="connsiteX17" fmla="*/ 8385 w 10000"/>
              <a:gd name="connsiteY17" fmla="*/ 3291 h 10000"/>
              <a:gd name="connsiteX18" fmla="*/ 8413 w 10000"/>
              <a:gd name="connsiteY18" fmla="*/ 3745 h 10000"/>
              <a:gd name="connsiteX19" fmla="*/ 9150 w 10000"/>
              <a:gd name="connsiteY19" fmla="*/ 4036 h 10000"/>
              <a:gd name="connsiteX20" fmla="*/ 9038 w 10000"/>
              <a:gd name="connsiteY20" fmla="*/ 4527 h 10000"/>
              <a:gd name="connsiteX21" fmla="*/ 9065 w 10000"/>
              <a:gd name="connsiteY21" fmla="*/ 4655 h 10000"/>
              <a:gd name="connsiteX22" fmla="*/ 9179 w 10000"/>
              <a:gd name="connsiteY22" fmla="*/ 4727 h 10000"/>
              <a:gd name="connsiteX23" fmla="*/ 8923 w 10000"/>
              <a:gd name="connsiteY23" fmla="*/ 4982 h 10000"/>
              <a:gd name="connsiteX24" fmla="*/ 8840 w 10000"/>
              <a:gd name="connsiteY24" fmla="*/ 5291 h 10000"/>
              <a:gd name="connsiteX25" fmla="*/ 9236 w 10000"/>
              <a:gd name="connsiteY25" fmla="*/ 5927 h 10000"/>
              <a:gd name="connsiteX26" fmla="*/ 9829 w 10000"/>
              <a:gd name="connsiteY26" fmla="*/ 6000 h 10000"/>
              <a:gd name="connsiteX27" fmla="*/ 10000 w 10000"/>
              <a:gd name="connsiteY27" fmla="*/ 6309 h 10000"/>
              <a:gd name="connsiteX28" fmla="*/ 9829 w 10000"/>
              <a:gd name="connsiteY28" fmla="*/ 6927 h 10000"/>
              <a:gd name="connsiteX29" fmla="*/ 8951 w 10000"/>
              <a:gd name="connsiteY29" fmla="*/ 7473 h 10000"/>
              <a:gd name="connsiteX30" fmla="*/ 9179 w 10000"/>
              <a:gd name="connsiteY30" fmla="*/ 8455 h 10000"/>
              <a:gd name="connsiteX31" fmla="*/ 8840 w 10000"/>
              <a:gd name="connsiteY31" fmla="*/ 8873 h 10000"/>
              <a:gd name="connsiteX32" fmla="*/ 9065 w 10000"/>
              <a:gd name="connsiteY32" fmla="*/ 9327 h 10000"/>
              <a:gd name="connsiteX33" fmla="*/ 7988 w 10000"/>
              <a:gd name="connsiteY33" fmla="*/ 9182 h 10000"/>
              <a:gd name="connsiteX34" fmla="*/ 7451 w 10000"/>
              <a:gd name="connsiteY34" fmla="*/ 9327 h 10000"/>
              <a:gd name="connsiteX35" fmla="*/ 6912 w 10000"/>
              <a:gd name="connsiteY35" fmla="*/ 9327 h 10000"/>
              <a:gd name="connsiteX36" fmla="*/ 6261 w 10000"/>
              <a:gd name="connsiteY36" fmla="*/ 9455 h 10000"/>
              <a:gd name="connsiteX37" fmla="*/ 5610 w 10000"/>
              <a:gd name="connsiteY37" fmla="*/ 9545 h 10000"/>
              <a:gd name="connsiteX38" fmla="*/ 4618 w 10000"/>
              <a:gd name="connsiteY38" fmla="*/ 10000 h 10000"/>
              <a:gd name="connsiteX39" fmla="*/ 4646 w 10000"/>
              <a:gd name="connsiteY39" fmla="*/ 9109 h 10000"/>
              <a:gd name="connsiteX40" fmla="*/ 4447 w 10000"/>
              <a:gd name="connsiteY40" fmla="*/ 8873 h 10000"/>
              <a:gd name="connsiteX41" fmla="*/ 3768 w 10000"/>
              <a:gd name="connsiteY41" fmla="*/ 8782 h 10000"/>
              <a:gd name="connsiteX42" fmla="*/ 3542 w 10000"/>
              <a:gd name="connsiteY42" fmla="*/ 8400 h 10000"/>
              <a:gd name="connsiteX43" fmla="*/ 3115 w 10000"/>
              <a:gd name="connsiteY43" fmla="*/ 8382 h 10000"/>
              <a:gd name="connsiteX44" fmla="*/ 2917 w 10000"/>
              <a:gd name="connsiteY44" fmla="*/ 8473 h 10000"/>
              <a:gd name="connsiteX45" fmla="*/ 2040 w 10000"/>
              <a:gd name="connsiteY45" fmla="*/ 8382 h 10000"/>
              <a:gd name="connsiteX46" fmla="*/ 1700 w 10000"/>
              <a:gd name="connsiteY46" fmla="*/ 8564 h 10000"/>
              <a:gd name="connsiteX47" fmla="*/ 2267 w 10000"/>
              <a:gd name="connsiteY47" fmla="*/ 8173 h 10000"/>
              <a:gd name="connsiteX48" fmla="*/ 2951 w 10000"/>
              <a:gd name="connsiteY48" fmla="*/ 7969 h 10000"/>
              <a:gd name="connsiteX49" fmla="*/ 1901 w 10000"/>
              <a:gd name="connsiteY49" fmla="*/ 7254 h 10000"/>
              <a:gd name="connsiteX50" fmla="*/ 1144 w 10000"/>
              <a:gd name="connsiteY50" fmla="*/ 6840 h 10000"/>
              <a:gd name="connsiteX51" fmla="*/ 1112 w 10000"/>
              <a:gd name="connsiteY51" fmla="*/ 6778 h 10000"/>
              <a:gd name="connsiteX52" fmla="*/ 607 w 10000"/>
              <a:gd name="connsiteY52" fmla="*/ 6726 h 10000"/>
              <a:gd name="connsiteX53" fmla="*/ 1039 w 10000"/>
              <a:gd name="connsiteY53" fmla="*/ 6877 h 10000"/>
              <a:gd name="connsiteX54" fmla="*/ 619 w 10000"/>
              <a:gd name="connsiteY54" fmla="*/ 6295 h 10000"/>
              <a:gd name="connsiteX55" fmla="*/ 0 w 10000"/>
              <a:gd name="connsiteY55" fmla="*/ 6309 h 10000"/>
              <a:gd name="connsiteX56" fmla="*/ 227 w 10000"/>
              <a:gd name="connsiteY56" fmla="*/ 5891 h 10000"/>
              <a:gd name="connsiteX57" fmla="*/ 850 w 10000"/>
              <a:gd name="connsiteY57" fmla="*/ 5618 h 10000"/>
              <a:gd name="connsiteX58" fmla="*/ 963 w 10000"/>
              <a:gd name="connsiteY58" fmla="*/ 5218 h 10000"/>
              <a:gd name="connsiteX59" fmla="*/ 878 w 10000"/>
              <a:gd name="connsiteY59" fmla="*/ 4800 h 10000"/>
              <a:gd name="connsiteX60" fmla="*/ 1274 w 10000"/>
              <a:gd name="connsiteY60" fmla="*/ 4582 h 10000"/>
              <a:gd name="connsiteX61" fmla="*/ 737 w 10000"/>
              <a:gd name="connsiteY61" fmla="*/ 3982 h 10000"/>
              <a:gd name="connsiteX62" fmla="*/ 1304 w 10000"/>
              <a:gd name="connsiteY62" fmla="*/ 3182 h 10000"/>
              <a:gd name="connsiteX63" fmla="*/ 680 w 10000"/>
              <a:gd name="connsiteY63" fmla="*/ 2636 h 10000"/>
              <a:gd name="connsiteX64" fmla="*/ 850 w 10000"/>
              <a:gd name="connsiteY64" fmla="*/ 2036 h 10000"/>
              <a:gd name="connsiteX65" fmla="*/ 227 w 10000"/>
              <a:gd name="connsiteY65" fmla="*/ 1491 h 10000"/>
              <a:gd name="connsiteX66" fmla="*/ 227 w 10000"/>
              <a:gd name="connsiteY66" fmla="*/ 691 h 10000"/>
              <a:gd name="connsiteX0" fmla="*/ 227 w 10000"/>
              <a:gd name="connsiteY0" fmla="*/ 691 h 10000"/>
              <a:gd name="connsiteX1" fmla="*/ 2577 w 10000"/>
              <a:gd name="connsiteY1" fmla="*/ 73 h 10000"/>
              <a:gd name="connsiteX2" fmla="*/ 3654 w 10000"/>
              <a:gd name="connsiteY2" fmla="*/ 0 h 10000"/>
              <a:gd name="connsiteX3" fmla="*/ 4306 w 10000"/>
              <a:gd name="connsiteY3" fmla="*/ 18 h 10000"/>
              <a:gd name="connsiteX4" fmla="*/ 4533 w 10000"/>
              <a:gd name="connsiteY4" fmla="*/ 145 h 10000"/>
              <a:gd name="connsiteX5" fmla="*/ 4730 w 10000"/>
              <a:gd name="connsiteY5" fmla="*/ 309 h 10000"/>
              <a:gd name="connsiteX6" fmla="*/ 4759 w 10000"/>
              <a:gd name="connsiteY6" fmla="*/ 491 h 10000"/>
              <a:gd name="connsiteX7" fmla="*/ 4986 w 10000"/>
              <a:gd name="connsiteY7" fmla="*/ 545 h 10000"/>
              <a:gd name="connsiteX8" fmla="*/ 5269 w 10000"/>
              <a:gd name="connsiteY8" fmla="*/ 927 h 10000"/>
              <a:gd name="connsiteX9" fmla="*/ 5298 w 10000"/>
              <a:gd name="connsiteY9" fmla="*/ 1491 h 10000"/>
              <a:gd name="connsiteX10" fmla="*/ 5581 w 10000"/>
              <a:gd name="connsiteY10" fmla="*/ 1709 h 10000"/>
              <a:gd name="connsiteX11" fmla="*/ 6261 w 10000"/>
              <a:gd name="connsiteY11" fmla="*/ 1709 h 10000"/>
              <a:gd name="connsiteX12" fmla="*/ 6686 w 10000"/>
              <a:gd name="connsiteY12" fmla="*/ 2509 h 10000"/>
              <a:gd name="connsiteX13" fmla="*/ 6686 w 10000"/>
              <a:gd name="connsiteY13" fmla="*/ 3055 h 10000"/>
              <a:gd name="connsiteX14" fmla="*/ 6998 w 10000"/>
              <a:gd name="connsiteY14" fmla="*/ 3418 h 10000"/>
              <a:gd name="connsiteX15" fmla="*/ 7308 w 10000"/>
              <a:gd name="connsiteY15" fmla="*/ 3418 h 10000"/>
              <a:gd name="connsiteX16" fmla="*/ 7988 w 10000"/>
              <a:gd name="connsiteY16" fmla="*/ 3055 h 10000"/>
              <a:gd name="connsiteX17" fmla="*/ 8385 w 10000"/>
              <a:gd name="connsiteY17" fmla="*/ 3291 h 10000"/>
              <a:gd name="connsiteX18" fmla="*/ 8413 w 10000"/>
              <a:gd name="connsiteY18" fmla="*/ 3745 h 10000"/>
              <a:gd name="connsiteX19" fmla="*/ 9150 w 10000"/>
              <a:gd name="connsiteY19" fmla="*/ 4036 h 10000"/>
              <a:gd name="connsiteX20" fmla="*/ 9038 w 10000"/>
              <a:gd name="connsiteY20" fmla="*/ 4527 h 10000"/>
              <a:gd name="connsiteX21" fmla="*/ 9065 w 10000"/>
              <a:gd name="connsiteY21" fmla="*/ 4655 h 10000"/>
              <a:gd name="connsiteX22" fmla="*/ 9179 w 10000"/>
              <a:gd name="connsiteY22" fmla="*/ 4727 h 10000"/>
              <a:gd name="connsiteX23" fmla="*/ 8923 w 10000"/>
              <a:gd name="connsiteY23" fmla="*/ 4982 h 10000"/>
              <a:gd name="connsiteX24" fmla="*/ 8840 w 10000"/>
              <a:gd name="connsiteY24" fmla="*/ 5291 h 10000"/>
              <a:gd name="connsiteX25" fmla="*/ 9236 w 10000"/>
              <a:gd name="connsiteY25" fmla="*/ 5927 h 10000"/>
              <a:gd name="connsiteX26" fmla="*/ 9829 w 10000"/>
              <a:gd name="connsiteY26" fmla="*/ 6000 h 10000"/>
              <a:gd name="connsiteX27" fmla="*/ 10000 w 10000"/>
              <a:gd name="connsiteY27" fmla="*/ 6309 h 10000"/>
              <a:gd name="connsiteX28" fmla="*/ 9829 w 10000"/>
              <a:gd name="connsiteY28" fmla="*/ 6927 h 10000"/>
              <a:gd name="connsiteX29" fmla="*/ 8951 w 10000"/>
              <a:gd name="connsiteY29" fmla="*/ 7473 h 10000"/>
              <a:gd name="connsiteX30" fmla="*/ 9179 w 10000"/>
              <a:gd name="connsiteY30" fmla="*/ 8455 h 10000"/>
              <a:gd name="connsiteX31" fmla="*/ 8840 w 10000"/>
              <a:gd name="connsiteY31" fmla="*/ 8873 h 10000"/>
              <a:gd name="connsiteX32" fmla="*/ 9065 w 10000"/>
              <a:gd name="connsiteY32" fmla="*/ 9327 h 10000"/>
              <a:gd name="connsiteX33" fmla="*/ 7988 w 10000"/>
              <a:gd name="connsiteY33" fmla="*/ 9182 h 10000"/>
              <a:gd name="connsiteX34" fmla="*/ 7451 w 10000"/>
              <a:gd name="connsiteY34" fmla="*/ 9327 h 10000"/>
              <a:gd name="connsiteX35" fmla="*/ 6912 w 10000"/>
              <a:gd name="connsiteY35" fmla="*/ 9327 h 10000"/>
              <a:gd name="connsiteX36" fmla="*/ 6261 w 10000"/>
              <a:gd name="connsiteY36" fmla="*/ 9455 h 10000"/>
              <a:gd name="connsiteX37" fmla="*/ 5610 w 10000"/>
              <a:gd name="connsiteY37" fmla="*/ 9545 h 10000"/>
              <a:gd name="connsiteX38" fmla="*/ 4618 w 10000"/>
              <a:gd name="connsiteY38" fmla="*/ 10000 h 10000"/>
              <a:gd name="connsiteX39" fmla="*/ 4646 w 10000"/>
              <a:gd name="connsiteY39" fmla="*/ 9109 h 10000"/>
              <a:gd name="connsiteX40" fmla="*/ 4447 w 10000"/>
              <a:gd name="connsiteY40" fmla="*/ 8873 h 10000"/>
              <a:gd name="connsiteX41" fmla="*/ 3768 w 10000"/>
              <a:gd name="connsiteY41" fmla="*/ 8782 h 10000"/>
              <a:gd name="connsiteX42" fmla="*/ 3542 w 10000"/>
              <a:gd name="connsiteY42" fmla="*/ 8400 h 10000"/>
              <a:gd name="connsiteX43" fmla="*/ 3115 w 10000"/>
              <a:gd name="connsiteY43" fmla="*/ 8382 h 10000"/>
              <a:gd name="connsiteX44" fmla="*/ 2917 w 10000"/>
              <a:gd name="connsiteY44" fmla="*/ 8473 h 10000"/>
              <a:gd name="connsiteX45" fmla="*/ 2040 w 10000"/>
              <a:gd name="connsiteY45" fmla="*/ 8382 h 10000"/>
              <a:gd name="connsiteX46" fmla="*/ 1700 w 10000"/>
              <a:gd name="connsiteY46" fmla="*/ 8564 h 10000"/>
              <a:gd name="connsiteX47" fmla="*/ 2267 w 10000"/>
              <a:gd name="connsiteY47" fmla="*/ 8173 h 10000"/>
              <a:gd name="connsiteX48" fmla="*/ 2583 w 10000"/>
              <a:gd name="connsiteY48" fmla="*/ 8144 h 10000"/>
              <a:gd name="connsiteX49" fmla="*/ 1901 w 10000"/>
              <a:gd name="connsiteY49" fmla="*/ 7254 h 10000"/>
              <a:gd name="connsiteX50" fmla="*/ 1144 w 10000"/>
              <a:gd name="connsiteY50" fmla="*/ 6840 h 10000"/>
              <a:gd name="connsiteX51" fmla="*/ 1112 w 10000"/>
              <a:gd name="connsiteY51" fmla="*/ 6778 h 10000"/>
              <a:gd name="connsiteX52" fmla="*/ 607 w 10000"/>
              <a:gd name="connsiteY52" fmla="*/ 6726 h 10000"/>
              <a:gd name="connsiteX53" fmla="*/ 1039 w 10000"/>
              <a:gd name="connsiteY53" fmla="*/ 6877 h 10000"/>
              <a:gd name="connsiteX54" fmla="*/ 619 w 10000"/>
              <a:gd name="connsiteY54" fmla="*/ 6295 h 10000"/>
              <a:gd name="connsiteX55" fmla="*/ 0 w 10000"/>
              <a:gd name="connsiteY55" fmla="*/ 6309 h 10000"/>
              <a:gd name="connsiteX56" fmla="*/ 227 w 10000"/>
              <a:gd name="connsiteY56" fmla="*/ 5891 h 10000"/>
              <a:gd name="connsiteX57" fmla="*/ 850 w 10000"/>
              <a:gd name="connsiteY57" fmla="*/ 5618 h 10000"/>
              <a:gd name="connsiteX58" fmla="*/ 963 w 10000"/>
              <a:gd name="connsiteY58" fmla="*/ 5218 h 10000"/>
              <a:gd name="connsiteX59" fmla="*/ 878 w 10000"/>
              <a:gd name="connsiteY59" fmla="*/ 4800 h 10000"/>
              <a:gd name="connsiteX60" fmla="*/ 1274 w 10000"/>
              <a:gd name="connsiteY60" fmla="*/ 4582 h 10000"/>
              <a:gd name="connsiteX61" fmla="*/ 737 w 10000"/>
              <a:gd name="connsiteY61" fmla="*/ 3982 h 10000"/>
              <a:gd name="connsiteX62" fmla="*/ 1304 w 10000"/>
              <a:gd name="connsiteY62" fmla="*/ 3182 h 10000"/>
              <a:gd name="connsiteX63" fmla="*/ 680 w 10000"/>
              <a:gd name="connsiteY63" fmla="*/ 2636 h 10000"/>
              <a:gd name="connsiteX64" fmla="*/ 850 w 10000"/>
              <a:gd name="connsiteY64" fmla="*/ 2036 h 10000"/>
              <a:gd name="connsiteX65" fmla="*/ 227 w 10000"/>
              <a:gd name="connsiteY65" fmla="*/ 1491 h 10000"/>
              <a:gd name="connsiteX66" fmla="*/ 227 w 10000"/>
              <a:gd name="connsiteY66" fmla="*/ 69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000" h="10000">
                <a:moveTo>
                  <a:pt x="227" y="691"/>
                </a:moveTo>
                <a:lnTo>
                  <a:pt x="2577" y="73"/>
                </a:lnTo>
                <a:lnTo>
                  <a:pt x="3654" y="0"/>
                </a:lnTo>
                <a:lnTo>
                  <a:pt x="4306" y="18"/>
                </a:lnTo>
                <a:lnTo>
                  <a:pt x="4533" y="145"/>
                </a:lnTo>
                <a:cubicBezTo>
                  <a:pt x="4598" y="200"/>
                  <a:pt x="4664" y="254"/>
                  <a:pt x="4730" y="309"/>
                </a:cubicBezTo>
                <a:cubicBezTo>
                  <a:pt x="4740" y="370"/>
                  <a:pt x="4749" y="430"/>
                  <a:pt x="4759" y="491"/>
                </a:cubicBezTo>
                <a:lnTo>
                  <a:pt x="4986" y="545"/>
                </a:lnTo>
                <a:lnTo>
                  <a:pt x="5269" y="927"/>
                </a:lnTo>
                <a:cubicBezTo>
                  <a:pt x="5279" y="1115"/>
                  <a:pt x="5288" y="1303"/>
                  <a:pt x="5298" y="1491"/>
                </a:cubicBezTo>
                <a:lnTo>
                  <a:pt x="5581" y="1709"/>
                </a:lnTo>
                <a:lnTo>
                  <a:pt x="6261" y="1709"/>
                </a:lnTo>
                <a:lnTo>
                  <a:pt x="6686" y="2509"/>
                </a:lnTo>
                <a:lnTo>
                  <a:pt x="6686" y="3055"/>
                </a:lnTo>
                <a:lnTo>
                  <a:pt x="6998" y="3418"/>
                </a:lnTo>
                <a:lnTo>
                  <a:pt x="7308" y="3418"/>
                </a:lnTo>
                <a:lnTo>
                  <a:pt x="7988" y="3055"/>
                </a:lnTo>
                <a:lnTo>
                  <a:pt x="8385" y="3291"/>
                </a:lnTo>
                <a:cubicBezTo>
                  <a:pt x="8394" y="3442"/>
                  <a:pt x="8404" y="3594"/>
                  <a:pt x="8413" y="3745"/>
                </a:cubicBezTo>
                <a:lnTo>
                  <a:pt x="9150" y="4036"/>
                </a:lnTo>
                <a:cubicBezTo>
                  <a:pt x="9112" y="4200"/>
                  <a:pt x="9075" y="4363"/>
                  <a:pt x="9038" y="4527"/>
                </a:cubicBezTo>
                <a:cubicBezTo>
                  <a:pt x="9046" y="4570"/>
                  <a:pt x="9057" y="4612"/>
                  <a:pt x="9065" y="4655"/>
                </a:cubicBezTo>
                <a:lnTo>
                  <a:pt x="9179" y="4727"/>
                </a:lnTo>
                <a:lnTo>
                  <a:pt x="8923" y="4982"/>
                </a:lnTo>
                <a:cubicBezTo>
                  <a:pt x="8896" y="5085"/>
                  <a:pt x="8867" y="5188"/>
                  <a:pt x="8840" y="5291"/>
                </a:cubicBezTo>
                <a:lnTo>
                  <a:pt x="9236" y="5927"/>
                </a:lnTo>
                <a:lnTo>
                  <a:pt x="9829" y="6000"/>
                </a:lnTo>
                <a:lnTo>
                  <a:pt x="10000" y="6309"/>
                </a:lnTo>
                <a:lnTo>
                  <a:pt x="9829" y="6927"/>
                </a:lnTo>
                <a:lnTo>
                  <a:pt x="8951" y="7473"/>
                </a:lnTo>
                <a:lnTo>
                  <a:pt x="9179" y="8455"/>
                </a:lnTo>
                <a:lnTo>
                  <a:pt x="8840" y="8873"/>
                </a:lnTo>
                <a:lnTo>
                  <a:pt x="9065" y="9327"/>
                </a:lnTo>
                <a:lnTo>
                  <a:pt x="7988" y="9182"/>
                </a:lnTo>
                <a:lnTo>
                  <a:pt x="7451" y="9327"/>
                </a:lnTo>
                <a:lnTo>
                  <a:pt x="6912" y="9327"/>
                </a:lnTo>
                <a:lnTo>
                  <a:pt x="6261" y="9455"/>
                </a:lnTo>
                <a:lnTo>
                  <a:pt x="5610" y="9545"/>
                </a:lnTo>
                <a:lnTo>
                  <a:pt x="4618" y="10000"/>
                </a:lnTo>
                <a:cubicBezTo>
                  <a:pt x="4627" y="9703"/>
                  <a:pt x="4637" y="9406"/>
                  <a:pt x="4646" y="9109"/>
                </a:cubicBezTo>
                <a:cubicBezTo>
                  <a:pt x="4581" y="9030"/>
                  <a:pt x="4515" y="8952"/>
                  <a:pt x="4447" y="8873"/>
                </a:cubicBezTo>
                <a:lnTo>
                  <a:pt x="3768" y="8782"/>
                </a:lnTo>
                <a:lnTo>
                  <a:pt x="3542" y="8400"/>
                </a:lnTo>
                <a:lnTo>
                  <a:pt x="3115" y="8382"/>
                </a:lnTo>
                <a:lnTo>
                  <a:pt x="2917" y="8473"/>
                </a:lnTo>
                <a:lnTo>
                  <a:pt x="2040" y="8382"/>
                </a:lnTo>
                <a:lnTo>
                  <a:pt x="1700" y="8564"/>
                </a:lnTo>
                <a:cubicBezTo>
                  <a:pt x="1644" y="8794"/>
                  <a:pt x="2324" y="7943"/>
                  <a:pt x="2267" y="8173"/>
                </a:cubicBezTo>
                <a:lnTo>
                  <a:pt x="2583" y="8144"/>
                </a:lnTo>
                <a:cubicBezTo>
                  <a:pt x="2364" y="8005"/>
                  <a:pt x="2290" y="7400"/>
                  <a:pt x="1901" y="7254"/>
                </a:cubicBezTo>
                <a:cubicBezTo>
                  <a:pt x="1512" y="7108"/>
                  <a:pt x="1118" y="6933"/>
                  <a:pt x="1144" y="6840"/>
                </a:cubicBezTo>
                <a:cubicBezTo>
                  <a:pt x="1133" y="6819"/>
                  <a:pt x="1123" y="6799"/>
                  <a:pt x="1112" y="6778"/>
                </a:cubicBezTo>
                <a:lnTo>
                  <a:pt x="607" y="6726"/>
                </a:lnTo>
                <a:lnTo>
                  <a:pt x="1039" y="6877"/>
                </a:lnTo>
                <a:lnTo>
                  <a:pt x="619" y="6295"/>
                </a:lnTo>
                <a:lnTo>
                  <a:pt x="0" y="6309"/>
                </a:lnTo>
                <a:cubicBezTo>
                  <a:pt x="76" y="6170"/>
                  <a:pt x="152" y="6030"/>
                  <a:pt x="227" y="5891"/>
                </a:cubicBezTo>
                <a:lnTo>
                  <a:pt x="850" y="5618"/>
                </a:lnTo>
                <a:cubicBezTo>
                  <a:pt x="888" y="5485"/>
                  <a:pt x="925" y="5351"/>
                  <a:pt x="963" y="5218"/>
                </a:cubicBezTo>
                <a:cubicBezTo>
                  <a:pt x="936" y="5079"/>
                  <a:pt x="905" y="4939"/>
                  <a:pt x="878" y="4800"/>
                </a:cubicBezTo>
                <a:lnTo>
                  <a:pt x="1274" y="4582"/>
                </a:lnTo>
                <a:lnTo>
                  <a:pt x="737" y="3982"/>
                </a:lnTo>
                <a:lnTo>
                  <a:pt x="1304" y="3182"/>
                </a:lnTo>
                <a:lnTo>
                  <a:pt x="680" y="2636"/>
                </a:lnTo>
                <a:cubicBezTo>
                  <a:pt x="737" y="2436"/>
                  <a:pt x="793" y="2236"/>
                  <a:pt x="850" y="2036"/>
                </a:cubicBezTo>
                <a:lnTo>
                  <a:pt x="227" y="1491"/>
                </a:lnTo>
                <a:lnTo>
                  <a:pt x="227" y="691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11" name="AL"/>
          <p:cNvSpPr>
            <a:spLocks noChangeAspect="1"/>
          </p:cNvSpPr>
          <p:nvPr/>
        </p:nvSpPr>
        <p:spPr bwMode="auto">
          <a:xfrm>
            <a:off x="6745288" y="5126038"/>
            <a:ext cx="276225" cy="419100"/>
          </a:xfrm>
          <a:custGeom>
            <a:avLst/>
            <a:gdLst>
              <a:gd name="T0" fmla="*/ 14 w 188"/>
              <a:gd name="T1" fmla="*/ 80 h 353"/>
              <a:gd name="T2" fmla="*/ 26 w 188"/>
              <a:gd name="T3" fmla="*/ 90 h 353"/>
              <a:gd name="T4" fmla="*/ 26 w 188"/>
              <a:gd name="T5" fmla="*/ 106 h 353"/>
              <a:gd name="T6" fmla="*/ 24 w 188"/>
              <a:gd name="T7" fmla="*/ 116 h 353"/>
              <a:gd name="T8" fmla="*/ 17 w 188"/>
              <a:gd name="T9" fmla="*/ 130 h 353"/>
              <a:gd name="T10" fmla="*/ 17 w 188"/>
              <a:gd name="T11" fmla="*/ 164 h 353"/>
              <a:gd name="T12" fmla="*/ 22 w 188"/>
              <a:gd name="T13" fmla="*/ 177 h 353"/>
              <a:gd name="T14" fmla="*/ 5 w 188"/>
              <a:gd name="T15" fmla="*/ 205 h 353"/>
              <a:gd name="T16" fmla="*/ 9 w 188"/>
              <a:gd name="T17" fmla="*/ 211 h 353"/>
              <a:gd name="T18" fmla="*/ 0 w 188"/>
              <a:gd name="T19" fmla="*/ 226 h 353"/>
              <a:gd name="T20" fmla="*/ 8 w 188"/>
              <a:gd name="T21" fmla="*/ 242 h 353"/>
              <a:gd name="T22" fmla="*/ 9 w 188"/>
              <a:gd name="T23" fmla="*/ 253 h 353"/>
              <a:gd name="T24" fmla="*/ 14 w 188"/>
              <a:gd name="T25" fmla="*/ 239 h 353"/>
              <a:gd name="T26" fmla="*/ 28 w 188"/>
              <a:gd name="T27" fmla="*/ 258 h 353"/>
              <a:gd name="T28" fmla="*/ 26 w 188"/>
              <a:gd name="T29" fmla="*/ 276 h 353"/>
              <a:gd name="T30" fmla="*/ 19 w 188"/>
              <a:gd name="T31" fmla="*/ 285 h 353"/>
              <a:gd name="T32" fmla="*/ 28 w 188"/>
              <a:gd name="T33" fmla="*/ 300 h 353"/>
              <a:gd name="T34" fmla="*/ 40 w 188"/>
              <a:gd name="T35" fmla="*/ 306 h 353"/>
              <a:gd name="T36" fmla="*/ 59 w 188"/>
              <a:gd name="T37" fmla="*/ 319 h 353"/>
              <a:gd name="T38" fmla="*/ 75 w 188"/>
              <a:gd name="T39" fmla="*/ 335 h 353"/>
              <a:gd name="T40" fmla="*/ 78 w 188"/>
              <a:gd name="T41" fmla="*/ 345 h 353"/>
              <a:gd name="T42" fmla="*/ 97 w 188"/>
              <a:gd name="T43" fmla="*/ 353 h 353"/>
              <a:gd name="T44" fmla="*/ 113 w 188"/>
              <a:gd name="T45" fmla="*/ 345 h 353"/>
              <a:gd name="T46" fmla="*/ 133 w 188"/>
              <a:gd name="T47" fmla="*/ 332 h 353"/>
              <a:gd name="T48" fmla="*/ 143 w 188"/>
              <a:gd name="T49" fmla="*/ 309 h 353"/>
              <a:gd name="T50" fmla="*/ 152 w 188"/>
              <a:gd name="T51" fmla="*/ 295 h 353"/>
              <a:gd name="T52" fmla="*/ 169 w 188"/>
              <a:gd name="T53" fmla="*/ 261 h 353"/>
              <a:gd name="T54" fmla="*/ 174 w 188"/>
              <a:gd name="T55" fmla="*/ 235 h 353"/>
              <a:gd name="T56" fmla="*/ 176 w 188"/>
              <a:gd name="T57" fmla="*/ 211 h 353"/>
              <a:gd name="T58" fmla="*/ 188 w 188"/>
              <a:gd name="T59" fmla="*/ 195 h 353"/>
              <a:gd name="T60" fmla="*/ 169 w 188"/>
              <a:gd name="T61" fmla="*/ 189 h 353"/>
              <a:gd name="T62" fmla="*/ 162 w 188"/>
              <a:gd name="T63" fmla="*/ 180 h 353"/>
              <a:gd name="T64" fmla="*/ 152 w 188"/>
              <a:gd name="T65" fmla="*/ 182 h 353"/>
              <a:gd name="T66" fmla="*/ 136 w 188"/>
              <a:gd name="T67" fmla="*/ 174 h 353"/>
              <a:gd name="T68" fmla="*/ 132 w 188"/>
              <a:gd name="T69" fmla="*/ 150 h 353"/>
              <a:gd name="T70" fmla="*/ 127 w 188"/>
              <a:gd name="T71" fmla="*/ 133 h 353"/>
              <a:gd name="T72" fmla="*/ 136 w 188"/>
              <a:gd name="T73" fmla="*/ 114 h 353"/>
              <a:gd name="T74" fmla="*/ 136 w 188"/>
              <a:gd name="T75" fmla="*/ 59 h 353"/>
              <a:gd name="T76" fmla="*/ 136 w 188"/>
              <a:gd name="T77" fmla="*/ 40 h 353"/>
              <a:gd name="T78" fmla="*/ 127 w 188"/>
              <a:gd name="T79" fmla="*/ 29 h 353"/>
              <a:gd name="T80" fmla="*/ 110 w 188"/>
              <a:gd name="T81" fmla="*/ 27 h 353"/>
              <a:gd name="T82" fmla="*/ 99 w 188"/>
              <a:gd name="T83" fmla="*/ 22 h 353"/>
              <a:gd name="T84" fmla="*/ 89 w 188"/>
              <a:gd name="T85" fmla="*/ 3 h 353"/>
              <a:gd name="T86" fmla="*/ 78 w 188"/>
              <a:gd name="T87" fmla="*/ 0 h 353"/>
              <a:gd name="T88" fmla="*/ 72 w 188"/>
              <a:gd name="T89" fmla="*/ 9 h 353"/>
              <a:gd name="T90" fmla="*/ 71 w 188"/>
              <a:gd name="T91" fmla="*/ 3 h 353"/>
              <a:gd name="T92" fmla="*/ 52 w 188"/>
              <a:gd name="T93" fmla="*/ 6 h 353"/>
              <a:gd name="T94" fmla="*/ 42 w 188"/>
              <a:gd name="T95" fmla="*/ 0 h 353"/>
              <a:gd name="T96" fmla="*/ 28 w 188"/>
              <a:gd name="T97" fmla="*/ 10 h 353"/>
              <a:gd name="T98" fmla="*/ 26 w 188"/>
              <a:gd name="T99" fmla="*/ 43 h 353"/>
              <a:gd name="T100" fmla="*/ 22 w 188"/>
              <a:gd name="T101" fmla="*/ 63 h 353"/>
              <a:gd name="T102" fmla="*/ 14 w 188"/>
              <a:gd name="T103" fmla="*/ 80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88" h="353">
                <a:moveTo>
                  <a:pt x="14" y="80"/>
                </a:moveTo>
                <a:lnTo>
                  <a:pt x="26" y="90"/>
                </a:lnTo>
                <a:lnTo>
                  <a:pt x="26" y="106"/>
                </a:lnTo>
                <a:lnTo>
                  <a:pt x="24" y="116"/>
                </a:lnTo>
                <a:lnTo>
                  <a:pt x="17" y="130"/>
                </a:lnTo>
                <a:lnTo>
                  <a:pt x="17" y="164"/>
                </a:lnTo>
                <a:lnTo>
                  <a:pt x="22" y="177"/>
                </a:lnTo>
                <a:lnTo>
                  <a:pt x="5" y="205"/>
                </a:lnTo>
                <a:lnTo>
                  <a:pt x="9" y="211"/>
                </a:lnTo>
                <a:lnTo>
                  <a:pt x="0" y="226"/>
                </a:lnTo>
                <a:lnTo>
                  <a:pt x="8" y="242"/>
                </a:lnTo>
                <a:lnTo>
                  <a:pt x="9" y="253"/>
                </a:lnTo>
                <a:lnTo>
                  <a:pt x="14" y="239"/>
                </a:lnTo>
                <a:lnTo>
                  <a:pt x="28" y="258"/>
                </a:lnTo>
                <a:lnTo>
                  <a:pt x="26" y="276"/>
                </a:lnTo>
                <a:lnTo>
                  <a:pt x="19" y="285"/>
                </a:lnTo>
                <a:lnTo>
                  <a:pt x="28" y="300"/>
                </a:lnTo>
                <a:lnTo>
                  <a:pt x="40" y="306"/>
                </a:lnTo>
                <a:lnTo>
                  <a:pt x="59" y="319"/>
                </a:lnTo>
                <a:lnTo>
                  <a:pt x="75" y="335"/>
                </a:lnTo>
                <a:lnTo>
                  <a:pt x="78" y="345"/>
                </a:lnTo>
                <a:lnTo>
                  <a:pt x="97" y="353"/>
                </a:lnTo>
                <a:lnTo>
                  <a:pt x="113" y="345"/>
                </a:lnTo>
                <a:lnTo>
                  <a:pt x="133" y="332"/>
                </a:lnTo>
                <a:lnTo>
                  <a:pt x="143" y="309"/>
                </a:lnTo>
                <a:lnTo>
                  <a:pt x="152" y="295"/>
                </a:lnTo>
                <a:lnTo>
                  <a:pt x="169" y="261"/>
                </a:lnTo>
                <a:lnTo>
                  <a:pt x="174" y="235"/>
                </a:lnTo>
                <a:lnTo>
                  <a:pt x="176" y="211"/>
                </a:lnTo>
                <a:lnTo>
                  <a:pt x="188" y="195"/>
                </a:lnTo>
                <a:lnTo>
                  <a:pt x="169" y="189"/>
                </a:lnTo>
                <a:lnTo>
                  <a:pt x="162" y="180"/>
                </a:lnTo>
                <a:lnTo>
                  <a:pt x="152" y="182"/>
                </a:lnTo>
                <a:lnTo>
                  <a:pt x="136" y="174"/>
                </a:lnTo>
                <a:lnTo>
                  <a:pt x="132" y="150"/>
                </a:lnTo>
                <a:lnTo>
                  <a:pt x="127" y="133"/>
                </a:lnTo>
                <a:lnTo>
                  <a:pt x="136" y="114"/>
                </a:lnTo>
                <a:lnTo>
                  <a:pt x="136" y="59"/>
                </a:lnTo>
                <a:lnTo>
                  <a:pt x="136" y="40"/>
                </a:lnTo>
                <a:lnTo>
                  <a:pt x="127" y="29"/>
                </a:lnTo>
                <a:lnTo>
                  <a:pt x="110" y="27"/>
                </a:lnTo>
                <a:lnTo>
                  <a:pt x="99" y="22"/>
                </a:lnTo>
                <a:lnTo>
                  <a:pt x="89" y="3"/>
                </a:lnTo>
                <a:lnTo>
                  <a:pt x="78" y="0"/>
                </a:lnTo>
                <a:lnTo>
                  <a:pt x="72" y="9"/>
                </a:lnTo>
                <a:lnTo>
                  <a:pt x="71" y="3"/>
                </a:lnTo>
                <a:lnTo>
                  <a:pt x="52" y="6"/>
                </a:lnTo>
                <a:lnTo>
                  <a:pt x="42" y="0"/>
                </a:lnTo>
                <a:lnTo>
                  <a:pt x="28" y="10"/>
                </a:lnTo>
                <a:lnTo>
                  <a:pt x="26" y="43"/>
                </a:lnTo>
                <a:lnTo>
                  <a:pt x="22" y="63"/>
                </a:lnTo>
                <a:lnTo>
                  <a:pt x="14" y="80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12" name="BA"/>
          <p:cNvSpPr>
            <a:spLocks noChangeAspect="1"/>
          </p:cNvSpPr>
          <p:nvPr/>
        </p:nvSpPr>
        <p:spPr bwMode="auto">
          <a:xfrm>
            <a:off x="6326188" y="4695825"/>
            <a:ext cx="444500" cy="369888"/>
          </a:xfrm>
          <a:custGeom>
            <a:avLst/>
            <a:gdLst>
              <a:gd name="T0" fmla="*/ 277 w 300"/>
              <a:gd name="T1" fmla="*/ 44 h 313"/>
              <a:gd name="T2" fmla="*/ 262 w 300"/>
              <a:gd name="T3" fmla="*/ 44 h 313"/>
              <a:gd name="T4" fmla="*/ 245 w 300"/>
              <a:gd name="T5" fmla="*/ 31 h 313"/>
              <a:gd name="T6" fmla="*/ 224 w 300"/>
              <a:gd name="T7" fmla="*/ 18 h 313"/>
              <a:gd name="T8" fmla="*/ 197 w 300"/>
              <a:gd name="T9" fmla="*/ 34 h 313"/>
              <a:gd name="T10" fmla="*/ 173 w 300"/>
              <a:gd name="T11" fmla="*/ 27 h 313"/>
              <a:gd name="T12" fmla="*/ 152 w 300"/>
              <a:gd name="T13" fmla="*/ 38 h 313"/>
              <a:gd name="T14" fmla="*/ 150 w 300"/>
              <a:gd name="T15" fmla="*/ 27 h 313"/>
              <a:gd name="T16" fmla="*/ 131 w 300"/>
              <a:gd name="T17" fmla="*/ 26 h 313"/>
              <a:gd name="T18" fmla="*/ 109 w 300"/>
              <a:gd name="T19" fmla="*/ 0 h 313"/>
              <a:gd name="T20" fmla="*/ 74 w 300"/>
              <a:gd name="T21" fmla="*/ 43 h 313"/>
              <a:gd name="T22" fmla="*/ 21 w 300"/>
              <a:gd name="T23" fmla="*/ 23 h 313"/>
              <a:gd name="T24" fmla="*/ 0 w 300"/>
              <a:gd name="T25" fmla="*/ 30 h 313"/>
              <a:gd name="T26" fmla="*/ 0 w 300"/>
              <a:gd name="T27" fmla="*/ 44 h 313"/>
              <a:gd name="T28" fmla="*/ 57 w 300"/>
              <a:gd name="T29" fmla="*/ 111 h 313"/>
              <a:gd name="T30" fmla="*/ 71 w 300"/>
              <a:gd name="T31" fmla="*/ 155 h 313"/>
              <a:gd name="T32" fmla="*/ 101 w 300"/>
              <a:gd name="T33" fmla="*/ 181 h 313"/>
              <a:gd name="T34" fmla="*/ 114 w 300"/>
              <a:gd name="T35" fmla="*/ 176 h 313"/>
              <a:gd name="T36" fmla="*/ 188 w 300"/>
              <a:gd name="T37" fmla="*/ 266 h 313"/>
              <a:gd name="T38" fmla="*/ 193 w 300"/>
              <a:gd name="T39" fmla="*/ 286 h 313"/>
              <a:gd name="T40" fmla="*/ 188 w 300"/>
              <a:gd name="T41" fmla="*/ 299 h 313"/>
              <a:gd name="T42" fmla="*/ 193 w 300"/>
              <a:gd name="T43" fmla="*/ 313 h 313"/>
              <a:gd name="T44" fmla="*/ 215 w 300"/>
              <a:gd name="T45" fmla="*/ 300 h 313"/>
              <a:gd name="T46" fmla="*/ 231 w 300"/>
              <a:gd name="T47" fmla="*/ 294 h 313"/>
              <a:gd name="T48" fmla="*/ 231 w 300"/>
              <a:gd name="T49" fmla="*/ 265 h 313"/>
              <a:gd name="T50" fmla="*/ 253 w 300"/>
              <a:gd name="T51" fmla="*/ 245 h 313"/>
              <a:gd name="T52" fmla="*/ 262 w 300"/>
              <a:gd name="T53" fmla="*/ 223 h 313"/>
              <a:gd name="T54" fmla="*/ 285 w 300"/>
              <a:gd name="T55" fmla="*/ 213 h 313"/>
              <a:gd name="T56" fmla="*/ 288 w 300"/>
              <a:gd name="T57" fmla="*/ 188 h 313"/>
              <a:gd name="T58" fmla="*/ 285 w 300"/>
              <a:gd name="T59" fmla="*/ 164 h 313"/>
              <a:gd name="T60" fmla="*/ 296 w 300"/>
              <a:gd name="T61" fmla="*/ 154 h 313"/>
              <a:gd name="T62" fmla="*/ 276 w 300"/>
              <a:gd name="T63" fmla="*/ 121 h 313"/>
              <a:gd name="T64" fmla="*/ 300 w 300"/>
              <a:gd name="T65" fmla="*/ 74 h 313"/>
              <a:gd name="T66" fmla="*/ 277 w 300"/>
              <a:gd name="T67" fmla="*/ 44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0" h="313">
                <a:moveTo>
                  <a:pt x="277" y="44"/>
                </a:moveTo>
                <a:lnTo>
                  <a:pt x="262" y="44"/>
                </a:lnTo>
                <a:lnTo>
                  <a:pt x="245" y="31"/>
                </a:lnTo>
                <a:lnTo>
                  <a:pt x="224" y="18"/>
                </a:lnTo>
                <a:lnTo>
                  <a:pt x="197" y="34"/>
                </a:lnTo>
                <a:lnTo>
                  <a:pt x="173" y="27"/>
                </a:lnTo>
                <a:lnTo>
                  <a:pt x="152" y="38"/>
                </a:lnTo>
                <a:lnTo>
                  <a:pt x="150" y="27"/>
                </a:lnTo>
                <a:lnTo>
                  <a:pt x="131" y="26"/>
                </a:lnTo>
                <a:lnTo>
                  <a:pt x="109" y="0"/>
                </a:lnTo>
                <a:lnTo>
                  <a:pt x="74" y="43"/>
                </a:lnTo>
                <a:lnTo>
                  <a:pt x="21" y="23"/>
                </a:lnTo>
                <a:lnTo>
                  <a:pt x="0" y="30"/>
                </a:lnTo>
                <a:lnTo>
                  <a:pt x="0" y="44"/>
                </a:lnTo>
                <a:lnTo>
                  <a:pt x="57" y="111"/>
                </a:lnTo>
                <a:lnTo>
                  <a:pt x="71" y="155"/>
                </a:lnTo>
                <a:lnTo>
                  <a:pt x="101" y="181"/>
                </a:lnTo>
                <a:lnTo>
                  <a:pt x="114" y="176"/>
                </a:lnTo>
                <a:lnTo>
                  <a:pt x="188" y="266"/>
                </a:lnTo>
                <a:lnTo>
                  <a:pt x="193" y="286"/>
                </a:lnTo>
                <a:lnTo>
                  <a:pt x="188" y="299"/>
                </a:lnTo>
                <a:lnTo>
                  <a:pt x="193" y="313"/>
                </a:lnTo>
                <a:lnTo>
                  <a:pt x="215" y="300"/>
                </a:lnTo>
                <a:lnTo>
                  <a:pt x="231" y="294"/>
                </a:lnTo>
                <a:lnTo>
                  <a:pt x="231" y="265"/>
                </a:lnTo>
                <a:lnTo>
                  <a:pt x="253" y="245"/>
                </a:lnTo>
                <a:lnTo>
                  <a:pt x="262" y="223"/>
                </a:lnTo>
                <a:lnTo>
                  <a:pt x="285" y="213"/>
                </a:lnTo>
                <a:lnTo>
                  <a:pt x="288" y="188"/>
                </a:lnTo>
                <a:lnTo>
                  <a:pt x="285" y="164"/>
                </a:lnTo>
                <a:lnTo>
                  <a:pt x="296" y="154"/>
                </a:lnTo>
                <a:lnTo>
                  <a:pt x="276" y="121"/>
                </a:lnTo>
                <a:lnTo>
                  <a:pt x="300" y="74"/>
                </a:lnTo>
                <a:lnTo>
                  <a:pt x="277" y="44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grpSp>
        <p:nvGrpSpPr>
          <p:cNvPr id="13" name="IE"/>
          <p:cNvGrpSpPr/>
          <p:nvPr/>
        </p:nvGrpSpPr>
        <p:grpSpPr>
          <a:xfrm>
            <a:off x="3801983" y="2760668"/>
            <a:ext cx="611448" cy="468313"/>
            <a:chOff x="754064" y="3078843"/>
            <a:chExt cx="611449" cy="468313"/>
          </a:xfrm>
          <a:solidFill>
            <a:srgbClr val="FAFAFA"/>
          </a:solidFill>
          <a:effectLst/>
        </p:grpSpPr>
        <p:sp>
          <p:nvSpPr>
            <p:cNvPr id="104" name="Freeform 575"/>
            <p:cNvSpPr>
              <a:spLocks noChangeAspect="1"/>
            </p:cNvSpPr>
            <p:nvPr/>
          </p:nvSpPr>
          <p:spPr bwMode="auto">
            <a:xfrm>
              <a:off x="754064" y="3078843"/>
              <a:ext cx="566737" cy="468313"/>
            </a:xfrm>
            <a:custGeom>
              <a:avLst/>
              <a:gdLst>
                <a:gd name="T0" fmla="*/ 137 w 384"/>
                <a:gd name="T1" fmla="*/ 163 h 392"/>
                <a:gd name="T2" fmla="*/ 135 w 384"/>
                <a:gd name="T3" fmla="*/ 198 h 392"/>
                <a:gd name="T4" fmla="*/ 109 w 384"/>
                <a:gd name="T5" fmla="*/ 192 h 392"/>
                <a:gd name="T6" fmla="*/ 80 w 384"/>
                <a:gd name="T7" fmla="*/ 237 h 392"/>
                <a:gd name="T8" fmla="*/ 42 w 384"/>
                <a:gd name="T9" fmla="*/ 272 h 392"/>
                <a:gd name="T10" fmla="*/ 17 w 384"/>
                <a:gd name="T11" fmla="*/ 277 h 392"/>
                <a:gd name="T12" fmla="*/ 8 w 384"/>
                <a:gd name="T13" fmla="*/ 286 h 392"/>
                <a:gd name="T14" fmla="*/ 14 w 384"/>
                <a:gd name="T15" fmla="*/ 313 h 392"/>
                <a:gd name="T16" fmla="*/ 6 w 384"/>
                <a:gd name="T17" fmla="*/ 347 h 392"/>
                <a:gd name="T18" fmla="*/ 22 w 384"/>
                <a:gd name="T19" fmla="*/ 347 h 392"/>
                <a:gd name="T20" fmla="*/ 38 w 384"/>
                <a:gd name="T21" fmla="*/ 346 h 392"/>
                <a:gd name="T22" fmla="*/ 31 w 384"/>
                <a:gd name="T23" fmla="*/ 371 h 392"/>
                <a:gd name="T24" fmla="*/ 69 w 384"/>
                <a:gd name="T25" fmla="*/ 380 h 392"/>
                <a:gd name="T26" fmla="*/ 102 w 384"/>
                <a:gd name="T27" fmla="*/ 392 h 392"/>
                <a:gd name="T28" fmla="*/ 137 w 384"/>
                <a:gd name="T29" fmla="*/ 371 h 392"/>
                <a:gd name="T30" fmla="*/ 236 w 384"/>
                <a:gd name="T31" fmla="*/ 380 h 392"/>
                <a:gd name="T32" fmla="*/ 288 w 384"/>
                <a:gd name="T33" fmla="*/ 343 h 392"/>
                <a:gd name="T34" fmla="*/ 316 w 384"/>
                <a:gd name="T35" fmla="*/ 313 h 392"/>
                <a:gd name="T36" fmla="*/ 340 w 384"/>
                <a:gd name="T37" fmla="*/ 277 h 392"/>
                <a:gd name="T38" fmla="*/ 351 w 384"/>
                <a:gd name="T39" fmla="*/ 192 h 392"/>
                <a:gd name="T40" fmla="*/ 365 w 384"/>
                <a:gd name="T41" fmla="*/ 152 h 392"/>
                <a:gd name="T42" fmla="*/ 346 w 384"/>
                <a:gd name="T43" fmla="*/ 108 h 392"/>
                <a:gd name="T44" fmla="*/ 318 w 384"/>
                <a:gd name="T45" fmla="*/ 99 h 392"/>
                <a:gd name="T46" fmla="*/ 304 w 384"/>
                <a:gd name="T47" fmla="*/ 58 h 392"/>
                <a:gd name="T48" fmla="*/ 344 w 384"/>
                <a:gd name="T49" fmla="*/ 0 h 392"/>
                <a:gd name="T50" fmla="*/ 283 w 384"/>
                <a:gd name="T51" fmla="*/ 6 h 392"/>
                <a:gd name="T52" fmla="*/ 255 w 384"/>
                <a:gd name="T53" fmla="*/ 27 h 392"/>
                <a:gd name="T54" fmla="*/ 228 w 384"/>
                <a:gd name="T55" fmla="*/ 31 h 392"/>
                <a:gd name="T56" fmla="*/ 259 w 384"/>
                <a:gd name="T57" fmla="*/ 62 h 392"/>
                <a:gd name="T58" fmla="*/ 201 w 384"/>
                <a:gd name="T59" fmla="*/ 71 h 392"/>
                <a:gd name="T60" fmla="*/ 144 w 384"/>
                <a:gd name="T61" fmla="*/ 45 h 392"/>
                <a:gd name="T62" fmla="*/ 127 w 384"/>
                <a:gd name="T63" fmla="*/ 77 h 392"/>
                <a:gd name="T64" fmla="*/ 126 w 384"/>
                <a:gd name="T65" fmla="*/ 95 h 392"/>
                <a:gd name="T66" fmla="*/ 111 w 384"/>
                <a:gd name="T67" fmla="*/ 126 h 392"/>
                <a:gd name="T68" fmla="*/ 92 w 384"/>
                <a:gd name="T69" fmla="*/ 158 h 392"/>
                <a:gd name="T70" fmla="*/ 113 w 384"/>
                <a:gd name="T71" fmla="*/ 17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84" h="392">
                  <a:moveTo>
                    <a:pt x="142" y="148"/>
                  </a:moveTo>
                  <a:lnTo>
                    <a:pt x="137" y="163"/>
                  </a:lnTo>
                  <a:lnTo>
                    <a:pt x="142" y="185"/>
                  </a:lnTo>
                  <a:lnTo>
                    <a:pt x="135" y="198"/>
                  </a:lnTo>
                  <a:lnTo>
                    <a:pt x="123" y="189"/>
                  </a:lnTo>
                  <a:lnTo>
                    <a:pt x="109" y="192"/>
                  </a:lnTo>
                  <a:lnTo>
                    <a:pt x="109" y="208"/>
                  </a:lnTo>
                  <a:lnTo>
                    <a:pt x="80" y="237"/>
                  </a:lnTo>
                  <a:lnTo>
                    <a:pt x="64" y="245"/>
                  </a:lnTo>
                  <a:lnTo>
                    <a:pt x="42" y="272"/>
                  </a:lnTo>
                  <a:lnTo>
                    <a:pt x="28" y="279"/>
                  </a:lnTo>
                  <a:lnTo>
                    <a:pt x="17" y="277"/>
                  </a:lnTo>
                  <a:lnTo>
                    <a:pt x="12" y="281"/>
                  </a:lnTo>
                  <a:lnTo>
                    <a:pt x="8" y="286"/>
                  </a:lnTo>
                  <a:lnTo>
                    <a:pt x="14" y="294"/>
                  </a:lnTo>
                  <a:lnTo>
                    <a:pt x="14" y="313"/>
                  </a:lnTo>
                  <a:lnTo>
                    <a:pt x="0" y="330"/>
                  </a:lnTo>
                  <a:lnTo>
                    <a:pt x="6" y="347"/>
                  </a:lnTo>
                  <a:lnTo>
                    <a:pt x="6" y="347"/>
                  </a:lnTo>
                  <a:lnTo>
                    <a:pt x="22" y="347"/>
                  </a:lnTo>
                  <a:lnTo>
                    <a:pt x="28" y="334"/>
                  </a:lnTo>
                  <a:lnTo>
                    <a:pt x="38" y="346"/>
                  </a:lnTo>
                  <a:lnTo>
                    <a:pt x="26" y="355"/>
                  </a:lnTo>
                  <a:lnTo>
                    <a:pt x="31" y="371"/>
                  </a:lnTo>
                  <a:lnTo>
                    <a:pt x="38" y="374"/>
                  </a:lnTo>
                  <a:lnTo>
                    <a:pt x="69" y="380"/>
                  </a:lnTo>
                  <a:lnTo>
                    <a:pt x="74" y="382"/>
                  </a:lnTo>
                  <a:lnTo>
                    <a:pt x="102" y="392"/>
                  </a:lnTo>
                  <a:lnTo>
                    <a:pt x="113" y="387"/>
                  </a:lnTo>
                  <a:lnTo>
                    <a:pt x="137" y="371"/>
                  </a:lnTo>
                  <a:lnTo>
                    <a:pt x="173" y="380"/>
                  </a:lnTo>
                  <a:lnTo>
                    <a:pt x="236" y="380"/>
                  </a:lnTo>
                  <a:lnTo>
                    <a:pt x="271" y="371"/>
                  </a:lnTo>
                  <a:lnTo>
                    <a:pt x="288" y="343"/>
                  </a:lnTo>
                  <a:lnTo>
                    <a:pt x="309" y="330"/>
                  </a:lnTo>
                  <a:lnTo>
                    <a:pt x="316" y="313"/>
                  </a:lnTo>
                  <a:lnTo>
                    <a:pt x="323" y="290"/>
                  </a:lnTo>
                  <a:lnTo>
                    <a:pt x="340" y="277"/>
                  </a:lnTo>
                  <a:lnTo>
                    <a:pt x="354" y="237"/>
                  </a:lnTo>
                  <a:lnTo>
                    <a:pt x="351" y="192"/>
                  </a:lnTo>
                  <a:lnTo>
                    <a:pt x="384" y="171"/>
                  </a:lnTo>
                  <a:lnTo>
                    <a:pt x="365" y="152"/>
                  </a:lnTo>
                  <a:lnTo>
                    <a:pt x="359" y="121"/>
                  </a:lnTo>
                  <a:lnTo>
                    <a:pt x="346" y="108"/>
                  </a:lnTo>
                  <a:lnTo>
                    <a:pt x="332" y="108"/>
                  </a:lnTo>
                  <a:lnTo>
                    <a:pt x="318" y="99"/>
                  </a:lnTo>
                  <a:lnTo>
                    <a:pt x="293" y="65"/>
                  </a:lnTo>
                  <a:lnTo>
                    <a:pt x="304" y="58"/>
                  </a:lnTo>
                  <a:lnTo>
                    <a:pt x="349" y="13"/>
                  </a:lnTo>
                  <a:lnTo>
                    <a:pt x="344" y="0"/>
                  </a:lnTo>
                  <a:lnTo>
                    <a:pt x="330" y="3"/>
                  </a:lnTo>
                  <a:lnTo>
                    <a:pt x="283" y="6"/>
                  </a:lnTo>
                  <a:lnTo>
                    <a:pt x="266" y="18"/>
                  </a:lnTo>
                  <a:lnTo>
                    <a:pt x="255" y="27"/>
                  </a:lnTo>
                  <a:lnTo>
                    <a:pt x="239" y="24"/>
                  </a:lnTo>
                  <a:lnTo>
                    <a:pt x="228" y="31"/>
                  </a:lnTo>
                  <a:lnTo>
                    <a:pt x="236" y="45"/>
                  </a:lnTo>
                  <a:lnTo>
                    <a:pt x="259" y="62"/>
                  </a:lnTo>
                  <a:lnTo>
                    <a:pt x="242" y="65"/>
                  </a:lnTo>
                  <a:lnTo>
                    <a:pt x="201" y="71"/>
                  </a:lnTo>
                  <a:lnTo>
                    <a:pt x="173" y="58"/>
                  </a:lnTo>
                  <a:lnTo>
                    <a:pt x="144" y="45"/>
                  </a:lnTo>
                  <a:lnTo>
                    <a:pt x="135" y="52"/>
                  </a:lnTo>
                  <a:lnTo>
                    <a:pt x="127" y="77"/>
                  </a:lnTo>
                  <a:lnTo>
                    <a:pt x="130" y="89"/>
                  </a:lnTo>
                  <a:lnTo>
                    <a:pt x="126" y="95"/>
                  </a:lnTo>
                  <a:lnTo>
                    <a:pt x="109" y="102"/>
                  </a:lnTo>
                  <a:lnTo>
                    <a:pt x="111" y="126"/>
                  </a:lnTo>
                  <a:lnTo>
                    <a:pt x="109" y="132"/>
                  </a:lnTo>
                  <a:lnTo>
                    <a:pt x="92" y="158"/>
                  </a:lnTo>
                  <a:lnTo>
                    <a:pt x="107" y="182"/>
                  </a:lnTo>
                  <a:lnTo>
                    <a:pt x="113" y="179"/>
                  </a:lnTo>
                  <a:lnTo>
                    <a:pt x="142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05" name="Freeform 576"/>
            <p:cNvSpPr>
              <a:spLocks noChangeAspect="1"/>
            </p:cNvSpPr>
            <p:nvPr/>
          </p:nvSpPr>
          <p:spPr bwMode="auto">
            <a:xfrm>
              <a:off x="1182114" y="3116440"/>
              <a:ext cx="183399" cy="169877"/>
            </a:xfrm>
            <a:custGeom>
              <a:avLst/>
              <a:gdLst>
                <a:gd name="T0" fmla="*/ 43 w 123"/>
                <a:gd name="T1" fmla="*/ 0 h 140"/>
                <a:gd name="T2" fmla="*/ 71 w 123"/>
                <a:gd name="T3" fmla="*/ 0 h 140"/>
                <a:gd name="T4" fmla="*/ 92 w 123"/>
                <a:gd name="T5" fmla="*/ 5 h 140"/>
                <a:gd name="T6" fmla="*/ 106 w 123"/>
                <a:gd name="T7" fmla="*/ 28 h 140"/>
                <a:gd name="T8" fmla="*/ 120 w 123"/>
                <a:gd name="T9" fmla="*/ 65 h 140"/>
                <a:gd name="T10" fmla="*/ 123 w 123"/>
                <a:gd name="T11" fmla="*/ 96 h 140"/>
                <a:gd name="T12" fmla="*/ 109 w 123"/>
                <a:gd name="T13" fmla="*/ 112 h 140"/>
                <a:gd name="T14" fmla="*/ 104 w 123"/>
                <a:gd name="T15" fmla="*/ 133 h 140"/>
                <a:gd name="T16" fmla="*/ 90 w 123"/>
                <a:gd name="T17" fmla="*/ 140 h 140"/>
                <a:gd name="T18" fmla="*/ 76 w 123"/>
                <a:gd name="T19" fmla="*/ 122 h 140"/>
                <a:gd name="T20" fmla="*/ 63 w 123"/>
                <a:gd name="T21" fmla="*/ 88 h 140"/>
                <a:gd name="T22" fmla="*/ 54 w 123"/>
                <a:gd name="T23" fmla="*/ 75 h 140"/>
                <a:gd name="T24" fmla="*/ 30 w 123"/>
                <a:gd name="T25" fmla="*/ 72 h 140"/>
                <a:gd name="T26" fmla="*/ 0 w 123"/>
                <a:gd name="T27" fmla="*/ 37 h 140"/>
                <a:gd name="T28" fmla="*/ 43 w 123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3" h="140">
                  <a:moveTo>
                    <a:pt x="43" y="0"/>
                  </a:moveTo>
                  <a:lnTo>
                    <a:pt x="71" y="0"/>
                  </a:lnTo>
                  <a:lnTo>
                    <a:pt x="92" y="5"/>
                  </a:lnTo>
                  <a:lnTo>
                    <a:pt x="106" y="28"/>
                  </a:lnTo>
                  <a:lnTo>
                    <a:pt x="120" y="65"/>
                  </a:lnTo>
                  <a:lnTo>
                    <a:pt x="123" y="96"/>
                  </a:lnTo>
                  <a:lnTo>
                    <a:pt x="109" y="112"/>
                  </a:lnTo>
                  <a:lnTo>
                    <a:pt x="104" y="133"/>
                  </a:lnTo>
                  <a:lnTo>
                    <a:pt x="90" y="140"/>
                  </a:lnTo>
                  <a:lnTo>
                    <a:pt x="76" y="122"/>
                  </a:lnTo>
                  <a:lnTo>
                    <a:pt x="63" y="88"/>
                  </a:lnTo>
                  <a:lnTo>
                    <a:pt x="54" y="75"/>
                  </a:lnTo>
                  <a:lnTo>
                    <a:pt x="30" y="72"/>
                  </a:lnTo>
                  <a:lnTo>
                    <a:pt x="0" y="37"/>
                  </a:lnTo>
                  <a:lnTo>
                    <a:pt x="4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sp>
        <p:nvSpPr>
          <p:cNvPr id="14" name="NI"/>
          <p:cNvSpPr>
            <a:spLocks noChangeAspect="1"/>
          </p:cNvSpPr>
          <p:nvPr/>
        </p:nvSpPr>
        <p:spPr bwMode="auto">
          <a:xfrm>
            <a:off x="4224338" y="2790825"/>
            <a:ext cx="192087" cy="169863"/>
          </a:xfrm>
          <a:custGeom>
            <a:avLst/>
            <a:gdLst>
              <a:gd name="T0" fmla="*/ 43 w 123"/>
              <a:gd name="T1" fmla="*/ 0 h 140"/>
              <a:gd name="T2" fmla="*/ 71 w 123"/>
              <a:gd name="T3" fmla="*/ 0 h 140"/>
              <a:gd name="T4" fmla="*/ 92 w 123"/>
              <a:gd name="T5" fmla="*/ 5 h 140"/>
              <a:gd name="T6" fmla="*/ 106 w 123"/>
              <a:gd name="T7" fmla="*/ 28 h 140"/>
              <a:gd name="T8" fmla="*/ 120 w 123"/>
              <a:gd name="T9" fmla="*/ 65 h 140"/>
              <a:gd name="T10" fmla="*/ 123 w 123"/>
              <a:gd name="T11" fmla="*/ 96 h 140"/>
              <a:gd name="T12" fmla="*/ 109 w 123"/>
              <a:gd name="T13" fmla="*/ 112 h 140"/>
              <a:gd name="T14" fmla="*/ 104 w 123"/>
              <a:gd name="T15" fmla="*/ 133 h 140"/>
              <a:gd name="T16" fmla="*/ 90 w 123"/>
              <a:gd name="T17" fmla="*/ 140 h 140"/>
              <a:gd name="T18" fmla="*/ 76 w 123"/>
              <a:gd name="T19" fmla="*/ 122 h 140"/>
              <a:gd name="T20" fmla="*/ 63 w 123"/>
              <a:gd name="T21" fmla="*/ 88 h 140"/>
              <a:gd name="T22" fmla="*/ 54 w 123"/>
              <a:gd name="T23" fmla="*/ 75 h 140"/>
              <a:gd name="T24" fmla="*/ 30 w 123"/>
              <a:gd name="T25" fmla="*/ 72 h 140"/>
              <a:gd name="T26" fmla="*/ 0 w 123"/>
              <a:gd name="T27" fmla="*/ 37 h 140"/>
              <a:gd name="T28" fmla="*/ 43 w 123"/>
              <a:gd name="T29" fmla="*/ 0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3" h="140">
                <a:moveTo>
                  <a:pt x="43" y="0"/>
                </a:moveTo>
                <a:lnTo>
                  <a:pt x="71" y="0"/>
                </a:lnTo>
                <a:lnTo>
                  <a:pt x="92" y="5"/>
                </a:lnTo>
                <a:lnTo>
                  <a:pt x="106" y="28"/>
                </a:lnTo>
                <a:lnTo>
                  <a:pt x="120" y="65"/>
                </a:lnTo>
                <a:lnTo>
                  <a:pt x="123" y="96"/>
                </a:lnTo>
                <a:lnTo>
                  <a:pt x="109" y="112"/>
                </a:lnTo>
                <a:lnTo>
                  <a:pt x="104" y="133"/>
                </a:lnTo>
                <a:lnTo>
                  <a:pt x="90" y="140"/>
                </a:lnTo>
                <a:lnTo>
                  <a:pt x="76" y="122"/>
                </a:lnTo>
                <a:lnTo>
                  <a:pt x="63" y="88"/>
                </a:lnTo>
                <a:lnTo>
                  <a:pt x="54" y="75"/>
                </a:lnTo>
                <a:lnTo>
                  <a:pt x="30" y="72"/>
                </a:lnTo>
                <a:lnTo>
                  <a:pt x="0" y="37"/>
                </a:lnTo>
                <a:lnTo>
                  <a:pt x="43" y="0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>
              <a:ea typeface="ＭＳ Ｐゴシック" charset="-128"/>
            </a:endParaRPr>
          </a:p>
        </p:txBody>
      </p:sp>
      <p:sp>
        <p:nvSpPr>
          <p:cNvPr id="15" name="CH"/>
          <p:cNvSpPr>
            <a:spLocks/>
          </p:cNvSpPr>
          <p:nvPr/>
        </p:nvSpPr>
        <p:spPr bwMode="auto">
          <a:xfrm>
            <a:off x="5226050" y="4206799"/>
            <a:ext cx="550863" cy="307975"/>
          </a:xfrm>
          <a:custGeom>
            <a:avLst/>
            <a:gdLst>
              <a:gd name="T0" fmla="*/ 197 w 376"/>
              <a:gd name="T1" fmla="*/ 53 h 276"/>
              <a:gd name="T2" fmla="*/ 178 w 376"/>
              <a:gd name="T3" fmla="*/ 34 h 276"/>
              <a:gd name="T4" fmla="*/ 181 w 376"/>
              <a:gd name="T5" fmla="*/ 27 h 276"/>
              <a:gd name="T6" fmla="*/ 170 w 376"/>
              <a:gd name="T7" fmla="*/ 16 h 276"/>
              <a:gd name="T8" fmla="*/ 159 w 376"/>
              <a:gd name="T9" fmla="*/ 0 h 276"/>
              <a:gd name="T10" fmla="*/ 148 w 376"/>
              <a:gd name="T11" fmla="*/ 16 h 276"/>
              <a:gd name="T12" fmla="*/ 140 w 376"/>
              <a:gd name="T13" fmla="*/ 10 h 276"/>
              <a:gd name="T14" fmla="*/ 127 w 376"/>
              <a:gd name="T15" fmla="*/ 24 h 276"/>
              <a:gd name="T16" fmla="*/ 127 w 376"/>
              <a:gd name="T17" fmla="*/ 32 h 276"/>
              <a:gd name="T18" fmla="*/ 110 w 376"/>
              <a:gd name="T19" fmla="*/ 40 h 276"/>
              <a:gd name="T20" fmla="*/ 68 w 376"/>
              <a:gd name="T21" fmla="*/ 77 h 276"/>
              <a:gd name="T22" fmla="*/ 57 w 376"/>
              <a:gd name="T23" fmla="*/ 93 h 276"/>
              <a:gd name="T24" fmla="*/ 57 w 376"/>
              <a:gd name="T25" fmla="*/ 111 h 276"/>
              <a:gd name="T26" fmla="*/ 42 w 376"/>
              <a:gd name="T27" fmla="*/ 117 h 276"/>
              <a:gd name="T28" fmla="*/ 11 w 376"/>
              <a:gd name="T29" fmla="*/ 154 h 276"/>
              <a:gd name="T30" fmla="*/ 11 w 376"/>
              <a:gd name="T31" fmla="*/ 167 h 276"/>
              <a:gd name="T32" fmla="*/ 0 w 376"/>
              <a:gd name="T33" fmla="*/ 182 h 276"/>
              <a:gd name="T34" fmla="*/ 5 w 376"/>
              <a:gd name="T35" fmla="*/ 201 h 276"/>
              <a:gd name="T36" fmla="*/ 19 w 376"/>
              <a:gd name="T37" fmla="*/ 191 h 276"/>
              <a:gd name="T38" fmla="*/ 33 w 376"/>
              <a:gd name="T39" fmla="*/ 174 h 276"/>
              <a:gd name="T40" fmla="*/ 54 w 376"/>
              <a:gd name="T41" fmla="*/ 169 h 276"/>
              <a:gd name="T42" fmla="*/ 68 w 376"/>
              <a:gd name="T43" fmla="*/ 174 h 276"/>
              <a:gd name="T44" fmla="*/ 73 w 376"/>
              <a:gd name="T45" fmla="*/ 201 h 276"/>
              <a:gd name="T46" fmla="*/ 71 w 376"/>
              <a:gd name="T47" fmla="*/ 219 h 276"/>
              <a:gd name="T48" fmla="*/ 80 w 376"/>
              <a:gd name="T49" fmla="*/ 232 h 276"/>
              <a:gd name="T50" fmla="*/ 91 w 376"/>
              <a:gd name="T51" fmla="*/ 241 h 276"/>
              <a:gd name="T52" fmla="*/ 115 w 376"/>
              <a:gd name="T53" fmla="*/ 243 h 276"/>
              <a:gd name="T54" fmla="*/ 167 w 376"/>
              <a:gd name="T55" fmla="*/ 251 h 276"/>
              <a:gd name="T56" fmla="*/ 178 w 376"/>
              <a:gd name="T57" fmla="*/ 243 h 276"/>
              <a:gd name="T58" fmla="*/ 186 w 376"/>
              <a:gd name="T59" fmla="*/ 232 h 276"/>
              <a:gd name="T60" fmla="*/ 191 w 376"/>
              <a:gd name="T61" fmla="*/ 208 h 276"/>
              <a:gd name="T62" fmla="*/ 210 w 376"/>
              <a:gd name="T63" fmla="*/ 206 h 276"/>
              <a:gd name="T64" fmla="*/ 216 w 376"/>
              <a:gd name="T65" fmla="*/ 222 h 276"/>
              <a:gd name="T66" fmla="*/ 216 w 376"/>
              <a:gd name="T67" fmla="*/ 258 h 276"/>
              <a:gd name="T68" fmla="*/ 240 w 376"/>
              <a:gd name="T69" fmla="*/ 276 h 276"/>
              <a:gd name="T70" fmla="*/ 258 w 376"/>
              <a:gd name="T71" fmla="*/ 245 h 276"/>
              <a:gd name="T72" fmla="*/ 277 w 376"/>
              <a:gd name="T73" fmla="*/ 235 h 276"/>
              <a:gd name="T74" fmla="*/ 299 w 376"/>
              <a:gd name="T75" fmla="*/ 238 h 276"/>
              <a:gd name="T76" fmla="*/ 315 w 376"/>
              <a:gd name="T77" fmla="*/ 248 h 276"/>
              <a:gd name="T78" fmla="*/ 322 w 376"/>
              <a:gd name="T79" fmla="*/ 256 h 276"/>
              <a:gd name="T80" fmla="*/ 327 w 376"/>
              <a:gd name="T81" fmla="*/ 229 h 276"/>
              <a:gd name="T82" fmla="*/ 339 w 376"/>
              <a:gd name="T83" fmla="*/ 198 h 276"/>
              <a:gd name="T84" fmla="*/ 367 w 376"/>
              <a:gd name="T85" fmla="*/ 192 h 276"/>
              <a:gd name="T86" fmla="*/ 376 w 376"/>
              <a:gd name="T87" fmla="*/ 172 h 276"/>
              <a:gd name="T88" fmla="*/ 367 w 376"/>
              <a:gd name="T89" fmla="*/ 155 h 276"/>
              <a:gd name="T90" fmla="*/ 354 w 376"/>
              <a:gd name="T91" fmla="*/ 148 h 276"/>
              <a:gd name="T92" fmla="*/ 319 w 376"/>
              <a:gd name="T93" fmla="*/ 141 h 276"/>
              <a:gd name="T94" fmla="*/ 318 w 376"/>
              <a:gd name="T95" fmla="*/ 121 h 276"/>
              <a:gd name="T96" fmla="*/ 318 w 376"/>
              <a:gd name="T97" fmla="*/ 100 h 276"/>
              <a:gd name="T98" fmla="*/ 318 w 376"/>
              <a:gd name="T99" fmla="*/ 84 h 276"/>
              <a:gd name="T100" fmla="*/ 296 w 376"/>
              <a:gd name="T101" fmla="*/ 71 h 276"/>
              <a:gd name="T102" fmla="*/ 285 w 376"/>
              <a:gd name="T103" fmla="*/ 77 h 276"/>
              <a:gd name="T104" fmla="*/ 266 w 376"/>
              <a:gd name="T105" fmla="*/ 61 h 276"/>
              <a:gd name="T106" fmla="*/ 263 w 376"/>
              <a:gd name="T107" fmla="*/ 50 h 276"/>
              <a:gd name="T108" fmla="*/ 256 w 376"/>
              <a:gd name="T109" fmla="*/ 37 h 276"/>
              <a:gd name="T110" fmla="*/ 256 w 376"/>
              <a:gd name="T111" fmla="*/ 32 h 276"/>
              <a:gd name="T112" fmla="*/ 235 w 376"/>
              <a:gd name="T113" fmla="*/ 24 h 276"/>
              <a:gd name="T114" fmla="*/ 228 w 376"/>
              <a:gd name="T115" fmla="*/ 34 h 276"/>
              <a:gd name="T116" fmla="*/ 214 w 376"/>
              <a:gd name="T117" fmla="*/ 46 h 276"/>
              <a:gd name="T118" fmla="*/ 197 w 376"/>
              <a:gd name="T119" fmla="*/ 53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6" h="276">
                <a:moveTo>
                  <a:pt x="197" y="53"/>
                </a:moveTo>
                <a:lnTo>
                  <a:pt x="178" y="34"/>
                </a:lnTo>
                <a:lnTo>
                  <a:pt x="181" y="27"/>
                </a:lnTo>
                <a:lnTo>
                  <a:pt x="170" y="16"/>
                </a:lnTo>
                <a:lnTo>
                  <a:pt x="159" y="0"/>
                </a:lnTo>
                <a:lnTo>
                  <a:pt x="148" y="16"/>
                </a:lnTo>
                <a:lnTo>
                  <a:pt x="140" y="10"/>
                </a:lnTo>
                <a:lnTo>
                  <a:pt x="127" y="24"/>
                </a:lnTo>
                <a:lnTo>
                  <a:pt x="127" y="32"/>
                </a:lnTo>
                <a:lnTo>
                  <a:pt x="110" y="40"/>
                </a:lnTo>
                <a:lnTo>
                  <a:pt x="68" y="77"/>
                </a:lnTo>
                <a:lnTo>
                  <a:pt x="57" y="93"/>
                </a:lnTo>
                <a:lnTo>
                  <a:pt x="57" y="111"/>
                </a:lnTo>
                <a:lnTo>
                  <a:pt x="42" y="117"/>
                </a:lnTo>
                <a:lnTo>
                  <a:pt x="11" y="154"/>
                </a:lnTo>
                <a:lnTo>
                  <a:pt x="11" y="167"/>
                </a:lnTo>
                <a:lnTo>
                  <a:pt x="0" y="182"/>
                </a:lnTo>
                <a:lnTo>
                  <a:pt x="5" y="201"/>
                </a:lnTo>
                <a:lnTo>
                  <a:pt x="19" y="191"/>
                </a:lnTo>
                <a:lnTo>
                  <a:pt x="33" y="174"/>
                </a:lnTo>
                <a:lnTo>
                  <a:pt x="54" y="169"/>
                </a:lnTo>
                <a:lnTo>
                  <a:pt x="68" y="174"/>
                </a:lnTo>
                <a:lnTo>
                  <a:pt x="73" y="201"/>
                </a:lnTo>
                <a:lnTo>
                  <a:pt x="71" y="219"/>
                </a:lnTo>
                <a:lnTo>
                  <a:pt x="80" y="232"/>
                </a:lnTo>
                <a:lnTo>
                  <a:pt x="91" y="241"/>
                </a:lnTo>
                <a:lnTo>
                  <a:pt x="115" y="243"/>
                </a:lnTo>
                <a:lnTo>
                  <a:pt x="167" y="251"/>
                </a:lnTo>
                <a:lnTo>
                  <a:pt x="178" y="243"/>
                </a:lnTo>
                <a:lnTo>
                  <a:pt x="186" y="232"/>
                </a:lnTo>
                <a:lnTo>
                  <a:pt x="191" y="208"/>
                </a:lnTo>
                <a:lnTo>
                  <a:pt x="210" y="206"/>
                </a:lnTo>
                <a:lnTo>
                  <a:pt x="216" y="222"/>
                </a:lnTo>
                <a:lnTo>
                  <a:pt x="216" y="258"/>
                </a:lnTo>
                <a:lnTo>
                  <a:pt x="240" y="276"/>
                </a:lnTo>
                <a:lnTo>
                  <a:pt x="258" y="245"/>
                </a:lnTo>
                <a:lnTo>
                  <a:pt x="277" y="235"/>
                </a:lnTo>
                <a:lnTo>
                  <a:pt x="299" y="238"/>
                </a:lnTo>
                <a:lnTo>
                  <a:pt x="315" y="248"/>
                </a:lnTo>
                <a:lnTo>
                  <a:pt x="322" y="256"/>
                </a:lnTo>
                <a:lnTo>
                  <a:pt x="327" y="229"/>
                </a:lnTo>
                <a:lnTo>
                  <a:pt x="339" y="198"/>
                </a:lnTo>
                <a:lnTo>
                  <a:pt x="367" y="192"/>
                </a:lnTo>
                <a:lnTo>
                  <a:pt x="376" y="172"/>
                </a:lnTo>
                <a:lnTo>
                  <a:pt x="367" y="155"/>
                </a:lnTo>
                <a:lnTo>
                  <a:pt x="354" y="148"/>
                </a:lnTo>
                <a:lnTo>
                  <a:pt x="319" y="141"/>
                </a:lnTo>
                <a:lnTo>
                  <a:pt x="318" y="121"/>
                </a:lnTo>
                <a:lnTo>
                  <a:pt x="318" y="100"/>
                </a:lnTo>
                <a:lnTo>
                  <a:pt x="318" y="84"/>
                </a:lnTo>
                <a:lnTo>
                  <a:pt x="296" y="71"/>
                </a:lnTo>
                <a:lnTo>
                  <a:pt x="285" y="77"/>
                </a:lnTo>
                <a:lnTo>
                  <a:pt x="266" y="61"/>
                </a:lnTo>
                <a:lnTo>
                  <a:pt x="263" y="50"/>
                </a:lnTo>
                <a:lnTo>
                  <a:pt x="256" y="37"/>
                </a:lnTo>
                <a:lnTo>
                  <a:pt x="256" y="32"/>
                </a:lnTo>
                <a:lnTo>
                  <a:pt x="235" y="24"/>
                </a:lnTo>
                <a:lnTo>
                  <a:pt x="228" y="34"/>
                </a:lnTo>
                <a:lnTo>
                  <a:pt x="214" y="46"/>
                </a:lnTo>
                <a:lnTo>
                  <a:pt x="197" y="53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endParaRPr lang="de-CH" sz="1400" b="1" dirty="0">
              <a:solidFill>
                <a:schemeClr val="bg1"/>
              </a:solidFill>
            </a:endParaRPr>
          </a:p>
        </p:txBody>
      </p:sp>
      <p:sp>
        <p:nvSpPr>
          <p:cNvPr id="16" name="AT"/>
          <p:cNvSpPr>
            <a:spLocks/>
          </p:cNvSpPr>
          <p:nvPr/>
        </p:nvSpPr>
        <p:spPr bwMode="auto">
          <a:xfrm>
            <a:off x="5668963" y="4160838"/>
            <a:ext cx="846137" cy="342900"/>
          </a:xfrm>
          <a:custGeom>
            <a:avLst/>
            <a:gdLst>
              <a:gd name="T0" fmla="*/ 24 w 573"/>
              <a:gd name="T1" fmla="*/ 102 h 293"/>
              <a:gd name="T2" fmla="*/ 46 w 573"/>
              <a:gd name="T3" fmla="*/ 117 h 293"/>
              <a:gd name="T4" fmla="*/ 80 w 573"/>
              <a:gd name="T5" fmla="*/ 114 h 293"/>
              <a:gd name="T6" fmla="*/ 112 w 573"/>
              <a:gd name="T7" fmla="*/ 111 h 293"/>
              <a:gd name="T8" fmla="*/ 150 w 573"/>
              <a:gd name="T9" fmla="*/ 125 h 293"/>
              <a:gd name="T10" fmla="*/ 175 w 573"/>
              <a:gd name="T11" fmla="*/ 121 h 293"/>
              <a:gd name="T12" fmla="*/ 218 w 573"/>
              <a:gd name="T13" fmla="*/ 115 h 293"/>
              <a:gd name="T14" fmla="*/ 265 w 573"/>
              <a:gd name="T15" fmla="*/ 142 h 293"/>
              <a:gd name="T16" fmla="*/ 288 w 573"/>
              <a:gd name="T17" fmla="*/ 115 h 293"/>
              <a:gd name="T18" fmla="*/ 269 w 573"/>
              <a:gd name="T19" fmla="*/ 57 h 293"/>
              <a:gd name="T20" fmla="*/ 347 w 573"/>
              <a:gd name="T21" fmla="*/ 7 h 293"/>
              <a:gd name="T22" fmla="*/ 369 w 573"/>
              <a:gd name="T23" fmla="*/ 28 h 293"/>
              <a:gd name="T24" fmla="*/ 426 w 573"/>
              <a:gd name="T25" fmla="*/ 3 h 293"/>
              <a:gd name="T26" fmla="*/ 488 w 573"/>
              <a:gd name="T27" fmla="*/ 24 h 293"/>
              <a:gd name="T28" fmla="*/ 527 w 573"/>
              <a:gd name="T29" fmla="*/ 11 h 293"/>
              <a:gd name="T30" fmla="*/ 559 w 573"/>
              <a:gd name="T31" fmla="*/ 74 h 293"/>
              <a:gd name="T32" fmla="*/ 569 w 573"/>
              <a:gd name="T33" fmla="*/ 117 h 293"/>
              <a:gd name="T34" fmla="*/ 542 w 573"/>
              <a:gd name="T35" fmla="*/ 142 h 293"/>
              <a:gd name="T36" fmla="*/ 546 w 573"/>
              <a:gd name="T37" fmla="*/ 171 h 293"/>
              <a:gd name="T38" fmla="*/ 536 w 573"/>
              <a:gd name="T39" fmla="*/ 210 h 293"/>
              <a:gd name="T40" fmla="*/ 507 w 573"/>
              <a:gd name="T41" fmla="*/ 245 h 293"/>
              <a:gd name="T42" fmla="*/ 482 w 573"/>
              <a:gd name="T43" fmla="*/ 269 h 293"/>
              <a:gd name="T44" fmla="*/ 418 w 573"/>
              <a:gd name="T45" fmla="*/ 273 h 293"/>
              <a:gd name="T46" fmla="*/ 366 w 573"/>
              <a:gd name="T47" fmla="*/ 293 h 293"/>
              <a:gd name="T48" fmla="*/ 279 w 573"/>
              <a:gd name="T49" fmla="*/ 273 h 293"/>
              <a:gd name="T50" fmla="*/ 195 w 573"/>
              <a:gd name="T51" fmla="*/ 235 h 293"/>
              <a:gd name="T52" fmla="*/ 190 w 573"/>
              <a:gd name="T53" fmla="*/ 200 h 293"/>
              <a:gd name="T54" fmla="*/ 136 w 573"/>
              <a:gd name="T55" fmla="*/ 198 h 293"/>
              <a:gd name="T56" fmla="*/ 66 w 573"/>
              <a:gd name="T57" fmla="*/ 188 h 293"/>
              <a:gd name="T58" fmla="*/ 36 w 573"/>
              <a:gd name="T59" fmla="*/ 175 h 293"/>
              <a:gd name="T60" fmla="*/ 17 w 573"/>
              <a:gd name="T61" fmla="*/ 149 h 293"/>
              <a:gd name="T62" fmla="*/ 0 w 573"/>
              <a:gd name="T63" fmla="*/ 105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73" h="293">
                <a:moveTo>
                  <a:pt x="0" y="105"/>
                </a:moveTo>
                <a:lnTo>
                  <a:pt x="24" y="102"/>
                </a:lnTo>
                <a:lnTo>
                  <a:pt x="33" y="100"/>
                </a:lnTo>
                <a:lnTo>
                  <a:pt x="46" y="117"/>
                </a:lnTo>
                <a:lnTo>
                  <a:pt x="61" y="111"/>
                </a:lnTo>
                <a:lnTo>
                  <a:pt x="80" y="114"/>
                </a:lnTo>
                <a:lnTo>
                  <a:pt x="91" y="124"/>
                </a:lnTo>
                <a:lnTo>
                  <a:pt x="112" y="111"/>
                </a:lnTo>
                <a:lnTo>
                  <a:pt x="138" y="112"/>
                </a:lnTo>
                <a:lnTo>
                  <a:pt x="150" y="125"/>
                </a:lnTo>
                <a:lnTo>
                  <a:pt x="166" y="129"/>
                </a:lnTo>
                <a:lnTo>
                  <a:pt x="175" y="121"/>
                </a:lnTo>
                <a:lnTo>
                  <a:pt x="204" y="115"/>
                </a:lnTo>
                <a:lnTo>
                  <a:pt x="218" y="115"/>
                </a:lnTo>
                <a:lnTo>
                  <a:pt x="240" y="124"/>
                </a:lnTo>
                <a:lnTo>
                  <a:pt x="265" y="142"/>
                </a:lnTo>
                <a:lnTo>
                  <a:pt x="284" y="134"/>
                </a:lnTo>
                <a:lnTo>
                  <a:pt x="288" y="115"/>
                </a:lnTo>
                <a:lnTo>
                  <a:pt x="275" y="91"/>
                </a:lnTo>
                <a:lnTo>
                  <a:pt x="269" y="57"/>
                </a:lnTo>
                <a:lnTo>
                  <a:pt x="333" y="7"/>
                </a:lnTo>
                <a:lnTo>
                  <a:pt x="347" y="7"/>
                </a:lnTo>
                <a:lnTo>
                  <a:pt x="350" y="24"/>
                </a:lnTo>
                <a:lnTo>
                  <a:pt x="369" y="28"/>
                </a:lnTo>
                <a:lnTo>
                  <a:pt x="409" y="23"/>
                </a:lnTo>
                <a:lnTo>
                  <a:pt x="426" y="3"/>
                </a:lnTo>
                <a:lnTo>
                  <a:pt x="476" y="0"/>
                </a:lnTo>
                <a:lnTo>
                  <a:pt x="488" y="24"/>
                </a:lnTo>
                <a:lnTo>
                  <a:pt x="508" y="24"/>
                </a:lnTo>
                <a:lnTo>
                  <a:pt x="527" y="11"/>
                </a:lnTo>
                <a:lnTo>
                  <a:pt x="559" y="34"/>
                </a:lnTo>
                <a:lnTo>
                  <a:pt x="559" y="74"/>
                </a:lnTo>
                <a:lnTo>
                  <a:pt x="573" y="91"/>
                </a:lnTo>
                <a:lnTo>
                  <a:pt x="569" y="117"/>
                </a:lnTo>
                <a:lnTo>
                  <a:pt x="559" y="142"/>
                </a:lnTo>
                <a:lnTo>
                  <a:pt x="542" y="142"/>
                </a:lnTo>
                <a:lnTo>
                  <a:pt x="536" y="149"/>
                </a:lnTo>
                <a:lnTo>
                  <a:pt x="546" y="171"/>
                </a:lnTo>
                <a:lnTo>
                  <a:pt x="546" y="192"/>
                </a:lnTo>
                <a:lnTo>
                  <a:pt x="536" y="210"/>
                </a:lnTo>
                <a:lnTo>
                  <a:pt x="508" y="226"/>
                </a:lnTo>
                <a:lnTo>
                  <a:pt x="507" y="245"/>
                </a:lnTo>
                <a:lnTo>
                  <a:pt x="507" y="263"/>
                </a:lnTo>
                <a:lnTo>
                  <a:pt x="482" y="269"/>
                </a:lnTo>
                <a:lnTo>
                  <a:pt x="438" y="266"/>
                </a:lnTo>
                <a:lnTo>
                  <a:pt x="418" y="273"/>
                </a:lnTo>
                <a:lnTo>
                  <a:pt x="381" y="273"/>
                </a:lnTo>
                <a:lnTo>
                  <a:pt x="366" y="293"/>
                </a:lnTo>
                <a:lnTo>
                  <a:pt x="308" y="272"/>
                </a:lnTo>
                <a:lnTo>
                  <a:pt x="279" y="273"/>
                </a:lnTo>
                <a:lnTo>
                  <a:pt x="205" y="255"/>
                </a:lnTo>
                <a:lnTo>
                  <a:pt x="195" y="235"/>
                </a:lnTo>
                <a:lnTo>
                  <a:pt x="195" y="213"/>
                </a:lnTo>
                <a:lnTo>
                  <a:pt x="190" y="200"/>
                </a:lnTo>
                <a:lnTo>
                  <a:pt x="181" y="195"/>
                </a:lnTo>
                <a:lnTo>
                  <a:pt x="136" y="198"/>
                </a:lnTo>
                <a:lnTo>
                  <a:pt x="72" y="205"/>
                </a:lnTo>
                <a:lnTo>
                  <a:pt x="66" y="188"/>
                </a:lnTo>
                <a:lnTo>
                  <a:pt x="55" y="182"/>
                </a:lnTo>
                <a:lnTo>
                  <a:pt x="36" y="175"/>
                </a:lnTo>
                <a:lnTo>
                  <a:pt x="17" y="169"/>
                </a:lnTo>
                <a:lnTo>
                  <a:pt x="17" y="149"/>
                </a:lnTo>
                <a:lnTo>
                  <a:pt x="17" y="121"/>
                </a:lnTo>
                <a:lnTo>
                  <a:pt x="0" y="105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de-CH" sz="1400" b="1" dirty="0">
              <a:solidFill>
                <a:schemeClr val="bg1"/>
              </a:solidFill>
            </a:endParaRPr>
          </a:p>
        </p:txBody>
      </p:sp>
      <p:sp>
        <p:nvSpPr>
          <p:cNvPr id="17" name="SI"/>
          <p:cNvSpPr>
            <a:spLocks/>
          </p:cNvSpPr>
          <p:nvPr/>
        </p:nvSpPr>
        <p:spPr bwMode="auto">
          <a:xfrm>
            <a:off x="6075363" y="4468813"/>
            <a:ext cx="369887" cy="203200"/>
          </a:xfrm>
          <a:custGeom>
            <a:avLst/>
            <a:gdLst>
              <a:gd name="T0" fmla="*/ 22 w 251"/>
              <a:gd name="T1" fmla="*/ 89 h 163"/>
              <a:gd name="T2" fmla="*/ 47 w 251"/>
              <a:gd name="T3" fmla="*/ 118 h 163"/>
              <a:gd name="T4" fmla="*/ 39 w 251"/>
              <a:gd name="T5" fmla="*/ 132 h 163"/>
              <a:gd name="T6" fmla="*/ 28 w 251"/>
              <a:gd name="T7" fmla="*/ 142 h 163"/>
              <a:gd name="T8" fmla="*/ 14 w 251"/>
              <a:gd name="T9" fmla="*/ 145 h 163"/>
              <a:gd name="T10" fmla="*/ 0 w 251"/>
              <a:gd name="T11" fmla="*/ 147 h 163"/>
              <a:gd name="T12" fmla="*/ 25 w 251"/>
              <a:gd name="T13" fmla="*/ 160 h 163"/>
              <a:gd name="T14" fmla="*/ 36 w 251"/>
              <a:gd name="T15" fmla="*/ 163 h 163"/>
              <a:gd name="T16" fmla="*/ 67 w 251"/>
              <a:gd name="T17" fmla="*/ 142 h 163"/>
              <a:gd name="T18" fmla="*/ 137 w 251"/>
              <a:gd name="T19" fmla="*/ 162 h 163"/>
              <a:gd name="T20" fmla="*/ 182 w 251"/>
              <a:gd name="T21" fmla="*/ 105 h 163"/>
              <a:gd name="T22" fmla="*/ 191 w 251"/>
              <a:gd name="T23" fmla="*/ 81 h 163"/>
              <a:gd name="T24" fmla="*/ 200 w 251"/>
              <a:gd name="T25" fmla="*/ 73 h 163"/>
              <a:gd name="T26" fmla="*/ 226 w 251"/>
              <a:gd name="T27" fmla="*/ 76 h 163"/>
              <a:gd name="T28" fmla="*/ 251 w 251"/>
              <a:gd name="T29" fmla="*/ 42 h 163"/>
              <a:gd name="T30" fmla="*/ 248 w 251"/>
              <a:gd name="T31" fmla="*/ 21 h 163"/>
              <a:gd name="T32" fmla="*/ 231 w 251"/>
              <a:gd name="T33" fmla="*/ 0 h 163"/>
              <a:gd name="T34" fmla="*/ 219 w 251"/>
              <a:gd name="T35" fmla="*/ 2 h 163"/>
              <a:gd name="T36" fmla="*/ 207 w 251"/>
              <a:gd name="T37" fmla="*/ 7 h 163"/>
              <a:gd name="T38" fmla="*/ 184 w 251"/>
              <a:gd name="T39" fmla="*/ 1 h 163"/>
              <a:gd name="T40" fmla="*/ 161 w 251"/>
              <a:gd name="T41" fmla="*/ 2 h 163"/>
              <a:gd name="T42" fmla="*/ 138 w 251"/>
              <a:gd name="T43" fmla="*/ 9 h 163"/>
              <a:gd name="T44" fmla="*/ 106 w 251"/>
              <a:gd name="T45" fmla="*/ 7 h 163"/>
              <a:gd name="T46" fmla="*/ 93 w 251"/>
              <a:gd name="T47" fmla="*/ 28 h 163"/>
              <a:gd name="T48" fmla="*/ 39 w 251"/>
              <a:gd name="T49" fmla="*/ 9 h 163"/>
              <a:gd name="T50" fmla="*/ 19 w 251"/>
              <a:gd name="T51" fmla="*/ 9 h 163"/>
              <a:gd name="T52" fmla="*/ 19 w 251"/>
              <a:gd name="T53" fmla="*/ 45 h 163"/>
              <a:gd name="T54" fmla="*/ 22 w 251"/>
              <a:gd name="T55" fmla="*/ 89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51" h="163">
                <a:moveTo>
                  <a:pt x="22" y="89"/>
                </a:moveTo>
                <a:lnTo>
                  <a:pt x="47" y="118"/>
                </a:lnTo>
                <a:lnTo>
                  <a:pt x="39" y="132"/>
                </a:lnTo>
                <a:lnTo>
                  <a:pt x="28" y="142"/>
                </a:lnTo>
                <a:lnTo>
                  <a:pt x="14" y="145"/>
                </a:lnTo>
                <a:lnTo>
                  <a:pt x="0" y="147"/>
                </a:lnTo>
                <a:lnTo>
                  <a:pt x="25" y="160"/>
                </a:lnTo>
                <a:lnTo>
                  <a:pt x="36" y="163"/>
                </a:lnTo>
                <a:lnTo>
                  <a:pt x="67" y="142"/>
                </a:lnTo>
                <a:lnTo>
                  <a:pt x="137" y="162"/>
                </a:lnTo>
                <a:lnTo>
                  <a:pt x="182" y="105"/>
                </a:lnTo>
                <a:lnTo>
                  <a:pt x="191" y="81"/>
                </a:lnTo>
                <a:lnTo>
                  <a:pt x="200" y="73"/>
                </a:lnTo>
                <a:lnTo>
                  <a:pt x="226" y="76"/>
                </a:lnTo>
                <a:lnTo>
                  <a:pt x="251" y="42"/>
                </a:lnTo>
                <a:lnTo>
                  <a:pt x="248" y="21"/>
                </a:lnTo>
                <a:lnTo>
                  <a:pt x="231" y="0"/>
                </a:lnTo>
                <a:lnTo>
                  <a:pt x="219" y="2"/>
                </a:lnTo>
                <a:lnTo>
                  <a:pt x="207" y="7"/>
                </a:lnTo>
                <a:lnTo>
                  <a:pt x="184" y="1"/>
                </a:lnTo>
                <a:lnTo>
                  <a:pt x="161" y="2"/>
                </a:lnTo>
                <a:lnTo>
                  <a:pt x="138" y="9"/>
                </a:lnTo>
                <a:lnTo>
                  <a:pt x="106" y="7"/>
                </a:lnTo>
                <a:lnTo>
                  <a:pt x="93" y="28"/>
                </a:lnTo>
                <a:lnTo>
                  <a:pt x="39" y="9"/>
                </a:lnTo>
                <a:lnTo>
                  <a:pt x="19" y="9"/>
                </a:lnTo>
                <a:lnTo>
                  <a:pt x="19" y="45"/>
                </a:lnTo>
                <a:lnTo>
                  <a:pt x="22" y="89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18" name="BG"/>
          <p:cNvSpPr>
            <a:spLocks noChangeAspect="1"/>
          </p:cNvSpPr>
          <p:nvPr/>
        </p:nvSpPr>
        <p:spPr bwMode="auto">
          <a:xfrm>
            <a:off x="7159625" y="4818063"/>
            <a:ext cx="719138" cy="485775"/>
          </a:xfrm>
          <a:custGeom>
            <a:avLst/>
            <a:gdLst>
              <a:gd name="T0" fmla="*/ 9 w 485"/>
              <a:gd name="T1" fmla="*/ 56 h 398"/>
              <a:gd name="T2" fmla="*/ 3 w 485"/>
              <a:gd name="T3" fmla="*/ 84 h 398"/>
              <a:gd name="T4" fmla="*/ 36 w 485"/>
              <a:gd name="T5" fmla="*/ 117 h 398"/>
              <a:gd name="T6" fmla="*/ 38 w 485"/>
              <a:gd name="T7" fmla="*/ 164 h 398"/>
              <a:gd name="T8" fmla="*/ 8 w 485"/>
              <a:gd name="T9" fmla="*/ 191 h 398"/>
              <a:gd name="T10" fmla="*/ 12 w 485"/>
              <a:gd name="T11" fmla="*/ 225 h 398"/>
              <a:gd name="T12" fmla="*/ 8 w 485"/>
              <a:gd name="T13" fmla="*/ 263 h 398"/>
              <a:gd name="T14" fmla="*/ 12 w 485"/>
              <a:gd name="T15" fmla="*/ 296 h 398"/>
              <a:gd name="T16" fmla="*/ 38 w 485"/>
              <a:gd name="T17" fmla="*/ 315 h 398"/>
              <a:gd name="T18" fmla="*/ 39 w 485"/>
              <a:gd name="T19" fmla="*/ 362 h 398"/>
              <a:gd name="T20" fmla="*/ 56 w 485"/>
              <a:gd name="T21" fmla="*/ 398 h 398"/>
              <a:gd name="T22" fmla="*/ 138 w 485"/>
              <a:gd name="T23" fmla="*/ 374 h 398"/>
              <a:gd name="T24" fmla="*/ 188 w 485"/>
              <a:gd name="T25" fmla="*/ 334 h 398"/>
              <a:gd name="T26" fmla="*/ 226 w 485"/>
              <a:gd name="T27" fmla="*/ 359 h 398"/>
              <a:gd name="T28" fmla="*/ 262 w 485"/>
              <a:gd name="T29" fmla="*/ 371 h 398"/>
              <a:gd name="T30" fmla="*/ 307 w 485"/>
              <a:gd name="T31" fmla="*/ 353 h 398"/>
              <a:gd name="T32" fmla="*/ 309 w 485"/>
              <a:gd name="T33" fmla="*/ 312 h 398"/>
              <a:gd name="T34" fmla="*/ 342 w 485"/>
              <a:gd name="T35" fmla="*/ 312 h 398"/>
              <a:gd name="T36" fmla="*/ 359 w 485"/>
              <a:gd name="T37" fmla="*/ 300 h 398"/>
              <a:gd name="T38" fmla="*/ 424 w 485"/>
              <a:gd name="T39" fmla="*/ 278 h 398"/>
              <a:gd name="T40" fmla="*/ 447 w 485"/>
              <a:gd name="T41" fmla="*/ 248 h 398"/>
              <a:gd name="T42" fmla="*/ 414 w 485"/>
              <a:gd name="T43" fmla="*/ 208 h 398"/>
              <a:gd name="T44" fmla="*/ 429 w 485"/>
              <a:gd name="T45" fmla="*/ 177 h 398"/>
              <a:gd name="T46" fmla="*/ 441 w 485"/>
              <a:gd name="T47" fmla="*/ 158 h 398"/>
              <a:gd name="T48" fmla="*/ 450 w 485"/>
              <a:gd name="T49" fmla="*/ 117 h 398"/>
              <a:gd name="T50" fmla="*/ 460 w 485"/>
              <a:gd name="T51" fmla="*/ 74 h 398"/>
              <a:gd name="T52" fmla="*/ 485 w 485"/>
              <a:gd name="T53" fmla="*/ 56 h 398"/>
              <a:gd name="T54" fmla="*/ 471 w 485"/>
              <a:gd name="T55" fmla="*/ 13 h 398"/>
              <a:gd name="T56" fmla="*/ 405 w 485"/>
              <a:gd name="T57" fmla="*/ 3 h 398"/>
              <a:gd name="T58" fmla="*/ 336 w 485"/>
              <a:gd name="T59" fmla="*/ 9 h 398"/>
              <a:gd name="T60" fmla="*/ 270 w 485"/>
              <a:gd name="T61" fmla="*/ 46 h 398"/>
              <a:gd name="T62" fmla="*/ 218 w 485"/>
              <a:gd name="T63" fmla="*/ 71 h 398"/>
              <a:gd name="T64" fmla="*/ 150 w 485"/>
              <a:gd name="T65" fmla="*/ 77 h 398"/>
              <a:gd name="T66" fmla="*/ 105 w 485"/>
              <a:gd name="T67" fmla="*/ 74 h 398"/>
              <a:gd name="T68" fmla="*/ 52 w 485"/>
              <a:gd name="T69" fmla="*/ 53 h 398"/>
              <a:gd name="T70" fmla="*/ 12 w 485"/>
              <a:gd name="T71" fmla="*/ 47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85" h="398">
                <a:moveTo>
                  <a:pt x="12" y="47"/>
                </a:moveTo>
                <a:lnTo>
                  <a:pt x="9" y="56"/>
                </a:lnTo>
                <a:lnTo>
                  <a:pt x="0" y="66"/>
                </a:lnTo>
                <a:lnTo>
                  <a:pt x="3" y="84"/>
                </a:lnTo>
                <a:lnTo>
                  <a:pt x="17" y="114"/>
                </a:lnTo>
                <a:lnTo>
                  <a:pt x="36" y="117"/>
                </a:lnTo>
                <a:lnTo>
                  <a:pt x="39" y="130"/>
                </a:lnTo>
                <a:lnTo>
                  <a:pt x="38" y="164"/>
                </a:lnTo>
                <a:lnTo>
                  <a:pt x="31" y="174"/>
                </a:lnTo>
                <a:lnTo>
                  <a:pt x="8" y="191"/>
                </a:lnTo>
                <a:lnTo>
                  <a:pt x="5" y="199"/>
                </a:lnTo>
                <a:lnTo>
                  <a:pt x="12" y="225"/>
                </a:lnTo>
                <a:lnTo>
                  <a:pt x="14" y="245"/>
                </a:lnTo>
                <a:lnTo>
                  <a:pt x="8" y="263"/>
                </a:lnTo>
                <a:lnTo>
                  <a:pt x="0" y="278"/>
                </a:lnTo>
                <a:lnTo>
                  <a:pt x="12" y="296"/>
                </a:lnTo>
                <a:lnTo>
                  <a:pt x="22" y="293"/>
                </a:lnTo>
                <a:lnTo>
                  <a:pt x="38" y="315"/>
                </a:lnTo>
                <a:lnTo>
                  <a:pt x="39" y="334"/>
                </a:lnTo>
                <a:lnTo>
                  <a:pt x="39" y="362"/>
                </a:lnTo>
                <a:lnTo>
                  <a:pt x="38" y="374"/>
                </a:lnTo>
                <a:lnTo>
                  <a:pt x="56" y="398"/>
                </a:lnTo>
                <a:lnTo>
                  <a:pt x="94" y="390"/>
                </a:lnTo>
                <a:lnTo>
                  <a:pt x="138" y="374"/>
                </a:lnTo>
                <a:lnTo>
                  <a:pt x="171" y="352"/>
                </a:lnTo>
                <a:lnTo>
                  <a:pt x="188" y="334"/>
                </a:lnTo>
                <a:lnTo>
                  <a:pt x="209" y="367"/>
                </a:lnTo>
                <a:lnTo>
                  <a:pt x="226" y="359"/>
                </a:lnTo>
                <a:lnTo>
                  <a:pt x="248" y="367"/>
                </a:lnTo>
                <a:lnTo>
                  <a:pt x="262" y="371"/>
                </a:lnTo>
                <a:lnTo>
                  <a:pt x="290" y="359"/>
                </a:lnTo>
                <a:lnTo>
                  <a:pt x="307" y="353"/>
                </a:lnTo>
                <a:lnTo>
                  <a:pt x="307" y="337"/>
                </a:lnTo>
                <a:lnTo>
                  <a:pt x="309" y="312"/>
                </a:lnTo>
                <a:lnTo>
                  <a:pt x="323" y="303"/>
                </a:lnTo>
                <a:lnTo>
                  <a:pt x="342" y="312"/>
                </a:lnTo>
                <a:lnTo>
                  <a:pt x="345" y="322"/>
                </a:lnTo>
                <a:lnTo>
                  <a:pt x="359" y="300"/>
                </a:lnTo>
                <a:lnTo>
                  <a:pt x="394" y="282"/>
                </a:lnTo>
                <a:lnTo>
                  <a:pt x="424" y="278"/>
                </a:lnTo>
                <a:lnTo>
                  <a:pt x="452" y="278"/>
                </a:lnTo>
                <a:lnTo>
                  <a:pt x="447" y="248"/>
                </a:lnTo>
                <a:lnTo>
                  <a:pt x="443" y="232"/>
                </a:lnTo>
                <a:lnTo>
                  <a:pt x="414" y="208"/>
                </a:lnTo>
                <a:lnTo>
                  <a:pt x="413" y="201"/>
                </a:lnTo>
                <a:lnTo>
                  <a:pt x="429" y="177"/>
                </a:lnTo>
                <a:lnTo>
                  <a:pt x="446" y="172"/>
                </a:lnTo>
                <a:lnTo>
                  <a:pt x="441" y="158"/>
                </a:lnTo>
                <a:lnTo>
                  <a:pt x="450" y="133"/>
                </a:lnTo>
                <a:lnTo>
                  <a:pt x="450" y="117"/>
                </a:lnTo>
                <a:lnTo>
                  <a:pt x="455" y="87"/>
                </a:lnTo>
                <a:lnTo>
                  <a:pt x="460" y="74"/>
                </a:lnTo>
                <a:lnTo>
                  <a:pt x="476" y="77"/>
                </a:lnTo>
                <a:lnTo>
                  <a:pt x="485" y="56"/>
                </a:lnTo>
                <a:lnTo>
                  <a:pt x="476" y="37"/>
                </a:lnTo>
                <a:lnTo>
                  <a:pt x="471" y="13"/>
                </a:lnTo>
                <a:lnTo>
                  <a:pt x="460" y="16"/>
                </a:lnTo>
                <a:lnTo>
                  <a:pt x="405" y="3"/>
                </a:lnTo>
                <a:lnTo>
                  <a:pt x="370" y="0"/>
                </a:lnTo>
                <a:lnTo>
                  <a:pt x="336" y="9"/>
                </a:lnTo>
                <a:lnTo>
                  <a:pt x="305" y="24"/>
                </a:lnTo>
                <a:lnTo>
                  <a:pt x="270" y="46"/>
                </a:lnTo>
                <a:lnTo>
                  <a:pt x="243" y="68"/>
                </a:lnTo>
                <a:lnTo>
                  <a:pt x="218" y="71"/>
                </a:lnTo>
                <a:lnTo>
                  <a:pt x="183" y="64"/>
                </a:lnTo>
                <a:lnTo>
                  <a:pt x="150" y="77"/>
                </a:lnTo>
                <a:lnTo>
                  <a:pt x="129" y="83"/>
                </a:lnTo>
                <a:lnTo>
                  <a:pt x="105" y="74"/>
                </a:lnTo>
                <a:lnTo>
                  <a:pt x="71" y="59"/>
                </a:lnTo>
                <a:lnTo>
                  <a:pt x="52" y="53"/>
                </a:lnTo>
                <a:lnTo>
                  <a:pt x="25" y="47"/>
                </a:lnTo>
                <a:lnTo>
                  <a:pt x="12" y="47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19" name="BE"/>
          <p:cNvSpPr>
            <a:spLocks noChangeAspect="1"/>
          </p:cNvSpPr>
          <p:nvPr/>
        </p:nvSpPr>
        <p:spPr bwMode="auto">
          <a:xfrm>
            <a:off x="5040313" y="3597275"/>
            <a:ext cx="388937" cy="307975"/>
          </a:xfrm>
          <a:custGeom>
            <a:avLst/>
            <a:gdLst>
              <a:gd name="T0" fmla="*/ 0 w 266"/>
              <a:gd name="T1" fmla="*/ 47 h 263"/>
              <a:gd name="T2" fmla="*/ 7 w 266"/>
              <a:gd name="T3" fmla="*/ 37 h 263"/>
              <a:gd name="T4" fmla="*/ 4 w 266"/>
              <a:gd name="T5" fmla="*/ 24 h 263"/>
              <a:gd name="T6" fmla="*/ 45 w 266"/>
              <a:gd name="T7" fmla="*/ 0 h 263"/>
              <a:gd name="T8" fmla="*/ 48 w 266"/>
              <a:gd name="T9" fmla="*/ 9 h 263"/>
              <a:gd name="T10" fmla="*/ 77 w 266"/>
              <a:gd name="T11" fmla="*/ 3 h 263"/>
              <a:gd name="T12" fmla="*/ 100 w 266"/>
              <a:gd name="T13" fmla="*/ 5 h 263"/>
              <a:gd name="T14" fmla="*/ 91 w 266"/>
              <a:gd name="T15" fmla="*/ 17 h 263"/>
              <a:gd name="T16" fmla="*/ 96 w 266"/>
              <a:gd name="T17" fmla="*/ 34 h 263"/>
              <a:gd name="T18" fmla="*/ 115 w 266"/>
              <a:gd name="T19" fmla="*/ 42 h 263"/>
              <a:gd name="T20" fmla="*/ 134 w 266"/>
              <a:gd name="T21" fmla="*/ 40 h 263"/>
              <a:gd name="T22" fmla="*/ 150 w 266"/>
              <a:gd name="T23" fmla="*/ 27 h 263"/>
              <a:gd name="T24" fmla="*/ 175 w 266"/>
              <a:gd name="T25" fmla="*/ 24 h 263"/>
              <a:gd name="T26" fmla="*/ 183 w 266"/>
              <a:gd name="T27" fmla="*/ 36 h 263"/>
              <a:gd name="T28" fmla="*/ 198 w 266"/>
              <a:gd name="T29" fmla="*/ 46 h 263"/>
              <a:gd name="T30" fmla="*/ 219 w 266"/>
              <a:gd name="T31" fmla="*/ 47 h 263"/>
              <a:gd name="T32" fmla="*/ 216 w 266"/>
              <a:gd name="T33" fmla="*/ 67 h 263"/>
              <a:gd name="T34" fmla="*/ 217 w 266"/>
              <a:gd name="T35" fmla="*/ 107 h 263"/>
              <a:gd name="T36" fmla="*/ 221 w 266"/>
              <a:gd name="T37" fmla="*/ 131 h 263"/>
              <a:gd name="T38" fmla="*/ 245 w 266"/>
              <a:gd name="T39" fmla="*/ 128 h 263"/>
              <a:gd name="T40" fmla="*/ 252 w 266"/>
              <a:gd name="T41" fmla="*/ 145 h 263"/>
              <a:gd name="T42" fmla="*/ 254 w 266"/>
              <a:gd name="T43" fmla="*/ 160 h 263"/>
              <a:gd name="T44" fmla="*/ 266 w 266"/>
              <a:gd name="T45" fmla="*/ 179 h 263"/>
              <a:gd name="T46" fmla="*/ 251 w 266"/>
              <a:gd name="T47" fmla="*/ 194 h 263"/>
              <a:gd name="T48" fmla="*/ 237 w 266"/>
              <a:gd name="T49" fmla="*/ 205 h 263"/>
              <a:gd name="T50" fmla="*/ 222 w 266"/>
              <a:gd name="T51" fmla="*/ 205 h 263"/>
              <a:gd name="T52" fmla="*/ 204 w 266"/>
              <a:gd name="T53" fmla="*/ 211 h 263"/>
              <a:gd name="T54" fmla="*/ 204 w 266"/>
              <a:gd name="T55" fmla="*/ 232 h 263"/>
              <a:gd name="T56" fmla="*/ 197 w 266"/>
              <a:gd name="T57" fmla="*/ 246 h 263"/>
              <a:gd name="T58" fmla="*/ 178 w 266"/>
              <a:gd name="T59" fmla="*/ 263 h 263"/>
              <a:gd name="T60" fmla="*/ 146 w 266"/>
              <a:gd name="T61" fmla="*/ 236 h 263"/>
              <a:gd name="T62" fmla="*/ 137 w 266"/>
              <a:gd name="T63" fmla="*/ 212 h 263"/>
              <a:gd name="T64" fmla="*/ 108 w 266"/>
              <a:gd name="T65" fmla="*/ 205 h 263"/>
              <a:gd name="T66" fmla="*/ 98 w 266"/>
              <a:gd name="T67" fmla="*/ 174 h 263"/>
              <a:gd name="T68" fmla="*/ 77 w 266"/>
              <a:gd name="T69" fmla="*/ 155 h 263"/>
              <a:gd name="T70" fmla="*/ 70 w 266"/>
              <a:gd name="T71" fmla="*/ 133 h 263"/>
              <a:gd name="T72" fmla="*/ 53 w 266"/>
              <a:gd name="T73" fmla="*/ 110 h 263"/>
              <a:gd name="T74" fmla="*/ 42 w 266"/>
              <a:gd name="T75" fmla="*/ 87 h 263"/>
              <a:gd name="T76" fmla="*/ 20 w 266"/>
              <a:gd name="T77" fmla="*/ 70 h 263"/>
              <a:gd name="T78" fmla="*/ 0 w 266"/>
              <a:gd name="T79" fmla="*/ 47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66" h="263">
                <a:moveTo>
                  <a:pt x="0" y="47"/>
                </a:moveTo>
                <a:lnTo>
                  <a:pt x="7" y="37"/>
                </a:lnTo>
                <a:lnTo>
                  <a:pt x="4" y="24"/>
                </a:lnTo>
                <a:lnTo>
                  <a:pt x="45" y="0"/>
                </a:lnTo>
                <a:lnTo>
                  <a:pt x="48" y="9"/>
                </a:lnTo>
                <a:lnTo>
                  <a:pt x="77" y="3"/>
                </a:lnTo>
                <a:lnTo>
                  <a:pt x="100" y="5"/>
                </a:lnTo>
                <a:lnTo>
                  <a:pt x="91" y="17"/>
                </a:lnTo>
                <a:lnTo>
                  <a:pt x="96" y="34"/>
                </a:lnTo>
                <a:lnTo>
                  <a:pt x="115" y="42"/>
                </a:lnTo>
                <a:lnTo>
                  <a:pt x="134" y="40"/>
                </a:lnTo>
                <a:lnTo>
                  <a:pt x="150" y="27"/>
                </a:lnTo>
                <a:lnTo>
                  <a:pt x="175" y="24"/>
                </a:lnTo>
                <a:lnTo>
                  <a:pt x="183" y="36"/>
                </a:lnTo>
                <a:lnTo>
                  <a:pt x="198" y="46"/>
                </a:lnTo>
                <a:lnTo>
                  <a:pt x="219" y="47"/>
                </a:lnTo>
                <a:lnTo>
                  <a:pt x="216" y="67"/>
                </a:lnTo>
                <a:lnTo>
                  <a:pt x="217" y="107"/>
                </a:lnTo>
                <a:lnTo>
                  <a:pt x="221" y="131"/>
                </a:lnTo>
                <a:lnTo>
                  <a:pt x="245" y="128"/>
                </a:lnTo>
                <a:lnTo>
                  <a:pt x="252" y="145"/>
                </a:lnTo>
                <a:lnTo>
                  <a:pt x="254" y="160"/>
                </a:lnTo>
                <a:lnTo>
                  <a:pt x="266" y="179"/>
                </a:lnTo>
                <a:lnTo>
                  <a:pt x="251" y="194"/>
                </a:lnTo>
                <a:lnTo>
                  <a:pt x="237" y="205"/>
                </a:lnTo>
                <a:lnTo>
                  <a:pt x="222" y="205"/>
                </a:lnTo>
                <a:lnTo>
                  <a:pt x="204" y="211"/>
                </a:lnTo>
                <a:lnTo>
                  <a:pt x="204" y="232"/>
                </a:lnTo>
                <a:lnTo>
                  <a:pt x="197" y="246"/>
                </a:lnTo>
                <a:lnTo>
                  <a:pt x="178" y="263"/>
                </a:lnTo>
                <a:lnTo>
                  <a:pt x="146" y="236"/>
                </a:lnTo>
                <a:lnTo>
                  <a:pt x="137" y="212"/>
                </a:lnTo>
                <a:lnTo>
                  <a:pt x="108" y="205"/>
                </a:lnTo>
                <a:lnTo>
                  <a:pt x="98" y="174"/>
                </a:lnTo>
                <a:lnTo>
                  <a:pt x="77" y="155"/>
                </a:lnTo>
                <a:lnTo>
                  <a:pt x="70" y="133"/>
                </a:lnTo>
                <a:lnTo>
                  <a:pt x="53" y="110"/>
                </a:lnTo>
                <a:lnTo>
                  <a:pt x="42" y="87"/>
                </a:lnTo>
                <a:lnTo>
                  <a:pt x="20" y="70"/>
                </a:lnTo>
                <a:lnTo>
                  <a:pt x="0" y="47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de-CH" sz="1400" b="1" dirty="0">
              <a:solidFill>
                <a:schemeClr val="bg1"/>
              </a:solidFill>
            </a:endParaRPr>
          </a:p>
        </p:txBody>
      </p:sp>
      <p:sp>
        <p:nvSpPr>
          <p:cNvPr id="20" name="LU"/>
          <p:cNvSpPr>
            <a:spLocks noChangeAspect="1"/>
          </p:cNvSpPr>
          <p:nvPr/>
        </p:nvSpPr>
        <p:spPr bwMode="auto">
          <a:xfrm>
            <a:off x="5294313" y="3835400"/>
            <a:ext cx="109537" cy="119063"/>
          </a:xfrm>
          <a:custGeom>
            <a:avLst/>
            <a:gdLst>
              <a:gd name="T0" fmla="*/ 52 w 73"/>
              <a:gd name="T1" fmla="*/ 101 h 101"/>
              <a:gd name="T2" fmla="*/ 56 w 73"/>
              <a:gd name="T3" fmla="*/ 68 h 101"/>
              <a:gd name="T4" fmla="*/ 73 w 73"/>
              <a:gd name="T5" fmla="*/ 56 h 101"/>
              <a:gd name="T6" fmla="*/ 73 w 73"/>
              <a:gd name="T7" fmla="*/ 40 h 101"/>
              <a:gd name="T8" fmla="*/ 64 w 73"/>
              <a:gd name="T9" fmla="*/ 29 h 101"/>
              <a:gd name="T10" fmla="*/ 55 w 73"/>
              <a:gd name="T11" fmla="*/ 13 h 101"/>
              <a:gd name="T12" fmla="*/ 50 w 73"/>
              <a:gd name="T13" fmla="*/ 0 h 101"/>
              <a:gd name="T14" fmla="*/ 33 w 73"/>
              <a:gd name="T15" fmla="*/ 0 h 101"/>
              <a:gd name="T16" fmla="*/ 22 w 73"/>
              <a:gd name="T17" fmla="*/ 6 h 101"/>
              <a:gd name="T18" fmla="*/ 22 w 73"/>
              <a:gd name="T19" fmla="*/ 27 h 101"/>
              <a:gd name="T20" fmla="*/ 12 w 73"/>
              <a:gd name="T21" fmla="*/ 46 h 101"/>
              <a:gd name="T22" fmla="*/ 0 w 73"/>
              <a:gd name="T23" fmla="*/ 51 h 101"/>
              <a:gd name="T24" fmla="*/ 5 w 73"/>
              <a:gd name="T25" fmla="*/ 67 h 101"/>
              <a:gd name="T26" fmla="*/ 21 w 73"/>
              <a:gd name="T27" fmla="*/ 71 h 101"/>
              <a:gd name="T28" fmla="*/ 36 w 73"/>
              <a:gd name="T29" fmla="*/ 75 h 101"/>
              <a:gd name="T30" fmla="*/ 45 w 73"/>
              <a:gd name="T31" fmla="*/ 85 h 101"/>
              <a:gd name="T32" fmla="*/ 52 w 73"/>
              <a:gd name="T33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3" h="101">
                <a:moveTo>
                  <a:pt x="52" y="101"/>
                </a:moveTo>
                <a:lnTo>
                  <a:pt x="56" y="68"/>
                </a:lnTo>
                <a:lnTo>
                  <a:pt x="73" y="56"/>
                </a:lnTo>
                <a:lnTo>
                  <a:pt x="73" y="40"/>
                </a:lnTo>
                <a:lnTo>
                  <a:pt x="64" y="29"/>
                </a:lnTo>
                <a:lnTo>
                  <a:pt x="55" y="13"/>
                </a:lnTo>
                <a:lnTo>
                  <a:pt x="50" y="0"/>
                </a:lnTo>
                <a:lnTo>
                  <a:pt x="33" y="0"/>
                </a:lnTo>
                <a:lnTo>
                  <a:pt x="22" y="6"/>
                </a:lnTo>
                <a:lnTo>
                  <a:pt x="22" y="27"/>
                </a:lnTo>
                <a:lnTo>
                  <a:pt x="12" y="46"/>
                </a:lnTo>
                <a:lnTo>
                  <a:pt x="0" y="51"/>
                </a:lnTo>
                <a:lnTo>
                  <a:pt x="5" y="67"/>
                </a:lnTo>
                <a:lnTo>
                  <a:pt x="21" y="71"/>
                </a:lnTo>
                <a:lnTo>
                  <a:pt x="36" y="75"/>
                </a:lnTo>
                <a:lnTo>
                  <a:pt x="45" y="85"/>
                </a:lnTo>
                <a:lnTo>
                  <a:pt x="52" y="101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21" name="NL"/>
          <p:cNvSpPr>
            <a:spLocks noChangeAspect="1"/>
          </p:cNvSpPr>
          <p:nvPr/>
        </p:nvSpPr>
        <p:spPr bwMode="auto">
          <a:xfrm>
            <a:off x="5165725" y="3370263"/>
            <a:ext cx="404813" cy="385762"/>
          </a:xfrm>
          <a:custGeom>
            <a:avLst/>
            <a:gdLst>
              <a:gd name="T0" fmla="*/ 112 w 271"/>
              <a:gd name="T1" fmla="*/ 9 h 323"/>
              <a:gd name="T2" fmla="*/ 85 w 271"/>
              <a:gd name="T3" fmla="*/ 47 h 323"/>
              <a:gd name="T4" fmla="*/ 85 w 271"/>
              <a:gd name="T5" fmla="*/ 59 h 323"/>
              <a:gd name="T6" fmla="*/ 68 w 271"/>
              <a:gd name="T7" fmla="*/ 77 h 323"/>
              <a:gd name="T8" fmla="*/ 71 w 271"/>
              <a:gd name="T9" fmla="*/ 81 h 323"/>
              <a:gd name="T10" fmla="*/ 66 w 271"/>
              <a:gd name="T11" fmla="*/ 94 h 323"/>
              <a:gd name="T12" fmla="*/ 49 w 271"/>
              <a:gd name="T13" fmla="*/ 113 h 323"/>
              <a:gd name="T14" fmla="*/ 33 w 271"/>
              <a:gd name="T15" fmla="*/ 134 h 323"/>
              <a:gd name="T16" fmla="*/ 26 w 271"/>
              <a:gd name="T17" fmla="*/ 145 h 323"/>
              <a:gd name="T18" fmla="*/ 33 w 271"/>
              <a:gd name="T19" fmla="*/ 155 h 323"/>
              <a:gd name="T20" fmla="*/ 28 w 271"/>
              <a:gd name="T21" fmla="*/ 171 h 323"/>
              <a:gd name="T22" fmla="*/ 19 w 271"/>
              <a:gd name="T23" fmla="*/ 184 h 323"/>
              <a:gd name="T24" fmla="*/ 11 w 271"/>
              <a:gd name="T25" fmla="*/ 189 h 323"/>
              <a:gd name="T26" fmla="*/ 0 w 271"/>
              <a:gd name="T27" fmla="*/ 205 h 323"/>
              <a:gd name="T28" fmla="*/ 1 w 271"/>
              <a:gd name="T29" fmla="*/ 221 h 323"/>
              <a:gd name="T30" fmla="*/ 14 w 271"/>
              <a:gd name="T31" fmla="*/ 229 h 323"/>
              <a:gd name="T32" fmla="*/ 44 w 271"/>
              <a:gd name="T33" fmla="*/ 229 h 323"/>
              <a:gd name="T34" fmla="*/ 62 w 271"/>
              <a:gd name="T35" fmla="*/ 218 h 323"/>
              <a:gd name="T36" fmla="*/ 79 w 271"/>
              <a:gd name="T37" fmla="*/ 215 h 323"/>
              <a:gd name="T38" fmla="*/ 93 w 271"/>
              <a:gd name="T39" fmla="*/ 229 h 323"/>
              <a:gd name="T40" fmla="*/ 107 w 271"/>
              <a:gd name="T41" fmla="*/ 236 h 323"/>
              <a:gd name="T42" fmla="*/ 126 w 271"/>
              <a:gd name="T43" fmla="*/ 239 h 323"/>
              <a:gd name="T44" fmla="*/ 121 w 271"/>
              <a:gd name="T45" fmla="*/ 263 h 323"/>
              <a:gd name="T46" fmla="*/ 128 w 271"/>
              <a:gd name="T47" fmla="*/ 323 h 323"/>
              <a:gd name="T48" fmla="*/ 144 w 271"/>
              <a:gd name="T49" fmla="*/ 322 h 323"/>
              <a:gd name="T50" fmla="*/ 154 w 271"/>
              <a:gd name="T51" fmla="*/ 320 h 323"/>
              <a:gd name="T52" fmla="*/ 158 w 271"/>
              <a:gd name="T53" fmla="*/ 303 h 323"/>
              <a:gd name="T54" fmla="*/ 161 w 271"/>
              <a:gd name="T55" fmla="*/ 268 h 323"/>
              <a:gd name="T56" fmla="*/ 173 w 271"/>
              <a:gd name="T57" fmla="*/ 249 h 323"/>
              <a:gd name="T58" fmla="*/ 173 w 271"/>
              <a:gd name="T59" fmla="*/ 218 h 323"/>
              <a:gd name="T60" fmla="*/ 183 w 271"/>
              <a:gd name="T61" fmla="*/ 199 h 323"/>
              <a:gd name="T62" fmla="*/ 204 w 271"/>
              <a:gd name="T63" fmla="*/ 189 h 323"/>
              <a:gd name="T64" fmla="*/ 243 w 271"/>
              <a:gd name="T65" fmla="*/ 140 h 323"/>
              <a:gd name="T66" fmla="*/ 248 w 271"/>
              <a:gd name="T67" fmla="*/ 118 h 323"/>
              <a:gd name="T68" fmla="*/ 242 w 271"/>
              <a:gd name="T69" fmla="*/ 84 h 323"/>
              <a:gd name="T70" fmla="*/ 267 w 271"/>
              <a:gd name="T71" fmla="*/ 61 h 323"/>
              <a:gd name="T72" fmla="*/ 271 w 271"/>
              <a:gd name="T73" fmla="*/ 23 h 323"/>
              <a:gd name="T74" fmla="*/ 253 w 271"/>
              <a:gd name="T75" fmla="*/ 6 h 323"/>
              <a:gd name="T76" fmla="*/ 242 w 271"/>
              <a:gd name="T77" fmla="*/ 3 h 323"/>
              <a:gd name="T78" fmla="*/ 220 w 271"/>
              <a:gd name="T79" fmla="*/ 0 h 323"/>
              <a:gd name="T80" fmla="*/ 173 w 271"/>
              <a:gd name="T81" fmla="*/ 0 h 323"/>
              <a:gd name="T82" fmla="*/ 159 w 271"/>
              <a:gd name="T83" fmla="*/ 13 h 323"/>
              <a:gd name="T84" fmla="*/ 148 w 271"/>
              <a:gd name="T85" fmla="*/ 29 h 323"/>
              <a:gd name="T86" fmla="*/ 150 w 271"/>
              <a:gd name="T87" fmla="*/ 43 h 323"/>
              <a:gd name="T88" fmla="*/ 167 w 271"/>
              <a:gd name="T89" fmla="*/ 56 h 323"/>
              <a:gd name="T90" fmla="*/ 178 w 271"/>
              <a:gd name="T91" fmla="*/ 71 h 323"/>
              <a:gd name="T92" fmla="*/ 178 w 271"/>
              <a:gd name="T93" fmla="*/ 93 h 323"/>
              <a:gd name="T94" fmla="*/ 159 w 271"/>
              <a:gd name="T95" fmla="*/ 108 h 323"/>
              <a:gd name="T96" fmla="*/ 140 w 271"/>
              <a:gd name="T97" fmla="*/ 113 h 323"/>
              <a:gd name="T98" fmla="*/ 126 w 271"/>
              <a:gd name="T99" fmla="*/ 115 h 323"/>
              <a:gd name="T100" fmla="*/ 120 w 271"/>
              <a:gd name="T101" fmla="*/ 103 h 323"/>
              <a:gd name="T102" fmla="*/ 115 w 271"/>
              <a:gd name="T103" fmla="*/ 84 h 323"/>
              <a:gd name="T104" fmla="*/ 124 w 271"/>
              <a:gd name="T105" fmla="*/ 69 h 323"/>
              <a:gd name="T106" fmla="*/ 121 w 271"/>
              <a:gd name="T107" fmla="*/ 50 h 323"/>
              <a:gd name="T108" fmla="*/ 120 w 271"/>
              <a:gd name="T109" fmla="*/ 32 h 323"/>
              <a:gd name="T110" fmla="*/ 112 w 271"/>
              <a:gd name="T111" fmla="*/ 9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71" h="323">
                <a:moveTo>
                  <a:pt x="112" y="9"/>
                </a:moveTo>
                <a:lnTo>
                  <a:pt x="85" y="47"/>
                </a:lnTo>
                <a:lnTo>
                  <a:pt x="85" y="59"/>
                </a:lnTo>
                <a:lnTo>
                  <a:pt x="68" y="77"/>
                </a:lnTo>
                <a:lnTo>
                  <a:pt x="71" y="81"/>
                </a:lnTo>
                <a:lnTo>
                  <a:pt x="66" y="94"/>
                </a:lnTo>
                <a:lnTo>
                  <a:pt x="49" y="113"/>
                </a:lnTo>
                <a:lnTo>
                  <a:pt x="33" y="134"/>
                </a:lnTo>
                <a:lnTo>
                  <a:pt x="26" y="145"/>
                </a:lnTo>
                <a:lnTo>
                  <a:pt x="33" y="155"/>
                </a:lnTo>
                <a:lnTo>
                  <a:pt x="28" y="171"/>
                </a:lnTo>
                <a:lnTo>
                  <a:pt x="19" y="184"/>
                </a:lnTo>
                <a:lnTo>
                  <a:pt x="11" y="189"/>
                </a:lnTo>
                <a:lnTo>
                  <a:pt x="0" y="205"/>
                </a:lnTo>
                <a:lnTo>
                  <a:pt x="1" y="221"/>
                </a:lnTo>
                <a:lnTo>
                  <a:pt x="14" y="229"/>
                </a:lnTo>
                <a:lnTo>
                  <a:pt x="44" y="229"/>
                </a:lnTo>
                <a:lnTo>
                  <a:pt x="62" y="218"/>
                </a:lnTo>
                <a:lnTo>
                  <a:pt x="79" y="215"/>
                </a:lnTo>
                <a:lnTo>
                  <a:pt x="93" y="229"/>
                </a:lnTo>
                <a:lnTo>
                  <a:pt x="107" y="236"/>
                </a:lnTo>
                <a:lnTo>
                  <a:pt x="126" y="239"/>
                </a:lnTo>
                <a:lnTo>
                  <a:pt x="121" y="263"/>
                </a:lnTo>
                <a:lnTo>
                  <a:pt x="128" y="323"/>
                </a:lnTo>
                <a:lnTo>
                  <a:pt x="144" y="322"/>
                </a:lnTo>
                <a:lnTo>
                  <a:pt x="154" y="320"/>
                </a:lnTo>
                <a:lnTo>
                  <a:pt x="158" y="303"/>
                </a:lnTo>
                <a:lnTo>
                  <a:pt x="161" y="268"/>
                </a:lnTo>
                <a:lnTo>
                  <a:pt x="173" y="249"/>
                </a:lnTo>
                <a:lnTo>
                  <a:pt x="173" y="218"/>
                </a:lnTo>
                <a:lnTo>
                  <a:pt x="183" y="199"/>
                </a:lnTo>
                <a:lnTo>
                  <a:pt x="204" y="189"/>
                </a:lnTo>
                <a:lnTo>
                  <a:pt x="243" y="140"/>
                </a:lnTo>
                <a:lnTo>
                  <a:pt x="248" y="118"/>
                </a:lnTo>
                <a:lnTo>
                  <a:pt x="242" y="84"/>
                </a:lnTo>
                <a:lnTo>
                  <a:pt x="267" y="61"/>
                </a:lnTo>
                <a:lnTo>
                  <a:pt x="271" y="23"/>
                </a:lnTo>
                <a:lnTo>
                  <a:pt x="253" y="6"/>
                </a:lnTo>
                <a:lnTo>
                  <a:pt x="242" y="3"/>
                </a:lnTo>
                <a:lnTo>
                  <a:pt x="220" y="0"/>
                </a:lnTo>
                <a:lnTo>
                  <a:pt x="173" y="0"/>
                </a:lnTo>
                <a:lnTo>
                  <a:pt x="159" y="13"/>
                </a:lnTo>
                <a:lnTo>
                  <a:pt x="148" y="29"/>
                </a:lnTo>
                <a:lnTo>
                  <a:pt x="150" y="43"/>
                </a:lnTo>
                <a:lnTo>
                  <a:pt x="167" y="56"/>
                </a:lnTo>
                <a:lnTo>
                  <a:pt x="178" y="71"/>
                </a:lnTo>
                <a:lnTo>
                  <a:pt x="178" y="93"/>
                </a:lnTo>
                <a:lnTo>
                  <a:pt x="159" y="108"/>
                </a:lnTo>
                <a:lnTo>
                  <a:pt x="140" y="113"/>
                </a:lnTo>
                <a:lnTo>
                  <a:pt x="126" y="115"/>
                </a:lnTo>
                <a:lnTo>
                  <a:pt x="120" y="103"/>
                </a:lnTo>
                <a:lnTo>
                  <a:pt x="115" y="84"/>
                </a:lnTo>
                <a:lnTo>
                  <a:pt x="124" y="69"/>
                </a:lnTo>
                <a:lnTo>
                  <a:pt x="121" y="50"/>
                </a:lnTo>
                <a:lnTo>
                  <a:pt x="120" y="32"/>
                </a:lnTo>
                <a:lnTo>
                  <a:pt x="112" y="9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22" name="CZ"/>
          <p:cNvSpPr>
            <a:spLocks/>
          </p:cNvSpPr>
          <p:nvPr/>
        </p:nvSpPr>
        <p:spPr bwMode="auto">
          <a:xfrm>
            <a:off x="5992813" y="3833813"/>
            <a:ext cx="760412" cy="368300"/>
          </a:xfrm>
          <a:custGeom>
            <a:avLst/>
            <a:gdLst>
              <a:gd name="T0" fmla="*/ 126 w 510"/>
              <a:gd name="T1" fmla="*/ 298 h 311"/>
              <a:gd name="T2" fmla="*/ 122 w 510"/>
              <a:gd name="T3" fmla="*/ 281 h 311"/>
              <a:gd name="T4" fmla="*/ 106 w 510"/>
              <a:gd name="T5" fmla="*/ 271 h 311"/>
              <a:gd name="T6" fmla="*/ 46 w 510"/>
              <a:gd name="T7" fmla="*/ 210 h 311"/>
              <a:gd name="T8" fmla="*/ 42 w 510"/>
              <a:gd name="T9" fmla="*/ 179 h 311"/>
              <a:gd name="T10" fmla="*/ 16 w 510"/>
              <a:gd name="T11" fmla="*/ 175 h 311"/>
              <a:gd name="T12" fmla="*/ 17 w 510"/>
              <a:gd name="T13" fmla="*/ 145 h 311"/>
              <a:gd name="T14" fmla="*/ 8 w 510"/>
              <a:gd name="T15" fmla="*/ 116 h 311"/>
              <a:gd name="T16" fmla="*/ 0 w 510"/>
              <a:gd name="T17" fmla="*/ 101 h 311"/>
              <a:gd name="T18" fmla="*/ 6 w 510"/>
              <a:gd name="T19" fmla="*/ 83 h 311"/>
              <a:gd name="T20" fmla="*/ 24 w 510"/>
              <a:gd name="T21" fmla="*/ 83 h 311"/>
              <a:gd name="T22" fmla="*/ 57 w 510"/>
              <a:gd name="T23" fmla="*/ 75 h 311"/>
              <a:gd name="T24" fmla="*/ 160 w 510"/>
              <a:gd name="T25" fmla="*/ 15 h 311"/>
              <a:gd name="T26" fmla="*/ 182 w 510"/>
              <a:gd name="T27" fmla="*/ 0 h 311"/>
              <a:gd name="T28" fmla="*/ 195 w 510"/>
              <a:gd name="T29" fmla="*/ 18 h 311"/>
              <a:gd name="T30" fmla="*/ 217 w 510"/>
              <a:gd name="T31" fmla="*/ 8 h 311"/>
              <a:gd name="T32" fmla="*/ 237 w 510"/>
              <a:gd name="T33" fmla="*/ 10 h 311"/>
              <a:gd name="T34" fmla="*/ 250 w 510"/>
              <a:gd name="T35" fmla="*/ 19 h 311"/>
              <a:gd name="T36" fmla="*/ 250 w 510"/>
              <a:gd name="T37" fmla="*/ 47 h 311"/>
              <a:gd name="T38" fmla="*/ 287 w 510"/>
              <a:gd name="T39" fmla="*/ 74 h 311"/>
              <a:gd name="T40" fmla="*/ 289 w 510"/>
              <a:gd name="T41" fmla="*/ 92 h 311"/>
              <a:gd name="T42" fmla="*/ 303 w 510"/>
              <a:gd name="T43" fmla="*/ 113 h 311"/>
              <a:gd name="T44" fmla="*/ 313 w 510"/>
              <a:gd name="T45" fmla="*/ 122 h 311"/>
              <a:gd name="T46" fmla="*/ 320 w 510"/>
              <a:gd name="T47" fmla="*/ 113 h 311"/>
              <a:gd name="T48" fmla="*/ 346 w 510"/>
              <a:gd name="T49" fmla="*/ 98 h 311"/>
              <a:gd name="T50" fmla="*/ 358 w 510"/>
              <a:gd name="T51" fmla="*/ 101 h 311"/>
              <a:gd name="T52" fmla="*/ 390 w 510"/>
              <a:gd name="T53" fmla="*/ 142 h 311"/>
              <a:gd name="T54" fmla="*/ 398 w 510"/>
              <a:gd name="T55" fmla="*/ 140 h 311"/>
              <a:gd name="T56" fmla="*/ 432 w 510"/>
              <a:gd name="T57" fmla="*/ 163 h 311"/>
              <a:gd name="T58" fmla="*/ 483 w 510"/>
              <a:gd name="T59" fmla="*/ 160 h 311"/>
              <a:gd name="T60" fmla="*/ 510 w 510"/>
              <a:gd name="T61" fmla="*/ 179 h 311"/>
              <a:gd name="T62" fmla="*/ 454 w 510"/>
              <a:gd name="T63" fmla="*/ 213 h 311"/>
              <a:gd name="T64" fmla="*/ 451 w 510"/>
              <a:gd name="T65" fmla="*/ 256 h 311"/>
              <a:gd name="T66" fmla="*/ 417 w 510"/>
              <a:gd name="T67" fmla="*/ 291 h 311"/>
              <a:gd name="T68" fmla="*/ 380 w 510"/>
              <a:gd name="T69" fmla="*/ 290 h 311"/>
              <a:gd name="T70" fmla="*/ 360 w 510"/>
              <a:gd name="T71" fmla="*/ 300 h 311"/>
              <a:gd name="T72" fmla="*/ 335 w 510"/>
              <a:gd name="T73" fmla="*/ 311 h 311"/>
              <a:gd name="T74" fmla="*/ 303 w 510"/>
              <a:gd name="T75" fmla="*/ 288 h 311"/>
              <a:gd name="T76" fmla="*/ 283 w 510"/>
              <a:gd name="T77" fmla="*/ 300 h 311"/>
              <a:gd name="T78" fmla="*/ 265 w 510"/>
              <a:gd name="T79" fmla="*/ 304 h 311"/>
              <a:gd name="T80" fmla="*/ 250 w 510"/>
              <a:gd name="T81" fmla="*/ 277 h 311"/>
              <a:gd name="T82" fmla="*/ 206 w 510"/>
              <a:gd name="T83" fmla="*/ 278 h 311"/>
              <a:gd name="T84" fmla="*/ 192 w 510"/>
              <a:gd name="T85" fmla="*/ 290 h 311"/>
              <a:gd name="T86" fmla="*/ 182 w 510"/>
              <a:gd name="T87" fmla="*/ 301 h 311"/>
              <a:gd name="T88" fmla="*/ 163 w 510"/>
              <a:gd name="T89" fmla="*/ 301 h 311"/>
              <a:gd name="T90" fmla="*/ 142 w 510"/>
              <a:gd name="T91" fmla="*/ 305 h 311"/>
              <a:gd name="T92" fmla="*/ 126 w 510"/>
              <a:gd name="T93" fmla="*/ 298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0" h="311">
                <a:moveTo>
                  <a:pt x="126" y="298"/>
                </a:moveTo>
                <a:lnTo>
                  <a:pt x="122" y="281"/>
                </a:lnTo>
                <a:lnTo>
                  <a:pt x="106" y="271"/>
                </a:lnTo>
                <a:lnTo>
                  <a:pt x="46" y="210"/>
                </a:lnTo>
                <a:lnTo>
                  <a:pt x="42" y="179"/>
                </a:lnTo>
                <a:lnTo>
                  <a:pt x="16" y="175"/>
                </a:lnTo>
                <a:lnTo>
                  <a:pt x="17" y="145"/>
                </a:lnTo>
                <a:lnTo>
                  <a:pt x="8" y="116"/>
                </a:lnTo>
                <a:lnTo>
                  <a:pt x="0" y="101"/>
                </a:lnTo>
                <a:lnTo>
                  <a:pt x="6" y="83"/>
                </a:lnTo>
                <a:lnTo>
                  <a:pt x="24" y="83"/>
                </a:lnTo>
                <a:lnTo>
                  <a:pt x="57" y="75"/>
                </a:lnTo>
                <a:lnTo>
                  <a:pt x="160" y="15"/>
                </a:lnTo>
                <a:lnTo>
                  <a:pt x="182" y="0"/>
                </a:lnTo>
                <a:lnTo>
                  <a:pt x="195" y="18"/>
                </a:lnTo>
                <a:lnTo>
                  <a:pt x="217" y="8"/>
                </a:lnTo>
                <a:lnTo>
                  <a:pt x="237" y="10"/>
                </a:lnTo>
                <a:lnTo>
                  <a:pt x="250" y="19"/>
                </a:lnTo>
                <a:lnTo>
                  <a:pt x="250" y="47"/>
                </a:lnTo>
                <a:lnTo>
                  <a:pt x="287" y="74"/>
                </a:lnTo>
                <a:lnTo>
                  <a:pt x="289" y="92"/>
                </a:lnTo>
                <a:lnTo>
                  <a:pt x="303" y="113"/>
                </a:lnTo>
                <a:lnTo>
                  <a:pt x="313" y="122"/>
                </a:lnTo>
                <a:lnTo>
                  <a:pt x="320" y="113"/>
                </a:lnTo>
                <a:lnTo>
                  <a:pt x="346" y="98"/>
                </a:lnTo>
                <a:lnTo>
                  <a:pt x="358" y="101"/>
                </a:lnTo>
                <a:lnTo>
                  <a:pt x="390" y="142"/>
                </a:lnTo>
                <a:lnTo>
                  <a:pt x="398" y="140"/>
                </a:lnTo>
                <a:lnTo>
                  <a:pt x="432" y="163"/>
                </a:lnTo>
                <a:lnTo>
                  <a:pt x="483" y="160"/>
                </a:lnTo>
                <a:lnTo>
                  <a:pt x="510" y="179"/>
                </a:lnTo>
                <a:lnTo>
                  <a:pt x="454" y="213"/>
                </a:lnTo>
                <a:lnTo>
                  <a:pt x="451" y="256"/>
                </a:lnTo>
                <a:lnTo>
                  <a:pt x="417" y="291"/>
                </a:lnTo>
                <a:lnTo>
                  <a:pt x="380" y="290"/>
                </a:lnTo>
                <a:lnTo>
                  <a:pt x="360" y="300"/>
                </a:lnTo>
                <a:lnTo>
                  <a:pt x="335" y="311"/>
                </a:lnTo>
                <a:lnTo>
                  <a:pt x="303" y="288"/>
                </a:lnTo>
                <a:lnTo>
                  <a:pt x="283" y="300"/>
                </a:lnTo>
                <a:lnTo>
                  <a:pt x="265" y="304"/>
                </a:lnTo>
                <a:lnTo>
                  <a:pt x="250" y="277"/>
                </a:lnTo>
                <a:lnTo>
                  <a:pt x="206" y="278"/>
                </a:lnTo>
                <a:lnTo>
                  <a:pt x="192" y="290"/>
                </a:lnTo>
                <a:lnTo>
                  <a:pt x="182" y="301"/>
                </a:lnTo>
                <a:lnTo>
                  <a:pt x="163" y="301"/>
                </a:lnTo>
                <a:lnTo>
                  <a:pt x="142" y="305"/>
                </a:lnTo>
                <a:lnTo>
                  <a:pt x="126" y="298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endParaRPr lang="de-CH" sz="1400" b="1" dirty="0">
              <a:solidFill>
                <a:schemeClr val="bg1"/>
              </a:solidFill>
            </a:endParaRPr>
          </a:p>
        </p:txBody>
      </p:sp>
      <p:sp>
        <p:nvSpPr>
          <p:cNvPr id="23" name="HR" descr="80%"/>
          <p:cNvSpPr>
            <a:spLocks noChangeAspect="1"/>
          </p:cNvSpPr>
          <p:nvPr/>
        </p:nvSpPr>
        <p:spPr bwMode="auto">
          <a:xfrm>
            <a:off x="6070600" y="4521200"/>
            <a:ext cx="682625" cy="604838"/>
          </a:xfrm>
          <a:custGeom>
            <a:avLst/>
            <a:gdLst>
              <a:gd name="T0" fmla="*/ 9 w 460"/>
              <a:gd name="T1" fmla="*/ 145 h 506"/>
              <a:gd name="T2" fmla="*/ 28 w 460"/>
              <a:gd name="T3" fmla="*/ 185 h 506"/>
              <a:gd name="T4" fmla="*/ 52 w 460"/>
              <a:gd name="T5" fmla="*/ 179 h 506"/>
              <a:gd name="T6" fmla="*/ 71 w 460"/>
              <a:gd name="T7" fmla="*/ 139 h 506"/>
              <a:gd name="T8" fmla="*/ 104 w 460"/>
              <a:gd name="T9" fmla="*/ 158 h 506"/>
              <a:gd name="T10" fmla="*/ 113 w 460"/>
              <a:gd name="T11" fmla="*/ 192 h 506"/>
              <a:gd name="T12" fmla="*/ 129 w 460"/>
              <a:gd name="T13" fmla="*/ 237 h 506"/>
              <a:gd name="T14" fmla="*/ 146 w 460"/>
              <a:gd name="T15" fmla="*/ 269 h 506"/>
              <a:gd name="T16" fmla="*/ 134 w 460"/>
              <a:gd name="T17" fmla="*/ 283 h 506"/>
              <a:gd name="T18" fmla="*/ 204 w 460"/>
              <a:gd name="T19" fmla="*/ 370 h 506"/>
              <a:gd name="T20" fmla="*/ 237 w 460"/>
              <a:gd name="T21" fmla="*/ 374 h 506"/>
              <a:gd name="T22" fmla="*/ 289 w 460"/>
              <a:gd name="T23" fmla="*/ 414 h 506"/>
              <a:gd name="T24" fmla="*/ 303 w 460"/>
              <a:gd name="T25" fmla="*/ 445 h 506"/>
              <a:gd name="T26" fmla="*/ 317 w 460"/>
              <a:gd name="T27" fmla="*/ 444 h 506"/>
              <a:gd name="T28" fmla="*/ 347 w 460"/>
              <a:gd name="T29" fmla="*/ 462 h 506"/>
              <a:gd name="T30" fmla="*/ 367 w 460"/>
              <a:gd name="T31" fmla="*/ 461 h 506"/>
              <a:gd name="T32" fmla="*/ 366 w 460"/>
              <a:gd name="T33" fmla="*/ 428 h 506"/>
              <a:gd name="T34" fmla="*/ 343 w 460"/>
              <a:gd name="T35" fmla="*/ 391 h 506"/>
              <a:gd name="T36" fmla="*/ 289 w 460"/>
              <a:gd name="T37" fmla="*/ 330 h 506"/>
              <a:gd name="T38" fmla="*/ 270 w 460"/>
              <a:gd name="T39" fmla="*/ 324 h 506"/>
              <a:gd name="T40" fmla="*/ 251 w 460"/>
              <a:gd name="T41" fmla="*/ 309 h 506"/>
              <a:gd name="T42" fmla="*/ 237 w 460"/>
              <a:gd name="T43" fmla="*/ 280 h 506"/>
              <a:gd name="T44" fmla="*/ 214 w 460"/>
              <a:gd name="T45" fmla="*/ 235 h 506"/>
              <a:gd name="T46" fmla="*/ 174 w 460"/>
              <a:gd name="T47" fmla="*/ 179 h 506"/>
              <a:gd name="T48" fmla="*/ 195 w 460"/>
              <a:gd name="T49" fmla="*/ 169 h 506"/>
              <a:gd name="T50" fmla="*/ 281 w 460"/>
              <a:gd name="T51" fmla="*/ 145 h 506"/>
              <a:gd name="T52" fmla="*/ 322 w 460"/>
              <a:gd name="T53" fmla="*/ 173 h 506"/>
              <a:gd name="T54" fmla="*/ 338 w 460"/>
              <a:gd name="T55" fmla="*/ 173 h 506"/>
              <a:gd name="T56" fmla="*/ 374 w 460"/>
              <a:gd name="T57" fmla="*/ 176 h 506"/>
              <a:gd name="T58" fmla="*/ 421 w 460"/>
              <a:gd name="T59" fmla="*/ 173 h 506"/>
              <a:gd name="T60" fmla="*/ 451 w 460"/>
              <a:gd name="T61" fmla="*/ 192 h 506"/>
              <a:gd name="T62" fmla="*/ 460 w 460"/>
              <a:gd name="T63" fmla="*/ 158 h 506"/>
              <a:gd name="T64" fmla="*/ 436 w 460"/>
              <a:gd name="T65" fmla="*/ 129 h 506"/>
              <a:gd name="T66" fmla="*/ 434 w 460"/>
              <a:gd name="T67" fmla="*/ 98 h 506"/>
              <a:gd name="T68" fmla="*/ 415 w 460"/>
              <a:gd name="T69" fmla="*/ 77 h 506"/>
              <a:gd name="T70" fmla="*/ 395 w 460"/>
              <a:gd name="T71" fmla="*/ 82 h 506"/>
              <a:gd name="T72" fmla="*/ 371 w 460"/>
              <a:gd name="T73" fmla="*/ 92 h 506"/>
              <a:gd name="T74" fmla="*/ 336 w 460"/>
              <a:gd name="T75" fmla="*/ 61 h 506"/>
              <a:gd name="T76" fmla="*/ 305 w 460"/>
              <a:gd name="T77" fmla="*/ 47 h 506"/>
              <a:gd name="T78" fmla="*/ 251 w 460"/>
              <a:gd name="T79" fmla="*/ 0 h 506"/>
              <a:gd name="T80" fmla="*/ 199 w 460"/>
              <a:gd name="T81" fmla="*/ 34 h 506"/>
              <a:gd name="T82" fmla="*/ 184 w 460"/>
              <a:gd name="T83" fmla="*/ 64 h 506"/>
              <a:gd name="T84" fmla="*/ 101 w 460"/>
              <a:gd name="T85" fmla="*/ 114 h 506"/>
              <a:gd name="T86" fmla="*/ 52 w 460"/>
              <a:gd name="T87" fmla="*/ 114 h 506"/>
              <a:gd name="T88" fmla="*/ 0 w 460"/>
              <a:gd name="T89" fmla="*/ 114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0" h="506">
                <a:moveTo>
                  <a:pt x="0" y="114"/>
                </a:moveTo>
                <a:lnTo>
                  <a:pt x="9" y="145"/>
                </a:lnTo>
                <a:lnTo>
                  <a:pt x="19" y="169"/>
                </a:lnTo>
                <a:lnTo>
                  <a:pt x="28" y="185"/>
                </a:lnTo>
                <a:lnTo>
                  <a:pt x="39" y="188"/>
                </a:lnTo>
                <a:lnTo>
                  <a:pt x="52" y="179"/>
                </a:lnTo>
                <a:lnTo>
                  <a:pt x="58" y="163"/>
                </a:lnTo>
                <a:lnTo>
                  <a:pt x="71" y="139"/>
                </a:lnTo>
                <a:lnTo>
                  <a:pt x="87" y="154"/>
                </a:lnTo>
                <a:lnTo>
                  <a:pt x="104" y="158"/>
                </a:lnTo>
                <a:lnTo>
                  <a:pt x="115" y="166"/>
                </a:lnTo>
                <a:lnTo>
                  <a:pt x="113" y="192"/>
                </a:lnTo>
                <a:lnTo>
                  <a:pt x="113" y="209"/>
                </a:lnTo>
                <a:lnTo>
                  <a:pt x="129" y="237"/>
                </a:lnTo>
                <a:lnTo>
                  <a:pt x="148" y="262"/>
                </a:lnTo>
                <a:lnTo>
                  <a:pt x="146" y="269"/>
                </a:lnTo>
                <a:lnTo>
                  <a:pt x="124" y="269"/>
                </a:lnTo>
                <a:lnTo>
                  <a:pt x="134" y="283"/>
                </a:lnTo>
                <a:lnTo>
                  <a:pt x="198" y="364"/>
                </a:lnTo>
                <a:lnTo>
                  <a:pt x="204" y="370"/>
                </a:lnTo>
                <a:lnTo>
                  <a:pt x="223" y="370"/>
                </a:lnTo>
                <a:lnTo>
                  <a:pt x="237" y="374"/>
                </a:lnTo>
                <a:lnTo>
                  <a:pt x="265" y="388"/>
                </a:lnTo>
                <a:lnTo>
                  <a:pt x="289" y="414"/>
                </a:lnTo>
                <a:lnTo>
                  <a:pt x="294" y="425"/>
                </a:lnTo>
                <a:lnTo>
                  <a:pt x="303" y="445"/>
                </a:lnTo>
                <a:lnTo>
                  <a:pt x="310" y="444"/>
                </a:lnTo>
                <a:lnTo>
                  <a:pt x="317" y="444"/>
                </a:lnTo>
                <a:lnTo>
                  <a:pt x="336" y="452"/>
                </a:lnTo>
                <a:lnTo>
                  <a:pt x="347" y="462"/>
                </a:lnTo>
                <a:lnTo>
                  <a:pt x="383" y="506"/>
                </a:lnTo>
                <a:lnTo>
                  <a:pt x="367" y="461"/>
                </a:lnTo>
                <a:lnTo>
                  <a:pt x="358" y="444"/>
                </a:lnTo>
                <a:lnTo>
                  <a:pt x="366" y="428"/>
                </a:lnTo>
                <a:lnTo>
                  <a:pt x="361" y="414"/>
                </a:lnTo>
                <a:lnTo>
                  <a:pt x="343" y="391"/>
                </a:lnTo>
                <a:lnTo>
                  <a:pt x="310" y="348"/>
                </a:lnTo>
                <a:lnTo>
                  <a:pt x="289" y="330"/>
                </a:lnTo>
                <a:lnTo>
                  <a:pt x="281" y="321"/>
                </a:lnTo>
                <a:lnTo>
                  <a:pt x="270" y="324"/>
                </a:lnTo>
                <a:lnTo>
                  <a:pt x="253" y="309"/>
                </a:lnTo>
                <a:lnTo>
                  <a:pt x="251" y="309"/>
                </a:lnTo>
                <a:lnTo>
                  <a:pt x="242" y="299"/>
                </a:lnTo>
                <a:lnTo>
                  <a:pt x="237" y="280"/>
                </a:lnTo>
                <a:lnTo>
                  <a:pt x="232" y="262"/>
                </a:lnTo>
                <a:lnTo>
                  <a:pt x="214" y="235"/>
                </a:lnTo>
                <a:lnTo>
                  <a:pt x="176" y="191"/>
                </a:lnTo>
                <a:lnTo>
                  <a:pt x="174" y="179"/>
                </a:lnTo>
                <a:lnTo>
                  <a:pt x="176" y="173"/>
                </a:lnTo>
                <a:lnTo>
                  <a:pt x="195" y="169"/>
                </a:lnTo>
                <a:lnTo>
                  <a:pt x="247" y="188"/>
                </a:lnTo>
                <a:lnTo>
                  <a:pt x="281" y="145"/>
                </a:lnTo>
                <a:lnTo>
                  <a:pt x="310" y="172"/>
                </a:lnTo>
                <a:lnTo>
                  <a:pt x="322" y="173"/>
                </a:lnTo>
                <a:lnTo>
                  <a:pt x="328" y="185"/>
                </a:lnTo>
                <a:lnTo>
                  <a:pt x="338" y="173"/>
                </a:lnTo>
                <a:lnTo>
                  <a:pt x="357" y="173"/>
                </a:lnTo>
                <a:lnTo>
                  <a:pt x="374" y="176"/>
                </a:lnTo>
                <a:lnTo>
                  <a:pt x="396" y="163"/>
                </a:lnTo>
                <a:lnTo>
                  <a:pt x="421" y="173"/>
                </a:lnTo>
                <a:lnTo>
                  <a:pt x="434" y="188"/>
                </a:lnTo>
                <a:lnTo>
                  <a:pt x="451" y="192"/>
                </a:lnTo>
                <a:lnTo>
                  <a:pt x="452" y="179"/>
                </a:lnTo>
                <a:lnTo>
                  <a:pt x="460" y="158"/>
                </a:lnTo>
                <a:lnTo>
                  <a:pt x="451" y="148"/>
                </a:lnTo>
                <a:lnTo>
                  <a:pt x="436" y="129"/>
                </a:lnTo>
                <a:lnTo>
                  <a:pt x="434" y="111"/>
                </a:lnTo>
                <a:lnTo>
                  <a:pt x="434" y="98"/>
                </a:lnTo>
                <a:lnTo>
                  <a:pt x="436" y="82"/>
                </a:lnTo>
                <a:lnTo>
                  <a:pt x="415" y="77"/>
                </a:lnTo>
                <a:lnTo>
                  <a:pt x="405" y="74"/>
                </a:lnTo>
                <a:lnTo>
                  <a:pt x="395" y="82"/>
                </a:lnTo>
                <a:lnTo>
                  <a:pt x="383" y="92"/>
                </a:lnTo>
                <a:lnTo>
                  <a:pt x="371" y="92"/>
                </a:lnTo>
                <a:lnTo>
                  <a:pt x="352" y="71"/>
                </a:lnTo>
                <a:lnTo>
                  <a:pt x="336" y="61"/>
                </a:lnTo>
                <a:lnTo>
                  <a:pt x="319" y="64"/>
                </a:lnTo>
                <a:lnTo>
                  <a:pt x="305" y="47"/>
                </a:lnTo>
                <a:lnTo>
                  <a:pt x="267" y="3"/>
                </a:lnTo>
                <a:lnTo>
                  <a:pt x="251" y="0"/>
                </a:lnTo>
                <a:lnTo>
                  <a:pt x="226" y="37"/>
                </a:lnTo>
                <a:lnTo>
                  <a:pt x="199" y="34"/>
                </a:lnTo>
                <a:lnTo>
                  <a:pt x="188" y="47"/>
                </a:lnTo>
                <a:lnTo>
                  <a:pt x="184" y="64"/>
                </a:lnTo>
                <a:lnTo>
                  <a:pt x="134" y="124"/>
                </a:lnTo>
                <a:lnTo>
                  <a:pt x="101" y="114"/>
                </a:lnTo>
                <a:lnTo>
                  <a:pt x="68" y="105"/>
                </a:lnTo>
                <a:lnTo>
                  <a:pt x="52" y="114"/>
                </a:lnTo>
                <a:lnTo>
                  <a:pt x="30" y="124"/>
                </a:lnTo>
                <a:lnTo>
                  <a:pt x="0" y="114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grpSp>
        <p:nvGrpSpPr>
          <p:cNvPr id="24" name="FR"/>
          <p:cNvGrpSpPr>
            <a:grpSpLocks/>
          </p:cNvGrpSpPr>
          <p:nvPr/>
        </p:nvGrpSpPr>
        <p:grpSpPr bwMode="auto">
          <a:xfrm>
            <a:off x="4143297" y="3644915"/>
            <a:ext cx="1436689" cy="1531940"/>
            <a:chOff x="1095378" y="3963090"/>
            <a:chExt cx="659" cy="793"/>
          </a:xfrm>
          <a:solidFill>
            <a:srgbClr val="FAFAFA"/>
          </a:solidFill>
          <a:effectLst/>
        </p:grpSpPr>
        <p:sp>
          <p:nvSpPr>
            <p:cNvPr id="102" name="Freeform 573"/>
            <p:cNvSpPr>
              <a:spLocks noChangeAspect="1"/>
            </p:cNvSpPr>
            <p:nvPr/>
          </p:nvSpPr>
          <p:spPr bwMode="auto">
            <a:xfrm>
              <a:off x="1095980" y="3963778"/>
              <a:ext cx="57" cy="105"/>
            </a:xfrm>
            <a:custGeom>
              <a:avLst/>
              <a:gdLst>
                <a:gd name="T0" fmla="*/ 85 w 85"/>
                <a:gd name="T1" fmla="*/ 0 h 172"/>
                <a:gd name="T2" fmla="*/ 57 w 85"/>
                <a:gd name="T3" fmla="*/ 37 h 172"/>
                <a:gd name="T4" fmla="*/ 24 w 85"/>
                <a:gd name="T5" fmla="*/ 37 h 172"/>
                <a:gd name="T6" fmla="*/ 0 w 85"/>
                <a:gd name="T7" fmla="*/ 58 h 172"/>
                <a:gd name="T8" fmla="*/ 5 w 85"/>
                <a:gd name="T9" fmla="*/ 86 h 172"/>
                <a:gd name="T10" fmla="*/ 5 w 85"/>
                <a:gd name="T11" fmla="*/ 135 h 172"/>
                <a:gd name="T12" fmla="*/ 24 w 85"/>
                <a:gd name="T13" fmla="*/ 172 h 172"/>
                <a:gd name="T14" fmla="*/ 47 w 85"/>
                <a:gd name="T15" fmla="*/ 162 h 172"/>
                <a:gd name="T16" fmla="*/ 52 w 85"/>
                <a:gd name="T17" fmla="*/ 141 h 172"/>
                <a:gd name="T18" fmla="*/ 76 w 85"/>
                <a:gd name="T19" fmla="*/ 92 h 172"/>
                <a:gd name="T20" fmla="*/ 76 w 85"/>
                <a:gd name="T21" fmla="*/ 67 h 172"/>
                <a:gd name="T22" fmla="*/ 85 w 85"/>
                <a:gd name="T23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72">
                  <a:moveTo>
                    <a:pt x="85" y="0"/>
                  </a:moveTo>
                  <a:lnTo>
                    <a:pt x="57" y="37"/>
                  </a:lnTo>
                  <a:lnTo>
                    <a:pt x="24" y="37"/>
                  </a:lnTo>
                  <a:lnTo>
                    <a:pt x="0" y="58"/>
                  </a:lnTo>
                  <a:lnTo>
                    <a:pt x="5" y="86"/>
                  </a:lnTo>
                  <a:lnTo>
                    <a:pt x="5" y="135"/>
                  </a:lnTo>
                  <a:lnTo>
                    <a:pt x="24" y="172"/>
                  </a:lnTo>
                  <a:lnTo>
                    <a:pt x="47" y="162"/>
                  </a:lnTo>
                  <a:lnTo>
                    <a:pt x="52" y="141"/>
                  </a:lnTo>
                  <a:lnTo>
                    <a:pt x="76" y="92"/>
                  </a:lnTo>
                  <a:lnTo>
                    <a:pt x="76" y="67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03" name="Freeform 574"/>
            <p:cNvSpPr>
              <a:spLocks noChangeAspect="1"/>
            </p:cNvSpPr>
            <p:nvPr/>
          </p:nvSpPr>
          <p:spPr bwMode="auto">
            <a:xfrm>
              <a:off x="1095378" y="3963090"/>
              <a:ext cx="657" cy="655"/>
            </a:xfrm>
            <a:custGeom>
              <a:avLst/>
              <a:gdLst>
                <a:gd name="T0" fmla="*/ 14 w 965"/>
                <a:gd name="T1" fmla="*/ 206 h 1060"/>
                <a:gd name="T2" fmla="*/ 16 w 965"/>
                <a:gd name="T3" fmla="*/ 247 h 1060"/>
                <a:gd name="T4" fmla="*/ 94 w 965"/>
                <a:gd name="T5" fmla="*/ 314 h 1060"/>
                <a:gd name="T6" fmla="*/ 154 w 965"/>
                <a:gd name="T7" fmla="*/ 356 h 1060"/>
                <a:gd name="T8" fmla="*/ 148 w 965"/>
                <a:gd name="T9" fmla="*/ 411 h 1060"/>
                <a:gd name="T10" fmla="*/ 183 w 965"/>
                <a:gd name="T11" fmla="*/ 495 h 1060"/>
                <a:gd name="T12" fmla="*/ 200 w 965"/>
                <a:gd name="T13" fmla="*/ 609 h 1060"/>
                <a:gd name="T14" fmla="*/ 167 w 965"/>
                <a:gd name="T15" fmla="*/ 609 h 1060"/>
                <a:gd name="T16" fmla="*/ 146 w 965"/>
                <a:gd name="T17" fmla="*/ 667 h 1060"/>
                <a:gd name="T18" fmla="*/ 124 w 965"/>
                <a:gd name="T19" fmla="*/ 725 h 1060"/>
                <a:gd name="T20" fmla="*/ 72 w 965"/>
                <a:gd name="T21" fmla="*/ 828 h 1060"/>
                <a:gd name="T22" fmla="*/ 75 w 965"/>
                <a:gd name="T23" fmla="*/ 878 h 1060"/>
                <a:gd name="T24" fmla="*/ 204 w 965"/>
                <a:gd name="T25" fmla="*/ 973 h 1060"/>
                <a:gd name="T26" fmla="*/ 314 w 965"/>
                <a:gd name="T27" fmla="*/ 1031 h 1060"/>
                <a:gd name="T28" fmla="*/ 410 w 965"/>
                <a:gd name="T29" fmla="*/ 1060 h 1060"/>
                <a:gd name="T30" fmla="*/ 446 w 965"/>
                <a:gd name="T31" fmla="*/ 979 h 1060"/>
                <a:gd name="T32" fmla="*/ 533 w 965"/>
                <a:gd name="T33" fmla="*/ 943 h 1060"/>
                <a:gd name="T34" fmla="*/ 596 w 965"/>
                <a:gd name="T35" fmla="*/ 980 h 1060"/>
                <a:gd name="T36" fmla="*/ 684 w 965"/>
                <a:gd name="T37" fmla="*/ 1031 h 1060"/>
                <a:gd name="T38" fmla="*/ 764 w 965"/>
                <a:gd name="T39" fmla="*/ 1010 h 1060"/>
                <a:gd name="T40" fmla="*/ 822 w 965"/>
                <a:gd name="T41" fmla="*/ 942 h 1060"/>
                <a:gd name="T42" fmla="*/ 786 w 965"/>
                <a:gd name="T43" fmla="*/ 912 h 1060"/>
                <a:gd name="T44" fmla="*/ 780 w 965"/>
                <a:gd name="T45" fmla="*/ 815 h 1060"/>
                <a:gd name="T46" fmla="*/ 803 w 965"/>
                <a:gd name="T47" fmla="*/ 725 h 1060"/>
                <a:gd name="T48" fmla="*/ 803 w 965"/>
                <a:gd name="T49" fmla="*/ 643 h 1060"/>
                <a:gd name="T50" fmla="*/ 761 w 965"/>
                <a:gd name="T51" fmla="*/ 646 h 1060"/>
                <a:gd name="T52" fmla="*/ 742 w 965"/>
                <a:gd name="T53" fmla="*/ 633 h 1060"/>
                <a:gd name="T54" fmla="*/ 786 w 965"/>
                <a:gd name="T55" fmla="*/ 575 h 1060"/>
                <a:gd name="T56" fmla="*/ 855 w 965"/>
                <a:gd name="T57" fmla="*/ 501 h 1060"/>
                <a:gd name="T58" fmla="*/ 890 w 965"/>
                <a:gd name="T59" fmla="*/ 464 h 1060"/>
                <a:gd name="T60" fmla="*/ 918 w 965"/>
                <a:gd name="T61" fmla="*/ 393 h 1060"/>
                <a:gd name="T62" fmla="*/ 965 w 965"/>
                <a:gd name="T63" fmla="*/ 333 h 1060"/>
                <a:gd name="T64" fmla="*/ 909 w 965"/>
                <a:gd name="T65" fmla="*/ 303 h 1060"/>
                <a:gd name="T66" fmla="*/ 843 w 965"/>
                <a:gd name="T67" fmla="*/ 277 h 1060"/>
                <a:gd name="T68" fmla="*/ 798 w 965"/>
                <a:gd name="T69" fmla="*/ 232 h 1060"/>
                <a:gd name="T70" fmla="*/ 734 w 965"/>
                <a:gd name="T71" fmla="*/ 169 h 1060"/>
                <a:gd name="T72" fmla="*/ 681 w 965"/>
                <a:gd name="T73" fmla="*/ 108 h 1060"/>
                <a:gd name="T74" fmla="*/ 643 w 965"/>
                <a:gd name="T75" fmla="*/ 43 h 1060"/>
                <a:gd name="T76" fmla="*/ 561 w 965"/>
                <a:gd name="T77" fmla="*/ 3 h 1060"/>
                <a:gd name="T78" fmla="*/ 525 w 965"/>
                <a:gd name="T79" fmla="*/ 50 h 1060"/>
                <a:gd name="T80" fmla="*/ 401 w 965"/>
                <a:gd name="T81" fmla="*/ 124 h 1060"/>
                <a:gd name="T82" fmla="*/ 335 w 965"/>
                <a:gd name="T83" fmla="*/ 148 h 1060"/>
                <a:gd name="T84" fmla="*/ 277 w 965"/>
                <a:gd name="T85" fmla="*/ 111 h 1060"/>
                <a:gd name="T86" fmla="*/ 251 w 965"/>
                <a:gd name="T87" fmla="*/ 80 h 1060"/>
                <a:gd name="T88" fmla="*/ 258 w 965"/>
                <a:gd name="T89" fmla="*/ 118 h 1060"/>
                <a:gd name="T90" fmla="*/ 249 w 965"/>
                <a:gd name="T91" fmla="*/ 161 h 1060"/>
                <a:gd name="T92" fmla="*/ 230 w 965"/>
                <a:gd name="T93" fmla="*/ 195 h 1060"/>
                <a:gd name="T94" fmla="*/ 178 w 965"/>
                <a:gd name="T95" fmla="*/ 179 h 1060"/>
                <a:gd name="T96" fmla="*/ 118 w 965"/>
                <a:gd name="T97" fmla="*/ 136 h 1060"/>
                <a:gd name="T98" fmla="*/ 75 w 965"/>
                <a:gd name="T99" fmla="*/ 154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65" h="1060">
                  <a:moveTo>
                    <a:pt x="16" y="151"/>
                  </a:moveTo>
                  <a:lnTo>
                    <a:pt x="25" y="176"/>
                  </a:lnTo>
                  <a:lnTo>
                    <a:pt x="16" y="198"/>
                  </a:lnTo>
                  <a:lnTo>
                    <a:pt x="14" y="206"/>
                  </a:lnTo>
                  <a:lnTo>
                    <a:pt x="0" y="201"/>
                  </a:lnTo>
                  <a:lnTo>
                    <a:pt x="5" y="213"/>
                  </a:lnTo>
                  <a:lnTo>
                    <a:pt x="5" y="226"/>
                  </a:lnTo>
                  <a:lnTo>
                    <a:pt x="16" y="247"/>
                  </a:lnTo>
                  <a:lnTo>
                    <a:pt x="38" y="240"/>
                  </a:lnTo>
                  <a:lnTo>
                    <a:pt x="66" y="274"/>
                  </a:lnTo>
                  <a:lnTo>
                    <a:pt x="77" y="297"/>
                  </a:lnTo>
                  <a:lnTo>
                    <a:pt x="94" y="314"/>
                  </a:lnTo>
                  <a:lnTo>
                    <a:pt x="115" y="314"/>
                  </a:lnTo>
                  <a:lnTo>
                    <a:pt x="124" y="334"/>
                  </a:lnTo>
                  <a:lnTo>
                    <a:pt x="143" y="353"/>
                  </a:lnTo>
                  <a:lnTo>
                    <a:pt x="154" y="356"/>
                  </a:lnTo>
                  <a:lnTo>
                    <a:pt x="157" y="363"/>
                  </a:lnTo>
                  <a:lnTo>
                    <a:pt x="151" y="380"/>
                  </a:lnTo>
                  <a:lnTo>
                    <a:pt x="151" y="395"/>
                  </a:lnTo>
                  <a:lnTo>
                    <a:pt x="148" y="411"/>
                  </a:lnTo>
                  <a:lnTo>
                    <a:pt x="143" y="438"/>
                  </a:lnTo>
                  <a:lnTo>
                    <a:pt x="162" y="464"/>
                  </a:lnTo>
                  <a:lnTo>
                    <a:pt x="183" y="482"/>
                  </a:lnTo>
                  <a:lnTo>
                    <a:pt x="183" y="495"/>
                  </a:lnTo>
                  <a:lnTo>
                    <a:pt x="181" y="540"/>
                  </a:lnTo>
                  <a:lnTo>
                    <a:pt x="176" y="577"/>
                  </a:lnTo>
                  <a:lnTo>
                    <a:pt x="181" y="593"/>
                  </a:lnTo>
                  <a:lnTo>
                    <a:pt x="200" y="609"/>
                  </a:lnTo>
                  <a:lnTo>
                    <a:pt x="200" y="640"/>
                  </a:lnTo>
                  <a:lnTo>
                    <a:pt x="200" y="661"/>
                  </a:lnTo>
                  <a:lnTo>
                    <a:pt x="178" y="630"/>
                  </a:lnTo>
                  <a:lnTo>
                    <a:pt x="167" y="609"/>
                  </a:lnTo>
                  <a:lnTo>
                    <a:pt x="159" y="614"/>
                  </a:lnTo>
                  <a:lnTo>
                    <a:pt x="165" y="630"/>
                  </a:lnTo>
                  <a:lnTo>
                    <a:pt x="157" y="649"/>
                  </a:lnTo>
                  <a:lnTo>
                    <a:pt x="146" y="667"/>
                  </a:lnTo>
                  <a:lnTo>
                    <a:pt x="138" y="680"/>
                  </a:lnTo>
                  <a:lnTo>
                    <a:pt x="148" y="693"/>
                  </a:lnTo>
                  <a:lnTo>
                    <a:pt x="140" y="707"/>
                  </a:lnTo>
                  <a:lnTo>
                    <a:pt x="124" y="725"/>
                  </a:lnTo>
                  <a:lnTo>
                    <a:pt x="121" y="741"/>
                  </a:lnTo>
                  <a:lnTo>
                    <a:pt x="113" y="760"/>
                  </a:lnTo>
                  <a:lnTo>
                    <a:pt x="87" y="794"/>
                  </a:lnTo>
                  <a:lnTo>
                    <a:pt x="72" y="828"/>
                  </a:lnTo>
                  <a:lnTo>
                    <a:pt x="72" y="833"/>
                  </a:lnTo>
                  <a:lnTo>
                    <a:pt x="80" y="843"/>
                  </a:lnTo>
                  <a:lnTo>
                    <a:pt x="71" y="859"/>
                  </a:lnTo>
                  <a:lnTo>
                    <a:pt x="75" y="878"/>
                  </a:lnTo>
                  <a:lnTo>
                    <a:pt x="89" y="902"/>
                  </a:lnTo>
                  <a:lnTo>
                    <a:pt x="148" y="939"/>
                  </a:lnTo>
                  <a:lnTo>
                    <a:pt x="190" y="979"/>
                  </a:lnTo>
                  <a:lnTo>
                    <a:pt x="204" y="973"/>
                  </a:lnTo>
                  <a:lnTo>
                    <a:pt x="225" y="964"/>
                  </a:lnTo>
                  <a:lnTo>
                    <a:pt x="297" y="998"/>
                  </a:lnTo>
                  <a:lnTo>
                    <a:pt x="308" y="1010"/>
                  </a:lnTo>
                  <a:lnTo>
                    <a:pt x="314" y="1031"/>
                  </a:lnTo>
                  <a:lnTo>
                    <a:pt x="327" y="1038"/>
                  </a:lnTo>
                  <a:lnTo>
                    <a:pt x="343" y="1041"/>
                  </a:lnTo>
                  <a:lnTo>
                    <a:pt x="368" y="1057"/>
                  </a:lnTo>
                  <a:lnTo>
                    <a:pt x="410" y="1060"/>
                  </a:lnTo>
                  <a:lnTo>
                    <a:pt x="423" y="1041"/>
                  </a:lnTo>
                  <a:lnTo>
                    <a:pt x="427" y="1020"/>
                  </a:lnTo>
                  <a:lnTo>
                    <a:pt x="427" y="997"/>
                  </a:lnTo>
                  <a:lnTo>
                    <a:pt x="446" y="979"/>
                  </a:lnTo>
                  <a:lnTo>
                    <a:pt x="481" y="957"/>
                  </a:lnTo>
                  <a:lnTo>
                    <a:pt x="498" y="954"/>
                  </a:lnTo>
                  <a:lnTo>
                    <a:pt x="517" y="943"/>
                  </a:lnTo>
                  <a:lnTo>
                    <a:pt x="533" y="943"/>
                  </a:lnTo>
                  <a:lnTo>
                    <a:pt x="552" y="957"/>
                  </a:lnTo>
                  <a:lnTo>
                    <a:pt x="566" y="976"/>
                  </a:lnTo>
                  <a:lnTo>
                    <a:pt x="582" y="976"/>
                  </a:lnTo>
                  <a:lnTo>
                    <a:pt x="596" y="980"/>
                  </a:lnTo>
                  <a:lnTo>
                    <a:pt x="624" y="983"/>
                  </a:lnTo>
                  <a:lnTo>
                    <a:pt x="643" y="1010"/>
                  </a:lnTo>
                  <a:lnTo>
                    <a:pt x="660" y="1023"/>
                  </a:lnTo>
                  <a:lnTo>
                    <a:pt x="684" y="1031"/>
                  </a:lnTo>
                  <a:lnTo>
                    <a:pt x="704" y="1044"/>
                  </a:lnTo>
                  <a:lnTo>
                    <a:pt x="715" y="1047"/>
                  </a:lnTo>
                  <a:lnTo>
                    <a:pt x="745" y="1014"/>
                  </a:lnTo>
                  <a:lnTo>
                    <a:pt x="764" y="1010"/>
                  </a:lnTo>
                  <a:lnTo>
                    <a:pt x="777" y="997"/>
                  </a:lnTo>
                  <a:lnTo>
                    <a:pt x="798" y="980"/>
                  </a:lnTo>
                  <a:lnTo>
                    <a:pt x="824" y="979"/>
                  </a:lnTo>
                  <a:lnTo>
                    <a:pt x="822" y="942"/>
                  </a:lnTo>
                  <a:lnTo>
                    <a:pt x="817" y="930"/>
                  </a:lnTo>
                  <a:lnTo>
                    <a:pt x="805" y="912"/>
                  </a:lnTo>
                  <a:lnTo>
                    <a:pt x="796" y="915"/>
                  </a:lnTo>
                  <a:lnTo>
                    <a:pt x="786" y="912"/>
                  </a:lnTo>
                  <a:lnTo>
                    <a:pt x="777" y="896"/>
                  </a:lnTo>
                  <a:lnTo>
                    <a:pt x="775" y="859"/>
                  </a:lnTo>
                  <a:lnTo>
                    <a:pt x="794" y="835"/>
                  </a:lnTo>
                  <a:lnTo>
                    <a:pt x="780" y="815"/>
                  </a:lnTo>
                  <a:lnTo>
                    <a:pt x="780" y="806"/>
                  </a:lnTo>
                  <a:lnTo>
                    <a:pt x="808" y="775"/>
                  </a:lnTo>
                  <a:lnTo>
                    <a:pt x="808" y="764"/>
                  </a:lnTo>
                  <a:lnTo>
                    <a:pt x="803" y="725"/>
                  </a:lnTo>
                  <a:lnTo>
                    <a:pt x="819" y="707"/>
                  </a:lnTo>
                  <a:lnTo>
                    <a:pt x="805" y="686"/>
                  </a:lnTo>
                  <a:lnTo>
                    <a:pt x="805" y="670"/>
                  </a:lnTo>
                  <a:lnTo>
                    <a:pt x="803" y="643"/>
                  </a:lnTo>
                  <a:lnTo>
                    <a:pt x="796" y="636"/>
                  </a:lnTo>
                  <a:lnTo>
                    <a:pt x="780" y="636"/>
                  </a:lnTo>
                  <a:lnTo>
                    <a:pt x="765" y="640"/>
                  </a:lnTo>
                  <a:lnTo>
                    <a:pt x="761" y="646"/>
                  </a:lnTo>
                  <a:lnTo>
                    <a:pt x="751" y="656"/>
                  </a:lnTo>
                  <a:lnTo>
                    <a:pt x="737" y="661"/>
                  </a:lnTo>
                  <a:lnTo>
                    <a:pt x="732" y="646"/>
                  </a:lnTo>
                  <a:lnTo>
                    <a:pt x="742" y="633"/>
                  </a:lnTo>
                  <a:lnTo>
                    <a:pt x="747" y="622"/>
                  </a:lnTo>
                  <a:lnTo>
                    <a:pt x="747" y="609"/>
                  </a:lnTo>
                  <a:lnTo>
                    <a:pt x="772" y="580"/>
                  </a:lnTo>
                  <a:lnTo>
                    <a:pt x="786" y="575"/>
                  </a:lnTo>
                  <a:lnTo>
                    <a:pt x="789" y="553"/>
                  </a:lnTo>
                  <a:lnTo>
                    <a:pt x="803" y="535"/>
                  </a:lnTo>
                  <a:lnTo>
                    <a:pt x="843" y="501"/>
                  </a:lnTo>
                  <a:lnTo>
                    <a:pt x="855" y="501"/>
                  </a:lnTo>
                  <a:lnTo>
                    <a:pt x="860" y="488"/>
                  </a:lnTo>
                  <a:lnTo>
                    <a:pt x="874" y="472"/>
                  </a:lnTo>
                  <a:lnTo>
                    <a:pt x="885" y="472"/>
                  </a:lnTo>
                  <a:lnTo>
                    <a:pt x="890" y="464"/>
                  </a:lnTo>
                  <a:lnTo>
                    <a:pt x="897" y="458"/>
                  </a:lnTo>
                  <a:lnTo>
                    <a:pt x="907" y="439"/>
                  </a:lnTo>
                  <a:lnTo>
                    <a:pt x="915" y="411"/>
                  </a:lnTo>
                  <a:lnTo>
                    <a:pt x="918" y="393"/>
                  </a:lnTo>
                  <a:lnTo>
                    <a:pt x="918" y="377"/>
                  </a:lnTo>
                  <a:lnTo>
                    <a:pt x="932" y="358"/>
                  </a:lnTo>
                  <a:lnTo>
                    <a:pt x="953" y="346"/>
                  </a:lnTo>
                  <a:lnTo>
                    <a:pt x="965" y="333"/>
                  </a:lnTo>
                  <a:lnTo>
                    <a:pt x="965" y="327"/>
                  </a:lnTo>
                  <a:lnTo>
                    <a:pt x="946" y="311"/>
                  </a:lnTo>
                  <a:lnTo>
                    <a:pt x="937" y="306"/>
                  </a:lnTo>
                  <a:lnTo>
                    <a:pt x="909" y="303"/>
                  </a:lnTo>
                  <a:lnTo>
                    <a:pt x="878" y="297"/>
                  </a:lnTo>
                  <a:lnTo>
                    <a:pt x="866" y="296"/>
                  </a:lnTo>
                  <a:lnTo>
                    <a:pt x="855" y="290"/>
                  </a:lnTo>
                  <a:lnTo>
                    <a:pt x="843" y="277"/>
                  </a:lnTo>
                  <a:lnTo>
                    <a:pt x="833" y="256"/>
                  </a:lnTo>
                  <a:lnTo>
                    <a:pt x="824" y="243"/>
                  </a:lnTo>
                  <a:lnTo>
                    <a:pt x="812" y="237"/>
                  </a:lnTo>
                  <a:lnTo>
                    <a:pt x="798" y="232"/>
                  </a:lnTo>
                  <a:lnTo>
                    <a:pt x="791" y="229"/>
                  </a:lnTo>
                  <a:lnTo>
                    <a:pt x="772" y="210"/>
                  </a:lnTo>
                  <a:lnTo>
                    <a:pt x="748" y="189"/>
                  </a:lnTo>
                  <a:lnTo>
                    <a:pt x="734" y="169"/>
                  </a:lnTo>
                  <a:lnTo>
                    <a:pt x="718" y="164"/>
                  </a:lnTo>
                  <a:lnTo>
                    <a:pt x="709" y="155"/>
                  </a:lnTo>
                  <a:lnTo>
                    <a:pt x="701" y="135"/>
                  </a:lnTo>
                  <a:lnTo>
                    <a:pt x="681" y="108"/>
                  </a:lnTo>
                  <a:lnTo>
                    <a:pt x="676" y="90"/>
                  </a:lnTo>
                  <a:lnTo>
                    <a:pt x="660" y="71"/>
                  </a:lnTo>
                  <a:lnTo>
                    <a:pt x="652" y="55"/>
                  </a:lnTo>
                  <a:lnTo>
                    <a:pt x="643" y="43"/>
                  </a:lnTo>
                  <a:lnTo>
                    <a:pt x="627" y="28"/>
                  </a:lnTo>
                  <a:lnTo>
                    <a:pt x="610" y="8"/>
                  </a:lnTo>
                  <a:lnTo>
                    <a:pt x="596" y="0"/>
                  </a:lnTo>
                  <a:lnTo>
                    <a:pt x="561" y="3"/>
                  </a:lnTo>
                  <a:lnTo>
                    <a:pt x="547" y="3"/>
                  </a:lnTo>
                  <a:lnTo>
                    <a:pt x="528" y="18"/>
                  </a:lnTo>
                  <a:lnTo>
                    <a:pt x="539" y="31"/>
                  </a:lnTo>
                  <a:lnTo>
                    <a:pt x="525" y="50"/>
                  </a:lnTo>
                  <a:lnTo>
                    <a:pt x="490" y="100"/>
                  </a:lnTo>
                  <a:lnTo>
                    <a:pt x="472" y="111"/>
                  </a:lnTo>
                  <a:lnTo>
                    <a:pt x="423" y="117"/>
                  </a:lnTo>
                  <a:lnTo>
                    <a:pt x="401" y="124"/>
                  </a:lnTo>
                  <a:lnTo>
                    <a:pt x="390" y="136"/>
                  </a:lnTo>
                  <a:lnTo>
                    <a:pt x="385" y="148"/>
                  </a:lnTo>
                  <a:lnTo>
                    <a:pt x="366" y="142"/>
                  </a:lnTo>
                  <a:lnTo>
                    <a:pt x="335" y="148"/>
                  </a:lnTo>
                  <a:lnTo>
                    <a:pt x="316" y="145"/>
                  </a:lnTo>
                  <a:lnTo>
                    <a:pt x="300" y="132"/>
                  </a:lnTo>
                  <a:lnTo>
                    <a:pt x="289" y="117"/>
                  </a:lnTo>
                  <a:lnTo>
                    <a:pt x="277" y="111"/>
                  </a:lnTo>
                  <a:lnTo>
                    <a:pt x="286" y="98"/>
                  </a:lnTo>
                  <a:lnTo>
                    <a:pt x="272" y="84"/>
                  </a:lnTo>
                  <a:lnTo>
                    <a:pt x="261" y="81"/>
                  </a:lnTo>
                  <a:lnTo>
                    <a:pt x="251" y="80"/>
                  </a:lnTo>
                  <a:lnTo>
                    <a:pt x="249" y="84"/>
                  </a:lnTo>
                  <a:lnTo>
                    <a:pt x="258" y="95"/>
                  </a:lnTo>
                  <a:lnTo>
                    <a:pt x="253" y="102"/>
                  </a:lnTo>
                  <a:lnTo>
                    <a:pt x="258" y="118"/>
                  </a:lnTo>
                  <a:lnTo>
                    <a:pt x="261" y="136"/>
                  </a:lnTo>
                  <a:lnTo>
                    <a:pt x="261" y="151"/>
                  </a:lnTo>
                  <a:lnTo>
                    <a:pt x="258" y="154"/>
                  </a:lnTo>
                  <a:lnTo>
                    <a:pt x="249" y="161"/>
                  </a:lnTo>
                  <a:lnTo>
                    <a:pt x="247" y="173"/>
                  </a:lnTo>
                  <a:lnTo>
                    <a:pt x="247" y="188"/>
                  </a:lnTo>
                  <a:lnTo>
                    <a:pt x="244" y="198"/>
                  </a:lnTo>
                  <a:lnTo>
                    <a:pt x="230" y="195"/>
                  </a:lnTo>
                  <a:lnTo>
                    <a:pt x="214" y="185"/>
                  </a:lnTo>
                  <a:lnTo>
                    <a:pt x="204" y="195"/>
                  </a:lnTo>
                  <a:lnTo>
                    <a:pt x="187" y="182"/>
                  </a:lnTo>
                  <a:lnTo>
                    <a:pt x="178" y="179"/>
                  </a:lnTo>
                  <a:lnTo>
                    <a:pt x="167" y="189"/>
                  </a:lnTo>
                  <a:lnTo>
                    <a:pt x="157" y="188"/>
                  </a:lnTo>
                  <a:lnTo>
                    <a:pt x="157" y="179"/>
                  </a:lnTo>
                  <a:lnTo>
                    <a:pt x="118" y="136"/>
                  </a:lnTo>
                  <a:lnTo>
                    <a:pt x="108" y="135"/>
                  </a:lnTo>
                  <a:lnTo>
                    <a:pt x="101" y="142"/>
                  </a:lnTo>
                  <a:lnTo>
                    <a:pt x="85" y="151"/>
                  </a:lnTo>
                  <a:lnTo>
                    <a:pt x="75" y="154"/>
                  </a:lnTo>
                  <a:lnTo>
                    <a:pt x="63" y="139"/>
                  </a:lnTo>
                  <a:lnTo>
                    <a:pt x="35" y="139"/>
                  </a:lnTo>
                  <a:lnTo>
                    <a:pt x="16" y="15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grpSp>
        <p:nvGrpSpPr>
          <p:cNvPr id="25" name="GB"/>
          <p:cNvGrpSpPr/>
          <p:nvPr/>
        </p:nvGrpSpPr>
        <p:grpSpPr>
          <a:xfrm>
            <a:off x="4144882" y="2354268"/>
            <a:ext cx="849313" cy="1277938"/>
            <a:chOff x="1096963" y="2672443"/>
            <a:chExt cx="849312" cy="1277938"/>
          </a:xfrm>
          <a:solidFill>
            <a:srgbClr val="FAFAFA"/>
          </a:solidFill>
          <a:effectLst/>
        </p:grpSpPr>
        <p:sp>
          <p:nvSpPr>
            <p:cNvPr id="97" name="Freeform 568"/>
            <p:cNvSpPr>
              <a:spLocks noChangeAspect="1"/>
            </p:cNvSpPr>
            <p:nvPr/>
          </p:nvSpPr>
          <p:spPr bwMode="auto">
            <a:xfrm>
              <a:off x="1096963" y="2689817"/>
              <a:ext cx="849312" cy="1260564"/>
            </a:xfrm>
            <a:custGeom>
              <a:avLst/>
              <a:gdLst>
                <a:gd name="T0" fmla="*/ 186 w 571"/>
                <a:gd name="T1" fmla="*/ 731 h 1058"/>
                <a:gd name="T2" fmla="*/ 123 w 571"/>
                <a:gd name="T3" fmla="*/ 779 h 1058"/>
                <a:gd name="T4" fmla="*/ 106 w 571"/>
                <a:gd name="T5" fmla="*/ 823 h 1058"/>
                <a:gd name="T6" fmla="*/ 143 w 571"/>
                <a:gd name="T7" fmla="*/ 847 h 1058"/>
                <a:gd name="T8" fmla="*/ 173 w 571"/>
                <a:gd name="T9" fmla="*/ 863 h 1058"/>
                <a:gd name="T10" fmla="*/ 228 w 571"/>
                <a:gd name="T11" fmla="*/ 876 h 1058"/>
                <a:gd name="T12" fmla="*/ 192 w 571"/>
                <a:gd name="T13" fmla="*/ 924 h 1058"/>
                <a:gd name="T14" fmla="*/ 110 w 571"/>
                <a:gd name="T15" fmla="*/ 897 h 1058"/>
                <a:gd name="T16" fmla="*/ 52 w 571"/>
                <a:gd name="T17" fmla="*/ 953 h 1058"/>
                <a:gd name="T18" fmla="*/ 3 w 571"/>
                <a:gd name="T19" fmla="*/ 981 h 1058"/>
                <a:gd name="T20" fmla="*/ 28 w 571"/>
                <a:gd name="T21" fmla="*/ 1005 h 1058"/>
                <a:gd name="T22" fmla="*/ 75 w 571"/>
                <a:gd name="T23" fmla="*/ 997 h 1058"/>
                <a:gd name="T24" fmla="*/ 139 w 571"/>
                <a:gd name="T25" fmla="*/ 1027 h 1058"/>
                <a:gd name="T26" fmla="*/ 187 w 571"/>
                <a:gd name="T27" fmla="*/ 978 h 1058"/>
                <a:gd name="T28" fmla="*/ 230 w 571"/>
                <a:gd name="T29" fmla="*/ 1008 h 1058"/>
                <a:gd name="T30" fmla="*/ 291 w 571"/>
                <a:gd name="T31" fmla="*/ 1018 h 1058"/>
                <a:gd name="T32" fmla="*/ 336 w 571"/>
                <a:gd name="T33" fmla="*/ 1014 h 1058"/>
                <a:gd name="T34" fmla="*/ 398 w 571"/>
                <a:gd name="T35" fmla="*/ 1042 h 1058"/>
                <a:gd name="T36" fmla="*/ 451 w 571"/>
                <a:gd name="T37" fmla="*/ 1048 h 1058"/>
                <a:gd name="T38" fmla="*/ 503 w 571"/>
                <a:gd name="T39" fmla="*/ 1027 h 1058"/>
                <a:gd name="T40" fmla="*/ 481 w 571"/>
                <a:gd name="T41" fmla="*/ 978 h 1058"/>
                <a:gd name="T42" fmla="*/ 484 w 571"/>
                <a:gd name="T43" fmla="*/ 947 h 1058"/>
                <a:gd name="T44" fmla="*/ 552 w 571"/>
                <a:gd name="T45" fmla="*/ 897 h 1058"/>
                <a:gd name="T46" fmla="*/ 571 w 571"/>
                <a:gd name="T47" fmla="*/ 829 h 1058"/>
                <a:gd name="T48" fmla="*/ 522 w 571"/>
                <a:gd name="T49" fmla="*/ 792 h 1058"/>
                <a:gd name="T50" fmla="*/ 486 w 571"/>
                <a:gd name="T51" fmla="*/ 789 h 1058"/>
                <a:gd name="T52" fmla="*/ 498 w 571"/>
                <a:gd name="T53" fmla="*/ 724 h 1058"/>
                <a:gd name="T54" fmla="*/ 498 w 571"/>
                <a:gd name="T55" fmla="*/ 634 h 1058"/>
                <a:gd name="T56" fmla="*/ 447 w 571"/>
                <a:gd name="T57" fmla="*/ 532 h 1058"/>
                <a:gd name="T58" fmla="*/ 447 w 571"/>
                <a:gd name="T59" fmla="*/ 451 h 1058"/>
                <a:gd name="T60" fmla="*/ 431 w 571"/>
                <a:gd name="T61" fmla="*/ 387 h 1058"/>
                <a:gd name="T62" fmla="*/ 376 w 571"/>
                <a:gd name="T63" fmla="*/ 352 h 1058"/>
                <a:gd name="T64" fmla="*/ 371 w 571"/>
                <a:gd name="T65" fmla="*/ 327 h 1058"/>
                <a:gd name="T66" fmla="*/ 418 w 571"/>
                <a:gd name="T67" fmla="*/ 334 h 1058"/>
                <a:gd name="T68" fmla="*/ 491 w 571"/>
                <a:gd name="T69" fmla="*/ 234 h 1058"/>
                <a:gd name="T70" fmla="*/ 486 w 571"/>
                <a:gd name="T71" fmla="*/ 170 h 1058"/>
                <a:gd name="T72" fmla="*/ 418 w 571"/>
                <a:gd name="T73" fmla="*/ 139 h 1058"/>
                <a:gd name="T74" fmla="*/ 381 w 571"/>
                <a:gd name="T75" fmla="*/ 142 h 1058"/>
                <a:gd name="T76" fmla="*/ 401 w 571"/>
                <a:gd name="T77" fmla="*/ 102 h 1058"/>
                <a:gd name="T78" fmla="*/ 475 w 571"/>
                <a:gd name="T79" fmla="*/ 52 h 1058"/>
                <a:gd name="T80" fmla="*/ 428 w 571"/>
                <a:gd name="T81" fmla="*/ 18 h 1058"/>
                <a:gd name="T82" fmla="*/ 351 w 571"/>
                <a:gd name="T83" fmla="*/ 31 h 1058"/>
                <a:gd name="T84" fmla="*/ 315 w 571"/>
                <a:gd name="T85" fmla="*/ 68 h 1058"/>
                <a:gd name="T86" fmla="*/ 291 w 571"/>
                <a:gd name="T87" fmla="*/ 118 h 1058"/>
                <a:gd name="T88" fmla="*/ 230 w 571"/>
                <a:gd name="T89" fmla="*/ 203 h 1058"/>
                <a:gd name="T90" fmla="*/ 270 w 571"/>
                <a:gd name="T91" fmla="*/ 220 h 1058"/>
                <a:gd name="T92" fmla="*/ 214 w 571"/>
                <a:gd name="T93" fmla="*/ 327 h 1058"/>
                <a:gd name="T94" fmla="*/ 233 w 571"/>
                <a:gd name="T95" fmla="*/ 343 h 1058"/>
                <a:gd name="T96" fmla="*/ 268 w 571"/>
                <a:gd name="T97" fmla="*/ 365 h 1058"/>
                <a:gd name="T98" fmla="*/ 228 w 571"/>
                <a:gd name="T99" fmla="*/ 429 h 1058"/>
                <a:gd name="T100" fmla="*/ 285 w 571"/>
                <a:gd name="T101" fmla="*/ 471 h 1058"/>
                <a:gd name="T102" fmla="*/ 319 w 571"/>
                <a:gd name="T103" fmla="*/ 485 h 1058"/>
                <a:gd name="T104" fmla="*/ 308 w 571"/>
                <a:gd name="T105" fmla="*/ 576 h 1058"/>
                <a:gd name="T106" fmla="*/ 305 w 571"/>
                <a:gd name="T107" fmla="*/ 637 h 1058"/>
                <a:gd name="T108" fmla="*/ 280 w 571"/>
                <a:gd name="T109" fmla="*/ 665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71" h="1058">
                  <a:moveTo>
                    <a:pt x="171" y="678"/>
                  </a:moveTo>
                  <a:lnTo>
                    <a:pt x="198" y="705"/>
                  </a:lnTo>
                  <a:lnTo>
                    <a:pt x="186" y="731"/>
                  </a:lnTo>
                  <a:lnTo>
                    <a:pt x="170" y="752"/>
                  </a:lnTo>
                  <a:lnTo>
                    <a:pt x="143" y="766"/>
                  </a:lnTo>
                  <a:lnTo>
                    <a:pt x="123" y="779"/>
                  </a:lnTo>
                  <a:lnTo>
                    <a:pt x="101" y="782"/>
                  </a:lnTo>
                  <a:lnTo>
                    <a:pt x="90" y="792"/>
                  </a:lnTo>
                  <a:lnTo>
                    <a:pt x="106" y="823"/>
                  </a:lnTo>
                  <a:lnTo>
                    <a:pt x="132" y="823"/>
                  </a:lnTo>
                  <a:lnTo>
                    <a:pt x="143" y="826"/>
                  </a:lnTo>
                  <a:lnTo>
                    <a:pt x="143" y="847"/>
                  </a:lnTo>
                  <a:lnTo>
                    <a:pt x="157" y="847"/>
                  </a:lnTo>
                  <a:lnTo>
                    <a:pt x="167" y="842"/>
                  </a:lnTo>
                  <a:lnTo>
                    <a:pt x="173" y="863"/>
                  </a:lnTo>
                  <a:lnTo>
                    <a:pt x="187" y="882"/>
                  </a:lnTo>
                  <a:lnTo>
                    <a:pt x="211" y="882"/>
                  </a:lnTo>
                  <a:lnTo>
                    <a:pt x="228" y="876"/>
                  </a:lnTo>
                  <a:lnTo>
                    <a:pt x="242" y="882"/>
                  </a:lnTo>
                  <a:lnTo>
                    <a:pt x="206" y="916"/>
                  </a:lnTo>
                  <a:lnTo>
                    <a:pt x="192" y="924"/>
                  </a:lnTo>
                  <a:lnTo>
                    <a:pt x="173" y="916"/>
                  </a:lnTo>
                  <a:lnTo>
                    <a:pt x="132" y="897"/>
                  </a:lnTo>
                  <a:lnTo>
                    <a:pt x="110" y="897"/>
                  </a:lnTo>
                  <a:lnTo>
                    <a:pt x="91" y="916"/>
                  </a:lnTo>
                  <a:lnTo>
                    <a:pt x="66" y="940"/>
                  </a:lnTo>
                  <a:lnTo>
                    <a:pt x="52" y="953"/>
                  </a:lnTo>
                  <a:lnTo>
                    <a:pt x="35" y="958"/>
                  </a:lnTo>
                  <a:lnTo>
                    <a:pt x="16" y="968"/>
                  </a:lnTo>
                  <a:lnTo>
                    <a:pt x="3" y="981"/>
                  </a:lnTo>
                  <a:lnTo>
                    <a:pt x="0" y="990"/>
                  </a:lnTo>
                  <a:lnTo>
                    <a:pt x="16" y="993"/>
                  </a:lnTo>
                  <a:lnTo>
                    <a:pt x="28" y="1005"/>
                  </a:lnTo>
                  <a:lnTo>
                    <a:pt x="44" y="1014"/>
                  </a:lnTo>
                  <a:lnTo>
                    <a:pt x="61" y="1005"/>
                  </a:lnTo>
                  <a:lnTo>
                    <a:pt x="75" y="997"/>
                  </a:lnTo>
                  <a:lnTo>
                    <a:pt x="91" y="1000"/>
                  </a:lnTo>
                  <a:lnTo>
                    <a:pt x="115" y="1015"/>
                  </a:lnTo>
                  <a:lnTo>
                    <a:pt x="139" y="1027"/>
                  </a:lnTo>
                  <a:lnTo>
                    <a:pt x="155" y="1015"/>
                  </a:lnTo>
                  <a:lnTo>
                    <a:pt x="162" y="995"/>
                  </a:lnTo>
                  <a:lnTo>
                    <a:pt x="187" y="978"/>
                  </a:lnTo>
                  <a:lnTo>
                    <a:pt x="204" y="978"/>
                  </a:lnTo>
                  <a:lnTo>
                    <a:pt x="219" y="997"/>
                  </a:lnTo>
                  <a:lnTo>
                    <a:pt x="230" y="1008"/>
                  </a:lnTo>
                  <a:lnTo>
                    <a:pt x="249" y="1008"/>
                  </a:lnTo>
                  <a:lnTo>
                    <a:pt x="275" y="1011"/>
                  </a:lnTo>
                  <a:lnTo>
                    <a:pt x="291" y="1018"/>
                  </a:lnTo>
                  <a:lnTo>
                    <a:pt x="308" y="1005"/>
                  </a:lnTo>
                  <a:lnTo>
                    <a:pt x="322" y="1005"/>
                  </a:lnTo>
                  <a:lnTo>
                    <a:pt x="336" y="1014"/>
                  </a:lnTo>
                  <a:lnTo>
                    <a:pt x="352" y="1034"/>
                  </a:lnTo>
                  <a:lnTo>
                    <a:pt x="374" y="1037"/>
                  </a:lnTo>
                  <a:lnTo>
                    <a:pt x="398" y="1042"/>
                  </a:lnTo>
                  <a:lnTo>
                    <a:pt x="414" y="1052"/>
                  </a:lnTo>
                  <a:lnTo>
                    <a:pt x="434" y="1058"/>
                  </a:lnTo>
                  <a:lnTo>
                    <a:pt x="451" y="1048"/>
                  </a:lnTo>
                  <a:lnTo>
                    <a:pt x="472" y="1034"/>
                  </a:lnTo>
                  <a:lnTo>
                    <a:pt x="486" y="1031"/>
                  </a:lnTo>
                  <a:lnTo>
                    <a:pt x="503" y="1027"/>
                  </a:lnTo>
                  <a:lnTo>
                    <a:pt x="519" y="1011"/>
                  </a:lnTo>
                  <a:lnTo>
                    <a:pt x="508" y="995"/>
                  </a:lnTo>
                  <a:lnTo>
                    <a:pt x="481" y="978"/>
                  </a:lnTo>
                  <a:lnTo>
                    <a:pt x="472" y="968"/>
                  </a:lnTo>
                  <a:lnTo>
                    <a:pt x="472" y="958"/>
                  </a:lnTo>
                  <a:lnTo>
                    <a:pt x="484" y="947"/>
                  </a:lnTo>
                  <a:lnTo>
                    <a:pt x="503" y="944"/>
                  </a:lnTo>
                  <a:lnTo>
                    <a:pt x="522" y="934"/>
                  </a:lnTo>
                  <a:lnTo>
                    <a:pt x="552" y="897"/>
                  </a:lnTo>
                  <a:lnTo>
                    <a:pt x="566" y="879"/>
                  </a:lnTo>
                  <a:lnTo>
                    <a:pt x="571" y="847"/>
                  </a:lnTo>
                  <a:lnTo>
                    <a:pt x="571" y="829"/>
                  </a:lnTo>
                  <a:lnTo>
                    <a:pt x="557" y="816"/>
                  </a:lnTo>
                  <a:lnTo>
                    <a:pt x="538" y="801"/>
                  </a:lnTo>
                  <a:lnTo>
                    <a:pt x="522" y="792"/>
                  </a:lnTo>
                  <a:lnTo>
                    <a:pt x="503" y="795"/>
                  </a:lnTo>
                  <a:lnTo>
                    <a:pt x="491" y="802"/>
                  </a:lnTo>
                  <a:lnTo>
                    <a:pt x="486" y="789"/>
                  </a:lnTo>
                  <a:lnTo>
                    <a:pt x="496" y="768"/>
                  </a:lnTo>
                  <a:lnTo>
                    <a:pt x="500" y="752"/>
                  </a:lnTo>
                  <a:lnTo>
                    <a:pt x="498" y="724"/>
                  </a:lnTo>
                  <a:lnTo>
                    <a:pt x="496" y="684"/>
                  </a:lnTo>
                  <a:lnTo>
                    <a:pt x="503" y="653"/>
                  </a:lnTo>
                  <a:lnTo>
                    <a:pt x="498" y="634"/>
                  </a:lnTo>
                  <a:lnTo>
                    <a:pt x="486" y="613"/>
                  </a:lnTo>
                  <a:lnTo>
                    <a:pt x="458" y="557"/>
                  </a:lnTo>
                  <a:lnTo>
                    <a:pt x="447" y="532"/>
                  </a:lnTo>
                  <a:lnTo>
                    <a:pt x="442" y="500"/>
                  </a:lnTo>
                  <a:lnTo>
                    <a:pt x="439" y="482"/>
                  </a:lnTo>
                  <a:lnTo>
                    <a:pt x="447" y="451"/>
                  </a:lnTo>
                  <a:lnTo>
                    <a:pt x="447" y="426"/>
                  </a:lnTo>
                  <a:lnTo>
                    <a:pt x="442" y="399"/>
                  </a:lnTo>
                  <a:lnTo>
                    <a:pt x="431" y="387"/>
                  </a:lnTo>
                  <a:lnTo>
                    <a:pt x="409" y="362"/>
                  </a:lnTo>
                  <a:lnTo>
                    <a:pt x="393" y="355"/>
                  </a:lnTo>
                  <a:lnTo>
                    <a:pt x="376" y="352"/>
                  </a:lnTo>
                  <a:lnTo>
                    <a:pt x="365" y="350"/>
                  </a:lnTo>
                  <a:lnTo>
                    <a:pt x="365" y="337"/>
                  </a:lnTo>
                  <a:lnTo>
                    <a:pt x="371" y="327"/>
                  </a:lnTo>
                  <a:lnTo>
                    <a:pt x="390" y="324"/>
                  </a:lnTo>
                  <a:lnTo>
                    <a:pt x="407" y="331"/>
                  </a:lnTo>
                  <a:lnTo>
                    <a:pt x="418" y="334"/>
                  </a:lnTo>
                  <a:lnTo>
                    <a:pt x="426" y="321"/>
                  </a:lnTo>
                  <a:lnTo>
                    <a:pt x="423" y="306"/>
                  </a:lnTo>
                  <a:lnTo>
                    <a:pt x="491" y="234"/>
                  </a:lnTo>
                  <a:lnTo>
                    <a:pt x="503" y="219"/>
                  </a:lnTo>
                  <a:lnTo>
                    <a:pt x="503" y="186"/>
                  </a:lnTo>
                  <a:lnTo>
                    <a:pt x="486" y="170"/>
                  </a:lnTo>
                  <a:lnTo>
                    <a:pt x="467" y="168"/>
                  </a:lnTo>
                  <a:lnTo>
                    <a:pt x="451" y="139"/>
                  </a:lnTo>
                  <a:lnTo>
                    <a:pt x="418" y="139"/>
                  </a:lnTo>
                  <a:lnTo>
                    <a:pt x="418" y="139"/>
                  </a:lnTo>
                  <a:lnTo>
                    <a:pt x="388" y="145"/>
                  </a:lnTo>
                  <a:lnTo>
                    <a:pt x="381" y="142"/>
                  </a:lnTo>
                  <a:lnTo>
                    <a:pt x="374" y="129"/>
                  </a:lnTo>
                  <a:lnTo>
                    <a:pt x="388" y="118"/>
                  </a:lnTo>
                  <a:lnTo>
                    <a:pt x="401" y="102"/>
                  </a:lnTo>
                  <a:lnTo>
                    <a:pt x="431" y="74"/>
                  </a:lnTo>
                  <a:lnTo>
                    <a:pt x="453" y="71"/>
                  </a:lnTo>
                  <a:lnTo>
                    <a:pt x="475" y="52"/>
                  </a:lnTo>
                  <a:lnTo>
                    <a:pt x="496" y="34"/>
                  </a:lnTo>
                  <a:lnTo>
                    <a:pt x="448" y="21"/>
                  </a:lnTo>
                  <a:lnTo>
                    <a:pt x="428" y="18"/>
                  </a:lnTo>
                  <a:lnTo>
                    <a:pt x="404" y="15"/>
                  </a:lnTo>
                  <a:lnTo>
                    <a:pt x="376" y="0"/>
                  </a:lnTo>
                  <a:lnTo>
                    <a:pt x="351" y="31"/>
                  </a:lnTo>
                  <a:lnTo>
                    <a:pt x="352" y="47"/>
                  </a:lnTo>
                  <a:lnTo>
                    <a:pt x="338" y="52"/>
                  </a:lnTo>
                  <a:lnTo>
                    <a:pt x="315" y="68"/>
                  </a:lnTo>
                  <a:lnTo>
                    <a:pt x="294" y="77"/>
                  </a:lnTo>
                  <a:lnTo>
                    <a:pt x="294" y="99"/>
                  </a:lnTo>
                  <a:lnTo>
                    <a:pt x="291" y="118"/>
                  </a:lnTo>
                  <a:lnTo>
                    <a:pt x="272" y="148"/>
                  </a:lnTo>
                  <a:lnTo>
                    <a:pt x="242" y="185"/>
                  </a:lnTo>
                  <a:lnTo>
                    <a:pt x="230" y="203"/>
                  </a:lnTo>
                  <a:lnTo>
                    <a:pt x="237" y="216"/>
                  </a:lnTo>
                  <a:lnTo>
                    <a:pt x="268" y="213"/>
                  </a:lnTo>
                  <a:lnTo>
                    <a:pt x="270" y="220"/>
                  </a:lnTo>
                  <a:lnTo>
                    <a:pt x="270" y="234"/>
                  </a:lnTo>
                  <a:lnTo>
                    <a:pt x="228" y="294"/>
                  </a:lnTo>
                  <a:lnTo>
                    <a:pt x="214" y="327"/>
                  </a:lnTo>
                  <a:lnTo>
                    <a:pt x="204" y="355"/>
                  </a:lnTo>
                  <a:lnTo>
                    <a:pt x="214" y="368"/>
                  </a:lnTo>
                  <a:lnTo>
                    <a:pt x="233" y="343"/>
                  </a:lnTo>
                  <a:lnTo>
                    <a:pt x="252" y="313"/>
                  </a:lnTo>
                  <a:lnTo>
                    <a:pt x="266" y="321"/>
                  </a:lnTo>
                  <a:lnTo>
                    <a:pt x="268" y="365"/>
                  </a:lnTo>
                  <a:lnTo>
                    <a:pt x="270" y="395"/>
                  </a:lnTo>
                  <a:lnTo>
                    <a:pt x="244" y="411"/>
                  </a:lnTo>
                  <a:lnTo>
                    <a:pt x="228" y="429"/>
                  </a:lnTo>
                  <a:lnTo>
                    <a:pt x="223" y="445"/>
                  </a:lnTo>
                  <a:lnTo>
                    <a:pt x="256" y="476"/>
                  </a:lnTo>
                  <a:lnTo>
                    <a:pt x="285" y="471"/>
                  </a:lnTo>
                  <a:lnTo>
                    <a:pt x="291" y="489"/>
                  </a:lnTo>
                  <a:lnTo>
                    <a:pt x="322" y="468"/>
                  </a:lnTo>
                  <a:lnTo>
                    <a:pt x="319" y="485"/>
                  </a:lnTo>
                  <a:lnTo>
                    <a:pt x="294" y="519"/>
                  </a:lnTo>
                  <a:lnTo>
                    <a:pt x="305" y="556"/>
                  </a:lnTo>
                  <a:lnTo>
                    <a:pt x="308" y="576"/>
                  </a:lnTo>
                  <a:lnTo>
                    <a:pt x="334" y="579"/>
                  </a:lnTo>
                  <a:lnTo>
                    <a:pt x="336" y="597"/>
                  </a:lnTo>
                  <a:lnTo>
                    <a:pt x="305" y="637"/>
                  </a:lnTo>
                  <a:lnTo>
                    <a:pt x="294" y="631"/>
                  </a:lnTo>
                  <a:lnTo>
                    <a:pt x="282" y="644"/>
                  </a:lnTo>
                  <a:lnTo>
                    <a:pt x="280" y="665"/>
                  </a:lnTo>
                  <a:lnTo>
                    <a:pt x="249" y="647"/>
                  </a:lnTo>
                  <a:lnTo>
                    <a:pt x="171" y="6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98" name="Freeform 569"/>
            <p:cNvSpPr>
              <a:spLocks noChangeAspect="1"/>
            </p:cNvSpPr>
            <p:nvPr/>
          </p:nvSpPr>
          <p:spPr bwMode="auto">
            <a:xfrm>
              <a:off x="1406995" y="3301760"/>
              <a:ext cx="67683" cy="42469"/>
            </a:xfrm>
            <a:custGeom>
              <a:avLst/>
              <a:gdLst>
                <a:gd name="T0" fmla="*/ 24 w 47"/>
                <a:gd name="T1" fmla="*/ 0 h 39"/>
                <a:gd name="T2" fmla="*/ 45 w 47"/>
                <a:gd name="T3" fmla="*/ 3 h 39"/>
                <a:gd name="T4" fmla="*/ 47 w 47"/>
                <a:gd name="T5" fmla="*/ 17 h 39"/>
                <a:gd name="T6" fmla="*/ 26 w 47"/>
                <a:gd name="T7" fmla="*/ 33 h 39"/>
                <a:gd name="T8" fmla="*/ 3 w 47"/>
                <a:gd name="T9" fmla="*/ 39 h 39"/>
                <a:gd name="T10" fmla="*/ 0 w 47"/>
                <a:gd name="T11" fmla="*/ 22 h 39"/>
                <a:gd name="T12" fmla="*/ 24 w 4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9">
                  <a:moveTo>
                    <a:pt x="24" y="0"/>
                  </a:moveTo>
                  <a:lnTo>
                    <a:pt x="45" y="3"/>
                  </a:lnTo>
                  <a:lnTo>
                    <a:pt x="47" y="17"/>
                  </a:lnTo>
                  <a:lnTo>
                    <a:pt x="26" y="33"/>
                  </a:lnTo>
                  <a:lnTo>
                    <a:pt x="3" y="39"/>
                  </a:lnTo>
                  <a:lnTo>
                    <a:pt x="0" y="2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99" name="Freeform 570"/>
            <p:cNvSpPr>
              <a:spLocks noChangeAspect="1"/>
            </p:cNvSpPr>
            <p:nvPr/>
          </p:nvSpPr>
          <p:spPr bwMode="auto">
            <a:xfrm>
              <a:off x="1358962" y="3006406"/>
              <a:ext cx="67683" cy="42469"/>
            </a:xfrm>
            <a:custGeom>
              <a:avLst/>
              <a:gdLst>
                <a:gd name="T0" fmla="*/ 40 w 47"/>
                <a:gd name="T1" fmla="*/ 0 h 39"/>
                <a:gd name="T2" fmla="*/ 47 w 47"/>
                <a:gd name="T3" fmla="*/ 19 h 39"/>
                <a:gd name="T4" fmla="*/ 25 w 47"/>
                <a:gd name="T5" fmla="*/ 33 h 39"/>
                <a:gd name="T6" fmla="*/ 6 w 47"/>
                <a:gd name="T7" fmla="*/ 39 h 39"/>
                <a:gd name="T8" fmla="*/ 0 w 47"/>
                <a:gd name="T9" fmla="*/ 20 h 39"/>
                <a:gd name="T10" fmla="*/ 9 w 47"/>
                <a:gd name="T11" fmla="*/ 7 h 39"/>
                <a:gd name="T12" fmla="*/ 40 w 4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9">
                  <a:moveTo>
                    <a:pt x="40" y="0"/>
                  </a:moveTo>
                  <a:lnTo>
                    <a:pt x="47" y="19"/>
                  </a:lnTo>
                  <a:lnTo>
                    <a:pt x="25" y="33"/>
                  </a:lnTo>
                  <a:lnTo>
                    <a:pt x="6" y="39"/>
                  </a:lnTo>
                  <a:lnTo>
                    <a:pt x="0" y="20"/>
                  </a:lnTo>
                  <a:lnTo>
                    <a:pt x="9" y="7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00" name="Freeform 571"/>
            <p:cNvSpPr>
              <a:spLocks noChangeAspect="1"/>
            </p:cNvSpPr>
            <p:nvPr/>
          </p:nvSpPr>
          <p:spPr bwMode="auto">
            <a:xfrm>
              <a:off x="1459394" y="2772825"/>
              <a:ext cx="37116" cy="88799"/>
            </a:xfrm>
            <a:custGeom>
              <a:avLst/>
              <a:gdLst>
                <a:gd name="T0" fmla="*/ 11 w 25"/>
                <a:gd name="T1" fmla="*/ 74 h 74"/>
                <a:gd name="T2" fmla="*/ 25 w 25"/>
                <a:gd name="T3" fmla="*/ 55 h 74"/>
                <a:gd name="T4" fmla="*/ 20 w 25"/>
                <a:gd name="T5" fmla="*/ 31 h 74"/>
                <a:gd name="T6" fmla="*/ 16 w 25"/>
                <a:gd name="T7" fmla="*/ 18 h 74"/>
                <a:gd name="T8" fmla="*/ 11 w 25"/>
                <a:gd name="T9" fmla="*/ 0 h 74"/>
                <a:gd name="T10" fmla="*/ 0 w 25"/>
                <a:gd name="T11" fmla="*/ 8 h 74"/>
                <a:gd name="T12" fmla="*/ 6 w 25"/>
                <a:gd name="T13" fmla="*/ 34 h 74"/>
                <a:gd name="T14" fmla="*/ 11 w 25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74">
                  <a:moveTo>
                    <a:pt x="11" y="74"/>
                  </a:moveTo>
                  <a:lnTo>
                    <a:pt x="25" y="55"/>
                  </a:lnTo>
                  <a:lnTo>
                    <a:pt x="20" y="31"/>
                  </a:lnTo>
                  <a:lnTo>
                    <a:pt x="16" y="18"/>
                  </a:lnTo>
                  <a:lnTo>
                    <a:pt x="11" y="0"/>
                  </a:lnTo>
                  <a:lnTo>
                    <a:pt x="0" y="8"/>
                  </a:lnTo>
                  <a:lnTo>
                    <a:pt x="6" y="3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101" name="Freeform 572"/>
            <p:cNvSpPr>
              <a:spLocks noChangeAspect="1"/>
            </p:cNvSpPr>
            <p:nvPr/>
          </p:nvSpPr>
          <p:spPr bwMode="auto">
            <a:xfrm>
              <a:off x="1452844" y="2672443"/>
              <a:ext cx="96066" cy="63704"/>
            </a:xfrm>
            <a:custGeom>
              <a:avLst/>
              <a:gdLst>
                <a:gd name="T0" fmla="*/ 56 w 63"/>
                <a:gd name="T1" fmla="*/ 0 h 53"/>
                <a:gd name="T2" fmla="*/ 63 w 63"/>
                <a:gd name="T3" fmla="*/ 13 h 53"/>
                <a:gd name="T4" fmla="*/ 39 w 63"/>
                <a:gd name="T5" fmla="*/ 28 h 53"/>
                <a:gd name="T6" fmla="*/ 16 w 63"/>
                <a:gd name="T7" fmla="*/ 53 h 53"/>
                <a:gd name="T8" fmla="*/ 2 w 63"/>
                <a:gd name="T9" fmla="*/ 47 h 53"/>
                <a:gd name="T10" fmla="*/ 0 w 63"/>
                <a:gd name="T11" fmla="*/ 18 h 53"/>
                <a:gd name="T12" fmla="*/ 0 w 63"/>
                <a:gd name="T13" fmla="*/ 8 h 53"/>
                <a:gd name="T14" fmla="*/ 38 w 63"/>
                <a:gd name="T15" fmla="*/ 0 h 53"/>
                <a:gd name="T16" fmla="*/ 56 w 63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53">
                  <a:moveTo>
                    <a:pt x="56" y="0"/>
                  </a:moveTo>
                  <a:lnTo>
                    <a:pt x="63" y="13"/>
                  </a:lnTo>
                  <a:lnTo>
                    <a:pt x="39" y="28"/>
                  </a:lnTo>
                  <a:lnTo>
                    <a:pt x="16" y="53"/>
                  </a:lnTo>
                  <a:lnTo>
                    <a:pt x="2" y="47"/>
                  </a:lnTo>
                  <a:lnTo>
                    <a:pt x="0" y="18"/>
                  </a:lnTo>
                  <a:lnTo>
                    <a:pt x="0" y="8"/>
                  </a:lnTo>
                  <a:lnTo>
                    <a:pt x="38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sp>
        <p:nvSpPr>
          <p:cNvPr id="26" name="PL"/>
          <p:cNvSpPr>
            <a:spLocks noChangeAspect="1"/>
          </p:cNvSpPr>
          <p:nvPr/>
        </p:nvSpPr>
        <p:spPr bwMode="auto">
          <a:xfrm>
            <a:off x="6248400" y="3259138"/>
            <a:ext cx="1028700" cy="876300"/>
          </a:xfrm>
          <a:custGeom>
            <a:avLst/>
            <a:gdLst>
              <a:gd name="T0" fmla="*/ 14 w 697"/>
              <a:gd name="T1" fmla="*/ 185 h 735"/>
              <a:gd name="T2" fmla="*/ 0 w 697"/>
              <a:gd name="T3" fmla="*/ 235 h 735"/>
              <a:gd name="T4" fmla="*/ 31 w 697"/>
              <a:gd name="T5" fmla="*/ 282 h 735"/>
              <a:gd name="T6" fmla="*/ 25 w 697"/>
              <a:gd name="T7" fmla="*/ 322 h 735"/>
              <a:gd name="T8" fmla="*/ 38 w 697"/>
              <a:gd name="T9" fmla="*/ 356 h 735"/>
              <a:gd name="T10" fmla="*/ 47 w 697"/>
              <a:gd name="T11" fmla="*/ 423 h 735"/>
              <a:gd name="T12" fmla="*/ 50 w 697"/>
              <a:gd name="T13" fmla="*/ 448 h 735"/>
              <a:gd name="T14" fmla="*/ 42 w 697"/>
              <a:gd name="T15" fmla="*/ 472 h 735"/>
              <a:gd name="T16" fmla="*/ 61 w 697"/>
              <a:gd name="T17" fmla="*/ 485 h 735"/>
              <a:gd name="T18" fmla="*/ 80 w 697"/>
              <a:gd name="T19" fmla="*/ 501 h 735"/>
              <a:gd name="T20" fmla="*/ 99 w 697"/>
              <a:gd name="T21" fmla="*/ 541 h 735"/>
              <a:gd name="T22" fmla="*/ 119 w 697"/>
              <a:gd name="T23" fmla="*/ 568 h 735"/>
              <a:gd name="T24" fmla="*/ 160 w 697"/>
              <a:gd name="T25" fmla="*/ 580 h 735"/>
              <a:gd name="T26" fmla="*/ 188 w 697"/>
              <a:gd name="T27" fmla="*/ 578 h 735"/>
              <a:gd name="T28" fmla="*/ 228 w 697"/>
              <a:gd name="T29" fmla="*/ 620 h 735"/>
              <a:gd name="T30" fmla="*/ 276 w 697"/>
              <a:gd name="T31" fmla="*/ 643 h 735"/>
              <a:gd name="T32" fmla="*/ 312 w 697"/>
              <a:gd name="T33" fmla="*/ 636 h 735"/>
              <a:gd name="T34" fmla="*/ 350 w 697"/>
              <a:gd name="T35" fmla="*/ 664 h 735"/>
              <a:gd name="T36" fmla="*/ 369 w 697"/>
              <a:gd name="T37" fmla="*/ 667 h 735"/>
              <a:gd name="T38" fmla="*/ 397 w 697"/>
              <a:gd name="T39" fmla="*/ 680 h 735"/>
              <a:gd name="T40" fmla="*/ 429 w 697"/>
              <a:gd name="T41" fmla="*/ 707 h 735"/>
              <a:gd name="T42" fmla="*/ 457 w 697"/>
              <a:gd name="T43" fmla="*/ 711 h 735"/>
              <a:gd name="T44" fmla="*/ 479 w 697"/>
              <a:gd name="T45" fmla="*/ 696 h 735"/>
              <a:gd name="T46" fmla="*/ 609 w 697"/>
              <a:gd name="T47" fmla="*/ 735 h 735"/>
              <a:gd name="T48" fmla="*/ 614 w 697"/>
              <a:gd name="T49" fmla="*/ 696 h 735"/>
              <a:gd name="T50" fmla="*/ 678 w 697"/>
              <a:gd name="T51" fmla="*/ 580 h 735"/>
              <a:gd name="T52" fmla="*/ 697 w 697"/>
              <a:gd name="T53" fmla="*/ 532 h 735"/>
              <a:gd name="T54" fmla="*/ 673 w 697"/>
              <a:gd name="T55" fmla="*/ 461 h 735"/>
              <a:gd name="T56" fmla="*/ 638 w 697"/>
              <a:gd name="T57" fmla="*/ 408 h 735"/>
              <a:gd name="T58" fmla="*/ 638 w 697"/>
              <a:gd name="T59" fmla="*/ 361 h 735"/>
              <a:gd name="T60" fmla="*/ 636 w 697"/>
              <a:gd name="T61" fmla="*/ 322 h 735"/>
              <a:gd name="T62" fmla="*/ 636 w 697"/>
              <a:gd name="T63" fmla="*/ 296 h 735"/>
              <a:gd name="T64" fmla="*/ 661 w 697"/>
              <a:gd name="T65" fmla="*/ 259 h 735"/>
              <a:gd name="T66" fmla="*/ 650 w 697"/>
              <a:gd name="T67" fmla="*/ 182 h 735"/>
              <a:gd name="T68" fmla="*/ 642 w 697"/>
              <a:gd name="T69" fmla="*/ 129 h 735"/>
              <a:gd name="T70" fmla="*/ 609 w 697"/>
              <a:gd name="T71" fmla="*/ 84 h 735"/>
              <a:gd name="T72" fmla="*/ 528 w 697"/>
              <a:gd name="T73" fmla="*/ 80 h 735"/>
              <a:gd name="T74" fmla="*/ 435 w 697"/>
              <a:gd name="T75" fmla="*/ 71 h 735"/>
              <a:gd name="T76" fmla="*/ 385 w 697"/>
              <a:gd name="T77" fmla="*/ 56 h 735"/>
              <a:gd name="T78" fmla="*/ 355 w 697"/>
              <a:gd name="T79" fmla="*/ 74 h 735"/>
              <a:gd name="T80" fmla="*/ 326 w 697"/>
              <a:gd name="T81" fmla="*/ 53 h 735"/>
              <a:gd name="T82" fmla="*/ 303 w 697"/>
              <a:gd name="T83" fmla="*/ 46 h 735"/>
              <a:gd name="T84" fmla="*/ 276 w 697"/>
              <a:gd name="T85" fmla="*/ 3 h 735"/>
              <a:gd name="T86" fmla="*/ 232 w 697"/>
              <a:gd name="T87" fmla="*/ 9 h 735"/>
              <a:gd name="T88" fmla="*/ 190 w 697"/>
              <a:gd name="T89" fmla="*/ 28 h 735"/>
              <a:gd name="T90" fmla="*/ 124 w 697"/>
              <a:gd name="T91" fmla="*/ 61 h 735"/>
              <a:gd name="T92" fmla="*/ 66 w 697"/>
              <a:gd name="T93" fmla="*/ 90 h 735"/>
              <a:gd name="T94" fmla="*/ 31 w 697"/>
              <a:gd name="T95" fmla="*/ 129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97" h="735">
                <a:moveTo>
                  <a:pt x="17" y="139"/>
                </a:moveTo>
                <a:lnTo>
                  <a:pt x="14" y="185"/>
                </a:lnTo>
                <a:lnTo>
                  <a:pt x="14" y="213"/>
                </a:lnTo>
                <a:lnTo>
                  <a:pt x="0" y="235"/>
                </a:lnTo>
                <a:lnTo>
                  <a:pt x="28" y="272"/>
                </a:lnTo>
                <a:lnTo>
                  <a:pt x="31" y="282"/>
                </a:lnTo>
                <a:lnTo>
                  <a:pt x="24" y="306"/>
                </a:lnTo>
                <a:lnTo>
                  <a:pt x="25" y="322"/>
                </a:lnTo>
                <a:lnTo>
                  <a:pt x="39" y="343"/>
                </a:lnTo>
                <a:lnTo>
                  <a:pt x="38" y="356"/>
                </a:lnTo>
                <a:lnTo>
                  <a:pt x="36" y="395"/>
                </a:lnTo>
                <a:lnTo>
                  <a:pt x="47" y="423"/>
                </a:lnTo>
                <a:lnTo>
                  <a:pt x="56" y="438"/>
                </a:lnTo>
                <a:lnTo>
                  <a:pt x="50" y="448"/>
                </a:lnTo>
                <a:lnTo>
                  <a:pt x="50" y="464"/>
                </a:lnTo>
                <a:lnTo>
                  <a:pt x="42" y="472"/>
                </a:lnTo>
                <a:lnTo>
                  <a:pt x="42" y="482"/>
                </a:lnTo>
                <a:lnTo>
                  <a:pt x="61" y="485"/>
                </a:lnTo>
                <a:lnTo>
                  <a:pt x="75" y="491"/>
                </a:lnTo>
                <a:lnTo>
                  <a:pt x="80" y="501"/>
                </a:lnTo>
                <a:lnTo>
                  <a:pt x="80" y="519"/>
                </a:lnTo>
                <a:lnTo>
                  <a:pt x="99" y="541"/>
                </a:lnTo>
                <a:lnTo>
                  <a:pt x="115" y="549"/>
                </a:lnTo>
                <a:lnTo>
                  <a:pt x="119" y="568"/>
                </a:lnTo>
                <a:lnTo>
                  <a:pt x="141" y="599"/>
                </a:lnTo>
                <a:lnTo>
                  <a:pt x="160" y="580"/>
                </a:lnTo>
                <a:lnTo>
                  <a:pt x="176" y="575"/>
                </a:lnTo>
                <a:lnTo>
                  <a:pt x="188" y="578"/>
                </a:lnTo>
                <a:lnTo>
                  <a:pt x="220" y="617"/>
                </a:lnTo>
                <a:lnTo>
                  <a:pt x="228" y="620"/>
                </a:lnTo>
                <a:lnTo>
                  <a:pt x="267" y="640"/>
                </a:lnTo>
                <a:lnTo>
                  <a:pt x="276" y="643"/>
                </a:lnTo>
                <a:lnTo>
                  <a:pt x="293" y="639"/>
                </a:lnTo>
                <a:lnTo>
                  <a:pt x="312" y="636"/>
                </a:lnTo>
                <a:lnTo>
                  <a:pt x="328" y="643"/>
                </a:lnTo>
                <a:lnTo>
                  <a:pt x="350" y="664"/>
                </a:lnTo>
                <a:lnTo>
                  <a:pt x="359" y="676"/>
                </a:lnTo>
                <a:lnTo>
                  <a:pt x="369" y="667"/>
                </a:lnTo>
                <a:lnTo>
                  <a:pt x="380" y="664"/>
                </a:lnTo>
                <a:lnTo>
                  <a:pt x="397" y="680"/>
                </a:lnTo>
                <a:lnTo>
                  <a:pt x="416" y="696"/>
                </a:lnTo>
                <a:lnTo>
                  <a:pt x="429" y="707"/>
                </a:lnTo>
                <a:lnTo>
                  <a:pt x="448" y="714"/>
                </a:lnTo>
                <a:lnTo>
                  <a:pt x="457" y="711"/>
                </a:lnTo>
                <a:lnTo>
                  <a:pt x="466" y="701"/>
                </a:lnTo>
                <a:lnTo>
                  <a:pt x="479" y="696"/>
                </a:lnTo>
                <a:lnTo>
                  <a:pt x="502" y="704"/>
                </a:lnTo>
                <a:lnTo>
                  <a:pt x="609" y="735"/>
                </a:lnTo>
                <a:lnTo>
                  <a:pt x="626" y="720"/>
                </a:lnTo>
                <a:lnTo>
                  <a:pt x="614" y="696"/>
                </a:lnTo>
                <a:lnTo>
                  <a:pt x="603" y="657"/>
                </a:lnTo>
                <a:lnTo>
                  <a:pt x="678" y="580"/>
                </a:lnTo>
                <a:lnTo>
                  <a:pt x="692" y="562"/>
                </a:lnTo>
                <a:lnTo>
                  <a:pt x="697" y="532"/>
                </a:lnTo>
                <a:lnTo>
                  <a:pt x="685" y="494"/>
                </a:lnTo>
                <a:lnTo>
                  <a:pt x="673" y="461"/>
                </a:lnTo>
                <a:lnTo>
                  <a:pt x="652" y="424"/>
                </a:lnTo>
                <a:lnTo>
                  <a:pt x="638" y="408"/>
                </a:lnTo>
                <a:lnTo>
                  <a:pt x="636" y="386"/>
                </a:lnTo>
                <a:lnTo>
                  <a:pt x="638" y="361"/>
                </a:lnTo>
                <a:lnTo>
                  <a:pt x="645" y="337"/>
                </a:lnTo>
                <a:lnTo>
                  <a:pt x="636" y="322"/>
                </a:lnTo>
                <a:lnTo>
                  <a:pt x="624" y="312"/>
                </a:lnTo>
                <a:lnTo>
                  <a:pt x="636" y="296"/>
                </a:lnTo>
                <a:lnTo>
                  <a:pt x="655" y="266"/>
                </a:lnTo>
                <a:lnTo>
                  <a:pt x="661" y="259"/>
                </a:lnTo>
                <a:lnTo>
                  <a:pt x="657" y="208"/>
                </a:lnTo>
                <a:lnTo>
                  <a:pt x="650" y="182"/>
                </a:lnTo>
                <a:lnTo>
                  <a:pt x="642" y="155"/>
                </a:lnTo>
                <a:lnTo>
                  <a:pt x="642" y="129"/>
                </a:lnTo>
                <a:lnTo>
                  <a:pt x="628" y="105"/>
                </a:lnTo>
                <a:lnTo>
                  <a:pt x="609" y="84"/>
                </a:lnTo>
                <a:lnTo>
                  <a:pt x="589" y="81"/>
                </a:lnTo>
                <a:lnTo>
                  <a:pt x="528" y="80"/>
                </a:lnTo>
                <a:lnTo>
                  <a:pt x="495" y="77"/>
                </a:lnTo>
                <a:lnTo>
                  <a:pt x="435" y="71"/>
                </a:lnTo>
                <a:lnTo>
                  <a:pt x="410" y="58"/>
                </a:lnTo>
                <a:lnTo>
                  <a:pt x="385" y="56"/>
                </a:lnTo>
                <a:lnTo>
                  <a:pt x="371" y="61"/>
                </a:lnTo>
                <a:lnTo>
                  <a:pt x="355" y="74"/>
                </a:lnTo>
                <a:lnTo>
                  <a:pt x="340" y="68"/>
                </a:lnTo>
                <a:lnTo>
                  <a:pt x="326" y="53"/>
                </a:lnTo>
                <a:lnTo>
                  <a:pt x="309" y="53"/>
                </a:lnTo>
                <a:lnTo>
                  <a:pt x="303" y="46"/>
                </a:lnTo>
                <a:lnTo>
                  <a:pt x="298" y="21"/>
                </a:lnTo>
                <a:lnTo>
                  <a:pt x="276" y="3"/>
                </a:lnTo>
                <a:lnTo>
                  <a:pt x="261" y="0"/>
                </a:lnTo>
                <a:lnTo>
                  <a:pt x="232" y="9"/>
                </a:lnTo>
                <a:lnTo>
                  <a:pt x="209" y="16"/>
                </a:lnTo>
                <a:lnTo>
                  <a:pt x="190" y="28"/>
                </a:lnTo>
                <a:lnTo>
                  <a:pt x="157" y="50"/>
                </a:lnTo>
                <a:lnTo>
                  <a:pt x="124" y="61"/>
                </a:lnTo>
                <a:lnTo>
                  <a:pt x="96" y="74"/>
                </a:lnTo>
                <a:lnTo>
                  <a:pt x="66" y="90"/>
                </a:lnTo>
                <a:lnTo>
                  <a:pt x="50" y="111"/>
                </a:lnTo>
                <a:lnTo>
                  <a:pt x="31" y="129"/>
                </a:lnTo>
                <a:lnTo>
                  <a:pt x="17" y="139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grpSp>
        <p:nvGrpSpPr>
          <p:cNvPr id="27" name="FI"/>
          <p:cNvGrpSpPr>
            <a:grpSpLocks/>
          </p:cNvGrpSpPr>
          <p:nvPr/>
        </p:nvGrpSpPr>
        <p:grpSpPr bwMode="auto">
          <a:xfrm>
            <a:off x="6795831" y="990600"/>
            <a:ext cx="873127" cy="1531932"/>
            <a:chOff x="3757282" y="1308775"/>
            <a:chExt cx="401" cy="793"/>
          </a:xfrm>
          <a:solidFill>
            <a:srgbClr val="FAFAFA"/>
          </a:solidFill>
          <a:effectLst/>
        </p:grpSpPr>
        <p:sp>
          <p:nvSpPr>
            <p:cNvPr id="95" name="Freeform 566"/>
            <p:cNvSpPr>
              <a:spLocks noChangeAspect="1"/>
            </p:cNvSpPr>
            <p:nvPr/>
          </p:nvSpPr>
          <p:spPr bwMode="auto">
            <a:xfrm>
              <a:off x="3757282" y="1309520"/>
              <a:ext cx="24" cy="22"/>
            </a:xfrm>
            <a:custGeom>
              <a:avLst/>
              <a:gdLst>
                <a:gd name="T0" fmla="*/ 30 w 35"/>
                <a:gd name="T1" fmla="*/ 0 h 37"/>
                <a:gd name="T2" fmla="*/ 16 w 35"/>
                <a:gd name="T3" fmla="*/ 9 h 37"/>
                <a:gd name="T4" fmla="*/ 0 w 35"/>
                <a:gd name="T5" fmla="*/ 24 h 37"/>
                <a:gd name="T6" fmla="*/ 2 w 35"/>
                <a:gd name="T7" fmla="*/ 37 h 37"/>
                <a:gd name="T8" fmla="*/ 11 w 35"/>
                <a:gd name="T9" fmla="*/ 37 h 37"/>
                <a:gd name="T10" fmla="*/ 35 w 35"/>
                <a:gd name="T11" fmla="*/ 19 h 37"/>
                <a:gd name="T12" fmla="*/ 30 w 35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30" y="0"/>
                  </a:moveTo>
                  <a:lnTo>
                    <a:pt x="16" y="9"/>
                  </a:lnTo>
                  <a:lnTo>
                    <a:pt x="0" y="24"/>
                  </a:lnTo>
                  <a:lnTo>
                    <a:pt x="2" y="37"/>
                  </a:lnTo>
                  <a:lnTo>
                    <a:pt x="11" y="37"/>
                  </a:lnTo>
                  <a:lnTo>
                    <a:pt x="35" y="19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96" name="Freeform 567"/>
            <p:cNvSpPr>
              <a:spLocks noChangeAspect="1"/>
            </p:cNvSpPr>
            <p:nvPr/>
          </p:nvSpPr>
          <p:spPr bwMode="auto">
            <a:xfrm>
              <a:off x="3757306" y="1308775"/>
              <a:ext cx="377" cy="793"/>
            </a:xfrm>
            <a:custGeom>
              <a:avLst/>
              <a:gdLst>
                <a:gd name="T0" fmla="*/ 151 w 553"/>
                <a:gd name="T1" fmla="*/ 1239 h 1281"/>
                <a:gd name="T2" fmla="*/ 118 w 553"/>
                <a:gd name="T3" fmla="*/ 1207 h 1281"/>
                <a:gd name="T4" fmla="*/ 75 w 553"/>
                <a:gd name="T5" fmla="*/ 1197 h 1281"/>
                <a:gd name="T6" fmla="*/ 75 w 553"/>
                <a:gd name="T7" fmla="*/ 1096 h 1281"/>
                <a:gd name="T8" fmla="*/ 56 w 553"/>
                <a:gd name="T9" fmla="*/ 1028 h 1281"/>
                <a:gd name="T10" fmla="*/ 52 w 553"/>
                <a:gd name="T11" fmla="*/ 975 h 1281"/>
                <a:gd name="T12" fmla="*/ 38 w 553"/>
                <a:gd name="T13" fmla="*/ 930 h 1281"/>
                <a:gd name="T14" fmla="*/ 66 w 553"/>
                <a:gd name="T15" fmla="*/ 883 h 1281"/>
                <a:gd name="T16" fmla="*/ 80 w 553"/>
                <a:gd name="T17" fmla="*/ 840 h 1281"/>
                <a:gd name="T18" fmla="*/ 136 w 553"/>
                <a:gd name="T19" fmla="*/ 788 h 1281"/>
                <a:gd name="T20" fmla="*/ 174 w 553"/>
                <a:gd name="T21" fmla="*/ 725 h 1281"/>
                <a:gd name="T22" fmla="*/ 201 w 553"/>
                <a:gd name="T23" fmla="*/ 672 h 1281"/>
                <a:gd name="T24" fmla="*/ 225 w 553"/>
                <a:gd name="T25" fmla="*/ 636 h 1281"/>
                <a:gd name="T26" fmla="*/ 229 w 553"/>
                <a:gd name="T27" fmla="*/ 599 h 1281"/>
                <a:gd name="T28" fmla="*/ 220 w 553"/>
                <a:gd name="T29" fmla="*/ 562 h 1281"/>
                <a:gd name="T30" fmla="*/ 193 w 553"/>
                <a:gd name="T31" fmla="*/ 546 h 1281"/>
                <a:gd name="T32" fmla="*/ 151 w 553"/>
                <a:gd name="T33" fmla="*/ 445 h 1281"/>
                <a:gd name="T34" fmla="*/ 155 w 553"/>
                <a:gd name="T35" fmla="*/ 361 h 1281"/>
                <a:gd name="T36" fmla="*/ 136 w 553"/>
                <a:gd name="T37" fmla="*/ 277 h 1281"/>
                <a:gd name="T38" fmla="*/ 103 w 553"/>
                <a:gd name="T39" fmla="*/ 223 h 1281"/>
                <a:gd name="T40" fmla="*/ 38 w 553"/>
                <a:gd name="T41" fmla="*/ 182 h 1281"/>
                <a:gd name="T42" fmla="*/ 14 w 553"/>
                <a:gd name="T43" fmla="*/ 139 h 1281"/>
                <a:gd name="T44" fmla="*/ 19 w 553"/>
                <a:gd name="T45" fmla="*/ 111 h 1281"/>
                <a:gd name="T46" fmla="*/ 61 w 553"/>
                <a:gd name="T47" fmla="*/ 135 h 1281"/>
                <a:gd name="T48" fmla="*/ 136 w 553"/>
                <a:gd name="T49" fmla="*/ 155 h 1281"/>
                <a:gd name="T50" fmla="*/ 165 w 553"/>
                <a:gd name="T51" fmla="*/ 176 h 1281"/>
                <a:gd name="T52" fmla="*/ 201 w 553"/>
                <a:gd name="T53" fmla="*/ 139 h 1281"/>
                <a:gd name="T54" fmla="*/ 225 w 553"/>
                <a:gd name="T55" fmla="*/ 111 h 1281"/>
                <a:gd name="T56" fmla="*/ 220 w 553"/>
                <a:gd name="T57" fmla="*/ 52 h 1281"/>
                <a:gd name="T58" fmla="*/ 258 w 553"/>
                <a:gd name="T59" fmla="*/ 27 h 1281"/>
                <a:gd name="T60" fmla="*/ 309 w 553"/>
                <a:gd name="T61" fmla="*/ 37 h 1281"/>
                <a:gd name="T62" fmla="*/ 309 w 553"/>
                <a:gd name="T63" fmla="*/ 84 h 1281"/>
                <a:gd name="T64" fmla="*/ 267 w 553"/>
                <a:gd name="T65" fmla="*/ 131 h 1281"/>
                <a:gd name="T66" fmla="*/ 314 w 553"/>
                <a:gd name="T67" fmla="*/ 121 h 1281"/>
                <a:gd name="T68" fmla="*/ 319 w 553"/>
                <a:gd name="T69" fmla="*/ 42 h 1281"/>
                <a:gd name="T70" fmla="*/ 347 w 553"/>
                <a:gd name="T71" fmla="*/ 89 h 1281"/>
                <a:gd name="T72" fmla="*/ 338 w 553"/>
                <a:gd name="T73" fmla="*/ 160 h 1281"/>
                <a:gd name="T74" fmla="*/ 375 w 553"/>
                <a:gd name="T75" fmla="*/ 223 h 1281"/>
                <a:gd name="T76" fmla="*/ 399 w 553"/>
                <a:gd name="T77" fmla="*/ 281 h 1281"/>
                <a:gd name="T78" fmla="*/ 403 w 553"/>
                <a:gd name="T79" fmla="*/ 371 h 1281"/>
                <a:gd name="T80" fmla="*/ 441 w 553"/>
                <a:gd name="T81" fmla="*/ 498 h 1281"/>
                <a:gd name="T82" fmla="*/ 455 w 553"/>
                <a:gd name="T83" fmla="*/ 636 h 1281"/>
                <a:gd name="T84" fmla="*/ 474 w 553"/>
                <a:gd name="T85" fmla="*/ 735 h 1281"/>
                <a:gd name="T86" fmla="*/ 529 w 553"/>
                <a:gd name="T87" fmla="*/ 803 h 1281"/>
                <a:gd name="T88" fmla="*/ 553 w 553"/>
                <a:gd name="T89" fmla="*/ 857 h 1281"/>
                <a:gd name="T90" fmla="*/ 526 w 553"/>
                <a:gd name="T91" fmla="*/ 964 h 1281"/>
                <a:gd name="T92" fmla="*/ 512 w 553"/>
                <a:gd name="T93" fmla="*/ 1022 h 1281"/>
                <a:gd name="T94" fmla="*/ 483 w 553"/>
                <a:gd name="T95" fmla="*/ 1055 h 1281"/>
                <a:gd name="T96" fmla="*/ 413 w 553"/>
                <a:gd name="T97" fmla="*/ 1133 h 1281"/>
                <a:gd name="T98" fmla="*/ 380 w 553"/>
                <a:gd name="T99" fmla="*/ 1170 h 1281"/>
                <a:gd name="T100" fmla="*/ 338 w 553"/>
                <a:gd name="T101" fmla="*/ 1192 h 1281"/>
                <a:gd name="T102" fmla="*/ 272 w 553"/>
                <a:gd name="T103" fmla="*/ 1213 h 1281"/>
                <a:gd name="T104" fmla="*/ 206 w 553"/>
                <a:gd name="T105" fmla="*/ 1244 h 1281"/>
                <a:gd name="T106" fmla="*/ 155 w 553"/>
                <a:gd name="T107" fmla="*/ 1281 h 1281"/>
                <a:gd name="connsiteX0" fmla="*/ 2803 w 10000"/>
                <a:gd name="connsiteY0" fmla="*/ 10000 h 10000"/>
                <a:gd name="connsiteX1" fmla="*/ 2731 w 10000"/>
                <a:gd name="connsiteY1" fmla="*/ 9672 h 10000"/>
                <a:gd name="connsiteX2" fmla="*/ 2387 w 10000"/>
                <a:gd name="connsiteY2" fmla="*/ 9500 h 10000"/>
                <a:gd name="connsiteX3" fmla="*/ 2134 w 10000"/>
                <a:gd name="connsiteY3" fmla="*/ 9422 h 10000"/>
                <a:gd name="connsiteX4" fmla="*/ 1700 w 10000"/>
                <a:gd name="connsiteY4" fmla="*/ 9344 h 10000"/>
                <a:gd name="connsiteX5" fmla="*/ 1356 w 10000"/>
                <a:gd name="connsiteY5" fmla="*/ 9344 h 10000"/>
                <a:gd name="connsiteX6" fmla="*/ 1193 w 10000"/>
                <a:gd name="connsiteY6" fmla="*/ 9180 h 10000"/>
                <a:gd name="connsiteX7" fmla="*/ 1356 w 10000"/>
                <a:gd name="connsiteY7" fmla="*/ 8556 h 10000"/>
                <a:gd name="connsiteX8" fmla="*/ 1284 w 10000"/>
                <a:gd name="connsiteY8" fmla="*/ 8189 h 10000"/>
                <a:gd name="connsiteX9" fmla="*/ 1013 w 10000"/>
                <a:gd name="connsiteY9" fmla="*/ 8025 h 10000"/>
                <a:gd name="connsiteX10" fmla="*/ 850 w 10000"/>
                <a:gd name="connsiteY10" fmla="*/ 7947 h 10000"/>
                <a:gd name="connsiteX11" fmla="*/ 940 w 10000"/>
                <a:gd name="connsiteY11" fmla="*/ 7611 h 10000"/>
                <a:gd name="connsiteX12" fmla="*/ 850 w 10000"/>
                <a:gd name="connsiteY12" fmla="*/ 7416 h 10000"/>
                <a:gd name="connsiteX13" fmla="*/ 687 w 10000"/>
                <a:gd name="connsiteY13" fmla="*/ 7260 h 10000"/>
                <a:gd name="connsiteX14" fmla="*/ 940 w 10000"/>
                <a:gd name="connsiteY14" fmla="*/ 6893 h 10000"/>
                <a:gd name="connsiteX15" fmla="*/ 1193 w 10000"/>
                <a:gd name="connsiteY15" fmla="*/ 6893 h 10000"/>
                <a:gd name="connsiteX16" fmla="*/ 1356 w 10000"/>
                <a:gd name="connsiteY16" fmla="*/ 6815 h 10000"/>
                <a:gd name="connsiteX17" fmla="*/ 1447 w 10000"/>
                <a:gd name="connsiteY17" fmla="*/ 6557 h 10000"/>
                <a:gd name="connsiteX18" fmla="*/ 1953 w 10000"/>
                <a:gd name="connsiteY18" fmla="*/ 6362 h 10000"/>
                <a:gd name="connsiteX19" fmla="*/ 2459 w 10000"/>
                <a:gd name="connsiteY19" fmla="*/ 6151 h 10000"/>
                <a:gd name="connsiteX20" fmla="*/ 2550 w 10000"/>
                <a:gd name="connsiteY20" fmla="*/ 5902 h 10000"/>
                <a:gd name="connsiteX21" fmla="*/ 3146 w 10000"/>
                <a:gd name="connsiteY21" fmla="*/ 5660 h 10000"/>
                <a:gd name="connsiteX22" fmla="*/ 3725 w 10000"/>
                <a:gd name="connsiteY22" fmla="*/ 5371 h 10000"/>
                <a:gd name="connsiteX23" fmla="*/ 3635 w 10000"/>
                <a:gd name="connsiteY23" fmla="*/ 5246 h 10000"/>
                <a:gd name="connsiteX24" fmla="*/ 3635 w 10000"/>
                <a:gd name="connsiteY24" fmla="*/ 5082 h 10000"/>
                <a:gd name="connsiteX25" fmla="*/ 4069 w 10000"/>
                <a:gd name="connsiteY25" fmla="*/ 4965 h 10000"/>
                <a:gd name="connsiteX26" fmla="*/ 4231 w 10000"/>
                <a:gd name="connsiteY26" fmla="*/ 4918 h 10000"/>
                <a:gd name="connsiteX27" fmla="*/ 4141 w 10000"/>
                <a:gd name="connsiteY27" fmla="*/ 4676 h 10000"/>
                <a:gd name="connsiteX28" fmla="*/ 4141 w 10000"/>
                <a:gd name="connsiteY28" fmla="*/ 4426 h 10000"/>
                <a:gd name="connsiteX29" fmla="*/ 3978 w 10000"/>
                <a:gd name="connsiteY29" fmla="*/ 4387 h 10000"/>
                <a:gd name="connsiteX30" fmla="*/ 3725 w 10000"/>
                <a:gd name="connsiteY30" fmla="*/ 4426 h 10000"/>
                <a:gd name="connsiteX31" fmla="*/ 3490 w 10000"/>
                <a:gd name="connsiteY31" fmla="*/ 4262 h 10000"/>
                <a:gd name="connsiteX32" fmla="*/ 3237 w 10000"/>
                <a:gd name="connsiteY32" fmla="*/ 3810 h 10000"/>
                <a:gd name="connsiteX33" fmla="*/ 2731 w 10000"/>
                <a:gd name="connsiteY33" fmla="*/ 3474 h 10000"/>
                <a:gd name="connsiteX34" fmla="*/ 2893 w 10000"/>
                <a:gd name="connsiteY34" fmla="*/ 3021 h 10000"/>
                <a:gd name="connsiteX35" fmla="*/ 2803 w 10000"/>
                <a:gd name="connsiteY35" fmla="*/ 2818 h 10000"/>
                <a:gd name="connsiteX36" fmla="*/ 2206 w 10000"/>
                <a:gd name="connsiteY36" fmla="*/ 2529 h 10000"/>
                <a:gd name="connsiteX37" fmla="*/ 2459 w 10000"/>
                <a:gd name="connsiteY37" fmla="*/ 2162 h 10000"/>
                <a:gd name="connsiteX38" fmla="*/ 2297 w 10000"/>
                <a:gd name="connsiteY38" fmla="*/ 1952 h 10000"/>
                <a:gd name="connsiteX39" fmla="*/ 1863 w 10000"/>
                <a:gd name="connsiteY39" fmla="*/ 1741 h 10000"/>
                <a:gd name="connsiteX40" fmla="*/ 1609 w 10000"/>
                <a:gd name="connsiteY40" fmla="*/ 1874 h 10000"/>
                <a:gd name="connsiteX41" fmla="*/ 687 w 10000"/>
                <a:gd name="connsiteY41" fmla="*/ 1421 h 10000"/>
                <a:gd name="connsiteX42" fmla="*/ 434 w 10000"/>
                <a:gd name="connsiteY42" fmla="*/ 1249 h 10000"/>
                <a:gd name="connsiteX43" fmla="*/ 253 w 10000"/>
                <a:gd name="connsiteY43" fmla="*/ 1085 h 10000"/>
                <a:gd name="connsiteX44" fmla="*/ 0 w 10000"/>
                <a:gd name="connsiteY44" fmla="*/ 1023 h 10000"/>
                <a:gd name="connsiteX45" fmla="*/ 344 w 10000"/>
                <a:gd name="connsiteY45" fmla="*/ 867 h 10000"/>
                <a:gd name="connsiteX46" fmla="*/ 850 w 10000"/>
                <a:gd name="connsiteY46" fmla="*/ 867 h 10000"/>
                <a:gd name="connsiteX47" fmla="*/ 1103 w 10000"/>
                <a:gd name="connsiteY47" fmla="*/ 1054 h 10000"/>
                <a:gd name="connsiteX48" fmla="*/ 1790 w 10000"/>
                <a:gd name="connsiteY48" fmla="*/ 1421 h 10000"/>
                <a:gd name="connsiteX49" fmla="*/ 2459 w 10000"/>
                <a:gd name="connsiteY49" fmla="*/ 1210 h 10000"/>
                <a:gd name="connsiteX50" fmla="*/ 2893 w 10000"/>
                <a:gd name="connsiteY50" fmla="*/ 1249 h 10000"/>
                <a:gd name="connsiteX51" fmla="*/ 2984 w 10000"/>
                <a:gd name="connsiteY51" fmla="*/ 1374 h 10000"/>
                <a:gd name="connsiteX52" fmla="*/ 3490 w 10000"/>
                <a:gd name="connsiteY52" fmla="*/ 1421 h 10000"/>
                <a:gd name="connsiteX53" fmla="*/ 3635 w 10000"/>
                <a:gd name="connsiteY53" fmla="*/ 1085 h 10000"/>
                <a:gd name="connsiteX54" fmla="*/ 3888 w 10000"/>
                <a:gd name="connsiteY54" fmla="*/ 984 h 10000"/>
                <a:gd name="connsiteX55" fmla="*/ 4069 w 10000"/>
                <a:gd name="connsiteY55" fmla="*/ 867 h 10000"/>
                <a:gd name="connsiteX56" fmla="*/ 4069 w 10000"/>
                <a:gd name="connsiteY56" fmla="*/ 742 h 10000"/>
                <a:gd name="connsiteX57" fmla="*/ 3978 w 10000"/>
                <a:gd name="connsiteY57" fmla="*/ 406 h 10000"/>
                <a:gd name="connsiteX58" fmla="*/ 4412 w 10000"/>
                <a:gd name="connsiteY58" fmla="*/ 211 h 10000"/>
                <a:gd name="connsiteX59" fmla="*/ 4665 w 10000"/>
                <a:gd name="connsiteY59" fmla="*/ 211 h 10000"/>
                <a:gd name="connsiteX60" fmla="*/ 5081 w 10000"/>
                <a:gd name="connsiteY60" fmla="*/ 0 h 10000"/>
                <a:gd name="connsiteX61" fmla="*/ 5588 w 10000"/>
                <a:gd name="connsiteY61" fmla="*/ 289 h 10000"/>
                <a:gd name="connsiteX62" fmla="*/ 5769 w 10000"/>
                <a:gd name="connsiteY62" fmla="*/ 406 h 10000"/>
                <a:gd name="connsiteX63" fmla="*/ 5588 w 10000"/>
                <a:gd name="connsiteY63" fmla="*/ 656 h 10000"/>
                <a:gd name="connsiteX64" fmla="*/ 5172 w 10000"/>
                <a:gd name="connsiteY64" fmla="*/ 820 h 10000"/>
                <a:gd name="connsiteX65" fmla="*/ 4828 w 10000"/>
                <a:gd name="connsiteY65" fmla="*/ 1023 h 10000"/>
                <a:gd name="connsiteX66" fmla="*/ 5604 w 10000"/>
                <a:gd name="connsiteY66" fmla="*/ 755 h 10000"/>
                <a:gd name="connsiteX67" fmla="*/ 5678 w 10000"/>
                <a:gd name="connsiteY67" fmla="*/ 945 h 10000"/>
                <a:gd name="connsiteX68" fmla="*/ 5678 w 10000"/>
                <a:gd name="connsiteY68" fmla="*/ 695 h 10000"/>
                <a:gd name="connsiteX69" fmla="*/ 5769 w 10000"/>
                <a:gd name="connsiteY69" fmla="*/ 328 h 10000"/>
                <a:gd name="connsiteX70" fmla="*/ 6022 w 10000"/>
                <a:gd name="connsiteY70" fmla="*/ 242 h 10000"/>
                <a:gd name="connsiteX71" fmla="*/ 6275 w 10000"/>
                <a:gd name="connsiteY71" fmla="*/ 695 h 10000"/>
                <a:gd name="connsiteX72" fmla="*/ 6275 w 10000"/>
                <a:gd name="connsiteY72" fmla="*/ 1085 h 10000"/>
                <a:gd name="connsiteX73" fmla="*/ 6112 w 10000"/>
                <a:gd name="connsiteY73" fmla="*/ 1249 h 10000"/>
                <a:gd name="connsiteX74" fmla="*/ 6112 w 10000"/>
                <a:gd name="connsiteY74" fmla="*/ 1499 h 10000"/>
                <a:gd name="connsiteX75" fmla="*/ 6781 w 10000"/>
                <a:gd name="connsiteY75" fmla="*/ 1741 h 10000"/>
                <a:gd name="connsiteX76" fmla="*/ 6781 w 10000"/>
                <a:gd name="connsiteY76" fmla="*/ 1905 h 10000"/>
                <a:gd name="connsiteX77" fmla="*/ 7215 w 10000"/>
                <a:gd name="connsiteY77" fmla="*/ 2194 h 10000"/>
                <a:gd name="connsiteX78" fmla="*/ 7378 w 10000"/>
                <a:gd name="connsiteY78" fmla="*/ 2404 h 10000"/>
                <a:gd name="connsiteX79" fmla="*/ 7288 w 10000"/>
                <a:gd name="connsiteY79" fmla="*/ 2896 h 10000"/>
                <a:gd name="connsiteX80" fmla="*/ 7559 w 10000"/>
                <a:gd name="connsiteY80" fmla="*/ 3443 h 10000"/>
                <a:gd name="connsiteX81" fmla="*/ 7975 w 10000"/>
                <a:gd name="connsiteY81" fmla="*/ 3888 h 10000"/>
                <a:gd name="connsiteX82" fmla="*/ 7884 w 10000"/>
                <a:gd name="connsiteY82" fmla="*/ 4551 h 10000"/>
                <a:gd name="connsiteX83" fmla="*/ 8228 w 10000"/>
                <a:gd name="connsiteY83" fmla="*/ 4965 h 10000"/>
                <a:gd name="connsiteX84" fmla="*/ 8409 w 10000"/>
                <a:gd name="connsiteY84" fmla="*/ 5129 h 10000"/>
                <a:gd name="connsiteX85" fmla="*/ 8571 w 10000"/>
                <a:gd name="connsiteY85" fmla="*/ 5738 h 10000"/>
                <a:gd name="connsiteX86" fmla="*/ 8734 w 10000"/>
                <a:gd name="connsiteY86" fmla="*/ 5995 h 10000"/>
                <a:gd name="connsiteX87" fmla="*/ 9566 w 10000"/>
                <a:gd name="connsiteY87" fmla="*/ 6269 h 10000"/>
                <a:gd name="connsiteX88" fmla="*/ 10000 w 10000"/>
                <a:gd name="connsiteY88" fmla="*/ 6526 h 10000"/>
                <a:gd name="connsiteX89" fmla="*/ 10000 w 10000"/>
                <a:gd name="connsiteY89" fmla="*/ 6690 h 10000"/>
                <a:gd name="connsiteX90" fmla="*/ 9656 w 10000"/>
                <a:gd name="connsiteY90" fmla="*/ 7447 h 10000"/>
                <a:gd name="connsiteX91" fmla="*/ 9512 w 10000"/>
                <a:gd name="connsiteY91" fmla="*/ 7525 h 10000"/>
                <a:gd name="connsiteX92" fmla="*/ 9656 w 10000"/>
                <a:gd name="connsiteY92" fmla="*/ 7689 h 10000"/>
                <a:gd name="connsiteX93" fmla="*/ 9259 w 10000"/>
                <a:gd name="connsiteY93" fmla="*/ 7978 h 10000"/>
                <a:gd name="connsiteX94" fmla="*/ 8734 w 10000"/>
                <a:gd name="connsiteY94" fmla="*/ 8103 h 10000"/>
                <a:gd name="connsiteX95" fmla="*/ 8734 w 10000"/>
                <a:gd name="connsiteY95" fmla="*/ 8236 h 10000"/>
                <a:gd name="connsiteX96" fmla="*/ 7975 w 10000"/>
                <a:gd name="connsiteY96" fmla="*/ 8728 h 10000"/>
                <a:gd name="connsiteX97" fmla="*/ 7468 w 10000"/>
                <a:gd name="connsiteY97" fmla="*/ 8845 h 10000"/>
                <a:gd name="connsiteX98" fmla="*/ 7378 w 10000"/>
                <a:gd name="connsiteY98" fmla="*/ 9133 h 10000"/>
                <a:gd name="connsiteX99" fmla="*/ 6872 w 10000"/>
                <a:gd name="connsiteY99" fmla="*/ 9133 h 10000"/>
                <a:gd name="connsiteX100" fmla="*/ 6618 w 10000"/>
                <a:gd name="connsiteY100" fmla="*/ 9227 h 10000"/>
                <a:gd name="connsiteX101" fmla="*/ 6112 w 10000"/>
                <a:gd name="connsiteY101" fmla="*/ 9305 h 10000"/>
                <a:gd name="connsiteX102" fmla="*/ 5425 w 10000"/>
                <a:gd name="connsiteY102" fmla="*/ 9258 h 10000"/>
                <a:gd name="connsiteX103" fmla="*/ 4919 w 10000"/>
                <a:gd name="connsiteY103" fmla="*/ 9469 h 10000"/>
                <a:gd name="connsiteX104" fmla="*/ 4322 w 10000"/>
                <a:gd name="connsiteY104" fmla="*/ 9633 h 10000"/>
                <a:gd name="connsiteX105" fmla="*/ 3725 w 10000"/>
                <a:gd name="connsiteY105" fmla="*/ 9711 h 10000"/>
                <a:gd name="connsiteX106" fmla="*/ 3291 w 10000"/>
                <a:gd name="connsiteY106" fmla="*/ 9883 h 10000"/>
                <a:gd name="connsiteX107" fmla="*/ 2803 w 10000"/>
                <a:gd name="connsiteY107" fmla="*/ 10000 h 10000"/>
                <a:gd name="connsiteX0" fmla="*/ 2803 w 10000"/>
                <a:gd name="connsiteY0" fmla="*/ 10000 h 10000"/>
                <a:gd name="connsiteX1" fmla="*/ 2731 w 10000"/>
                <a:gd name="connsiteY1" fmla="*/ 9672 h 10000"/>
                <a:gd name="connsiteX2" fmla="*/ 2387 w 10000"/>
                <a:gd name="connsiteY2" fmla="*/ 9500 h 10000"/>
                <a:gd name="connsiteX3" fmla="*/ 2134 w 10000"/>
                <a:gd name="connsiteY3" fmla="*/ 9422 h 10000"/>
                <a:gd name="connsiteX4" fmla="*/ 1700 w 10000"/>
                <a:gd name="connsiteY4" fmla="*/ 9344 h 10000"/>
                <a:gd name="connsiteX5" fmla="*/ 1356 w 10000"/>
                <a:gd name="connsiteY5" fmla="*/ 9344 h 10000"/>
                <a:gd name="connsiteX6" fmla="*/ 1193 w 10000"/>
                <a:gd name="connsiteY6" fmla="*/ 9180 h 10000"/>
                <a:gd name="connsiteX7" fmla="*/ 1356 w 10000"/>
                <a:gd name="connsiteY7" fmla="*/ 8556 h 10000"/>
                <a:gd name="connsiteX8" fmla="*/ 1284 w 10000"/>
                <a:gd name="connsiteY8" fmla="*/ 8189 h 10000"/>
                <a:gd name="connsiteX9" fmla="*/ 1013 w 10000"/>
                <a:gd name="connsiteY9" fmla="*/ 8025 h 10000"/>
                <a:gd name="connsiteX10" fmla="*/ 850 w 10000"/>
                <a:gd name="connsiteY10" fmla="*/ 7947 h 10000"/>
                <a:gd name="connsiteX11" fmla="*/ 940 w 10000"/>
                <a:gd name="connsiteY11" fmla="*/ 7611 h 10000"/>
                <a:gd name="connsiteX12" fmla="*/ 850 w 10000"/>
                <a:gd name="connsiteY12" fmla="*/ 7416 h 10000"/>
                <a:gd name="connsiteX13" fmla="*/ 687 w 10000"/>
                <a:gd name="connsiteY13" fmla="*/ 7260 h 10000"/>
                <a:gd name="connsiteX14" fmla="*/ 940 w 10000"/>
                <a:gd name="connsiteY14" fmla="*/ 6893 h 10000"/>
                <a:gd name="connsiteX15" fmla="*/ 1193 w 10000"/>
                <a:gd name="connsiteY15" fmla="*/ 6893 h 10000"/>
                <a:gd name="connsiteX16" fmla="*/ 1356 w 10000"/>
                <a:gd name="connsiteY16" fmla="*/ 6815 h 10000"/>
                <a:gd name="connsiteX17" fmla="*/ 1447 w 10000"/>
                <a:gd name="connsiteY17" fmla="*/ 6557 h 10000"/>
                <a:gd name="connsiteX18" fmla="*/ 1953 w 10000"/>
                <a:gd name="connsiteY18" fmla="*/ 6362 h 10000"/>
                <a:gd name="connsiteX19" fmla="*/ 2459 w 10000"/>
                <a:gd name="connsiteY19" fmla="*/ 6151 h 10000"/>
                <a:gd name="connsiteX20" fmla="*/ 2550 w 10000"/>
                <a:gd name="connsiteY20" fmla="*/ 5902 h 10000"/>
                <a:gd name="connsiteX21" fmla="*/ 3146 w 10000"/>
                <a:gd name="connsiteY21" fmla="*/ 5660 h 10000"/>
                <a:gd name="connsiteX22" fmla="*/ 3725 w 10000"/>
                <a:gd name="connsiteY22" fmla="*/ 5371 h 10000"/>
                <a:gd name="connsiteX23" fmla="*/ 3635 w 10000"/>
                <a:gd name="connsiteY23" fmla="*/ 5246 h 10000"/>
                <a:gd name="connsiteX24" fmla="*/ 3635 w 10000"/>
                <a:gd name="connsiteY24" fmla="*/ 5082 h 10000"/>
                <a:gd name="connsiteX25" fmla="*/ 4069 w 10000"/>
                <a:gd name="connsiteY25" fmla="*/ 4965 h 10000"/>
                <a:gd name="connsiteX26" fmla="*/ 4231 w 10000"/>
                <a:gd name="connsiteY26" fmla="*/ 4918 h 10000"/>
                <a:gd name="connsiteX27" fmla="*/ 4141 w 10000"/>
                <a:gd name="connsiteY27" fmla="*/ 4676 h 10000"/>
                <a:gd name="connsiteX28" fmla="*/ 4141 w 10000"/>
                <a:gd name="connsiteY28" fmla="*/ 4426 h 10000"/>
                <a:gd name="connsiteX29" fmla="*/ 3978 w 10000"/>
                <a:gd name="connsiteY29" fmla="*/ 4387 h 10000"/>
                <a:gd name="connsiteX30" fmla="*/ 3725 w 10000"/>
                <a:gd name="connsiteY30" fmla="*/ 4426 h 10000"/>
                <a:gd name="connsiteX31" fmla="*/ 3490 w 10000"/>
                <a:gd name="connsiteY31" fmla="*/ 4262 h 10000"/>
                <a:gd name="connsiteX32" fmla="*/ 3237 w 10000"/>
                <a:gd name="connsiteY32" fmla="*/ 3810 h 10000"/>
                <a:gd name="connsiteX33" fmla="*/ 2731 w 10000"/>
                <a:gd name="connsiteY33" fmla="*/ 3474 h 10000"/>
                <a:gd name="connsiteX34" fmla="*/ 2893 w 10000"/>
                <a:gd name="connsiteY34" fmla="*/ 3021 h 10000"/>
                <a:gd name="connsiteX35" fmla="*/ 2803 w 10000"/>
                <a:gd name="connsiteY35" fmla="*/ 2818 h 10000"/>
                <a:gd name="connsiteX36" fmla="*/ 2206 w 10000"/>
                <a:gd name="connsiteY36" fmla="*/ 2529 h 10000"/>
                <a:gd name="connsiteX37" fmla="*/ 2459 w 10000"/>
                <a:gd name="connsiteY37" fmla="*/ 2162 h 10000"/>
                <a:gd name="connsiteX38" fmla="*/ 2297 w 10000"/>
                <a:gd name="connsiteY38" fmla="*/ 1952 h 10000"/>
                <a:gd name="connsiteX39" fmla="*/ 1863 w 10000"/>
                <a:gd name="connsiteY39" fmla="*/ 1741 h 10000"/>
                <a:gd name="connsiteX40" fmla="*/ 1609 w 10000"/>
                <a:gd name="connsiteY40" fmla="*/ 1874 h 10000"/>
                <a:gd name="connsiteX41" fmla="*/ 687 w 10000"/>
                <a:gd name="connsiteY41" fmla="*/ 1421 h 10000"/>
                <a:gd name="connsiteX42" fmla="*/ 434 w 10000"/>
                <a:gd name="connsiteY42" fmla="*/ 1249 h 10000"/>
                <a:gd name="connsiteX43" fmla="*/ 253 w 10000"/>
                <a:gd name="connsiteY43" fmla="*/ 1085 h 10000"/>
                <a:gd name="connsiteX44" fmla="*/ 0 w 10000"/>
                <a:gd name="connsiteY44" fmla="*/ 1023 h 10000"/>
                <a:gd name="connsiteX45" fmla="*/ 344 w 10000"/>
                <a:gd name="connsiteY45" fmla="*/ 867 h 10000"/>
                <a:gd name="connsiteX46" fmla="*/ 850 w 10000"/>
                <a:gd name="connsiteY46" fmla="*/ 867 h 10000"/>
                <a:gd name="connsiteX47" fmla="*/ 1103 w 10000"/>
                <a:gd name="connsiteY47" fmla="*/ 1054 h 10000"/>
                <a:gd name="connsiteX48" fmla="*/ 1790 w 10000"/>
                <a:gd name="connsiteY48" fmla="*/ 1421 h 10000"/>
                <a:gd name="connsiteX49" fmla="*/ 2459 w 10000"/>
                <a:gd name="connsiteY49" fmla="*/ 1210 h 10000"/>
                <a:gd name="connsiteX50" fmla="*/ 2893 w 10000"/>
                <a:gd name="connsiteY50" fmla="*/ 1249 h 10000"/>
                <a:gd name="connsiteX51" fmla="*/ 2984 w 10000"/>
                <a:gd name="connsiteY51" fmla="*/ 1374 h 10000"/>
                <a:gd name="connsiteX52" fmla="*/ 3490 w 10000"/>
                <a:gd name="connsiteY52" fmla="*/ 1421 h 10000"/>
                <a:gd name="connsiteX53" fmla="*/ 3635 w 10000"/>
                <a:gd name="connsiteY53" fmla="*/ 1085 h 10000"/>
                <a:gd name="connsiteX54" fmla="*/ 3888 w 10000"/>
                <a:gd name="connsiteY54" fmla="*/ 984 h 10000"/>
                <a:gd name="connsiteX55" fmla="*/ 4069 w 10000"/>
                <a:gd name="connsiteY55" fmla="*/ 867 h 10000"/>
                <a:gd name="connsiteX56" fmla="*/ 4069 w 10000"/>
                <a:gd name="connsiteY56" fmla="*/ 742 h 10000"/>
                <a:gd name="connsiteX57" fmla="*/ 3978 w 10000"/>
                <a:gd name="connsiteY57" fmla="*/ 406 h 10000"/>
                <a:gd name="connsiteX58" fmla="*/ 4412 w 10000"/>
                <a:gd name="connsiteY58" fmla="*/ 211 h 10000"/>
                <a:gd name="connsiteX59" fmla="*/ 4665 w 10000"/>
                <a:gd name="connsiteY59" fmla="*/ 211 h 10000"/>
                <a:gd name="connsiteX60" fmla="*/ 5081 w 10000"/>
                <a:gd name="connsiteY60" fmla="*/ 0 h 10000"/>
                <a:gd name="connsiteX61" fmla="*/ 5588 w 10000"/>
                <a:gd name="connsiteY61" fmla="*/ 289 h 10000"/>
                <a:gd name="connsiteX62" fmla="*/ 5769 w 10000"/>
                <a:gd name="connsiteY62" fmla="*/ 406 h 10000"/>
                <a:gd name="connsiteX63" fmla="*/ 5588 w 10000"/>
                <a:gd name="connsiteY63" fmla="*/ 656 h 10000"/>
                <a:gd name="connsiteX64" fmla="*/ 5172 w 10000"/>
                <a:gd name="connsiteY64" fmla="*/ 820 h 10000"/>
                <a:gd name="connsiteX65" fmla="*/ 5741 w 10000"/>
                <a:gd name="connsiteY65" fmla="*/ 659 h 10000"/>
                <a:gd name="connsiteX66" fmla="*/ 5604 w 10000"/>
                <a:gd name="connsiteY66" fmla="*/ 755 h 10000"/>
                <a:gd name="connsiteX67" fmla="*/ 5678 w 10000"/>
                <a:gd name="connsiteY67" fmla="*/ 945 h 10000"/>
                <a:gd name="connsiteX68" fmla="*/ 5678 w 10000"/>
                <a:gd name="connsiteY68" fmla="*/ 695 h 10000"/>
                <a:gd name="connsiteX69" fmla="*/ 5769 w 10000"/>
                <a:gd name="connsiteY69" fmla="*/ 328 h 10000"/>
                <a:gd name="connsiteX70" fmla="*/ 6022 w 10000"/>
                <a:gd name="connsiteY70" fmla="*/ 242 h 10000"/>
                <a:gd name="connsiteX71" fmla="*/ 6275 w 10000"/>
                <a:gd name="connsiteY71" fmla="*/ 695 h 10000"/>
                <a:gd name="connsiteX72" fmla="*/ 6275 w 10000"/>
                <a:gd name="connsiteY72" fmla="*/ 1085 h 10000"/>
                <a:gd name="connsiteX73" fmla="*/ 6112 w 10000"/>
                <a:gd name="connsiteY73" fmla="*/ 1249 h 10000"/>
                <a:gd name="connsiteX74" fmla="*/ 6112 w 10000"/>
                <a:gd name="connsiteY74" fmla="*/ 1499 h 10000"/>
                <a:gd name="connsiteX75" fmla="*/ 6781 w 10000"/>
                <a:gd name="connsiteY75" fmla="*/ 1741 h 10000"/>
                <a:gd name="connsiteX76" fmla="*/ 6781 w 10000"/>
                <a:gd name="connsiteY76" fmla="*/ 1905 h 10000"/>
                <a:gd name="connsiteX77" fmla="*/ 7215 w 10000"/>
                <a:gd name="connsiteY77" fmla="*/ 2194 h 10000"/>
                <a:gd name="connsiteX78" fmla="*/ 7378 w 10000"/>
                <a:gd name="connsiteY78" fmla="*/ 2404 h 10000"/>
                <a:gd name="connsiteX79" fmla="*/ 7288 w 10000"/>
                <a:gd name="connsiteY79" fmla="*/ 2896 h 10000"/>
                <a:gd name="connsiteX80" fmla="*/ 7559 w 10000"/>
                <a:gd name="connsiteY80" fmla="*/ 3443 h 10000"/>
                <a:gd name="connsiteX81" fmla="*/ 7975 w 10000"/>
                <a:gd name="connsiteY81" fmla="*/ 3888 h 10000"/>
                <a:gd name="connsiteX82" fmla="*/ 7884 w 10000"/>
                <a:gd name="connsiteY82" fmla="*/ 4551 h 10000"/>
                <a:gd name="connsiteX83" fmla="*/ 8228 w 10000"/>
                <a:gd name="connsiteY83" fmla="*/ 4965 h 10000"/>
                <a:gd name="connsiteX84" fmla="*/ 8409 w 10000"/>
                <a:gd name="connsiteY84" fmla="*/ 5129 h 10000"/>
                <a:gd name="connsiteX85" fmla="*/ 8571 w 10000"/>
                <a:gd name="connsiteY85" fmla="*/ 5738 h 10000"/>
                <a:gd name="connsiteX86" fmla="*/ 8734 w 10000"/>
                <a:gd name="connsiteY86" fmla="*/ 5995 h 10000"/>
                <a:gd name="connsiteX87" fmla="*/ 9566 w 10000"/>
                <a:gd name="connsiteY87" fmla="*/ 6269 h 10000"/>
                <a:gd name="connsiteX88" fmla="*/ 10000 w 10000"/>
                <a:gd name="connsiteY88" fmla="*/ 6526 h 10000"/>
                <a:gd name="connsiteX89" fmla="*/ 10000 w 10000"/>
                <a:gd name="connsiteY89" fmla="*/ 6690 h 10000"/>
                <a:gd name="connsiteX90" fmla="*/ 9656 w 10000"/>
                <a:gd name="connsiteY90" fmla="*/ 7447 h 10000"/>
                <a:gd name="connsiteX91" fmla="*/ 9512 w 10000"/>
                <a:gd name="connsiteY91" fmla="*/ 7525 h 10000"/>
                <a:gd name="connsiteX92" fmla="*/ 9656 w 10000"/>
                <a:gd name="connsiteY92" fmla="*/ 7689 h 10000"/>
                <a:gd name="connsiteX93" fmla="*/ 9259 w 10000"/>
                <a:gd name="connsiteY93" fmla="*/ 7978 h 10000"/>
                <a:gd name="connsiteX94" fmla="*/ 8734 w 10000"/>
                <a:gd name="connsiteY94" fmla="*/ 8103 h 10000"/>
                <a:gd name="connsiteX95" fmla="*/ 8734 w 10000"/>
                <a:gd name="connsiteY95" fmla="*/ 8236 h 10000"/>
                <a:gd name="connsiteX96" fmla="*/ 7975 w 10000"/>
                <a:gd name="connsiteY96" fmla="*/ 8728 h 10000"/>
                <a:gd name="connsiteX97" fmla="*/ 7468 w 10000"/>
                <a:gd name="connsiteY97" fmla="*/ 8845 h 10000"/>
                <a:gd name="connsiteX98" fmla="*/ 7378 w 10000"/>
                <a:gd name="connsiteY98" fmla="*/ 9133 h 10000"/>
                <a:gd name="connsiteX99" fmla="*/ 6872 w 10000"/>
                <a:gd name="connsiteY99" fmla="*/ 9133 h 10000"/>
                <a:gd name="connsiteX100" fmla="*/ 6618 w 10000"/>
                <a:gd name="connsiteY100" fmla="*/ 9227 h 10000"/>
                <a:gd name="connsiteX101" fmla="*/ 6112 w 10000"/>
                <a:gd name="connsiteY101" fmla="*/ 9305 h 10000"/>
                <a:gd name="connsiteX102" fmla="*/ 5425 w 10000"/>
                <a:gd name="connsiteY102" fmla="*/ 9258 h 10000"/>
                <a:gd name="connsiteX103" fmla="*/ 4919 w 10000"/>
                <a:gd name="connsiteY103" fmla="*/ 9469 h 10000"/>
                <a:gd name="connsiteX104" fmla="*/ 4322 w 10000"/>
                <a:gd name="connsiteY104" fmla="*/ 9633 h 10000"/>
                <a:gd name="connsiteX105" fmla="*/ 3725 w 10000"/>
                <a:gd name="connsiteY105" fmla="*/ 9711 h 10000"/>
                <a:gd name="connsiteX106" fmla="*/ 3291 w 10000"/>
                <a:gd name="connsiteY106" fmla="*/ 9883 h 10000"/>
                <a:gd name="connsiteX107" fmla="*/ 2803 w 10000"/>
                <a:gd name="connsiteY107" fmla="*/ 10000 h 10000"/>
                <a:gd name="connsiteX0" fmla="*/ 2803 w 10000"/>
                <a:gd name="connsiteY0" fmla="*/ 10000 h 10000"/>
                <a:gd name="connsiteX1" fmla="*/ 2731 w 10000"/>
                <a:gd name="connsiteY1" fmla="*/ 9672 h 10000"/>
                <a:gd name="connsiteX2" fmla="*/ 2387 w 10000"/>
                <a:gd name="connsiteY2" fmla="*/ 9500 h 10000"/>
                <a:gd name="connsiteX3" fmla="*/ 2134 w 10000"/>
                <a:gd name="connsiteY3" fmla="*/ 9422 h 10000"/>
                <a:gd name="connsiteX4" fmla="*/ 1700 w 10000"/>
                <a:gd name="connsiteY4" fmla="*/ 9344 h 10000"/>
                <a:gd name="connsiteX5" fmla="*/ 1356 w 10000"/>
                <a:gd name="connsiteY5" fmla="*/ 9344 h 10000"/>
                <a:gd name="connsiteX6" fmla="*/ 1193 w 10000"/>
                <a:gd name="connsiteY6" fmla="*/ 9180 h 10000"/>
                <a:gd name="connsiteX7" fmla="*/ 1356 w 10000"/>
                <a:gd name="connsiteY7" fmla="*/ 8556 h 10000"/>
                <a:gd name="connsiteX8" fmla="*/ 1284 w 10000"/>
                <a:gd name="connsiteY8" fmla="*/ 8189 h 10000"/>
                <a:gd name="connsiteX9" fmla="*/ 1013 w 10000"/>
                <a:gd name="connsiteY9" fmla="*/ 8025 h 10000"/>
                <a:gd name="connsiteX10" fmla="*/ 850 w 10000"/>
                <a:gd name="connsiteY10" fmla="*/ 7947 h 10000"/>
                <a:gd name="connsiteX11" fmla="*/ 940 w 10000"/>
                <a:gd name="connsiteY11" fmla="*/ 7611 h 10000"/>
                <a:gd name="connsiteX12" fmla="*/ 850 w 10000"/>
                <a:gd name="connsiteY12" fmla="*/ 7416 h 10000"/>
                <a:gd name="connsiteX13" fmla="*/ 687 w 10000"/>
                <a:gd name="connsiteY13" fmla="*/ 7260 h 10000"/>
                <a:gd name="connsiteX14" fmla="*/ 940 w 10000"/>
                <a:gd name="connsiteY14" fmla="*/ 6893 h 10000"/>
                <a:gd name="connsiteX15" fmla="*/ 1193 w 10000"/>
                <a:gd name="connsiteY15" fmla="*/ 6893 h 10000"/>
                <a:gd name="connsiteX16" fmla="*/ 1356 w 10000"/>
                <a:gd name="connsiteY16" fmla="*/ 6815 h 10000"/>
                <a:gd name="connsiteX17" fmla="*/ 1447 w 10000"/>
                <a:gd name="connsiteY17" fmla="*/ 6557 h 10000"/>
                <a:gd name="connsiteX18" fmla="*/ 1953 w 10000"/>
                <a:gd name="connsiteY18" fmla="*/ 6362 h 10000"/>
                <a:gd name="connsiteX19" fmla="*/ 2459 w 10000"/>
                <a:gd name="connsiteY19" fmla="*/ 6151 h 10000"/>
                <a:gd name="connsiteX20" fmla="*/ 2550 w 10000"/>
                <a:gd name="connsiteY20" fmla="*/ 5902 h 10000"/>
                <a:gd name="connsiteX21" fmla="*/ 3146 w 10000"/>
                <a:gd name="connsiteY21" fmla="*/ 5660 h 10000"/>
                <a:gd name="connsiteX22" fmla="*/ 3725 w 10000"/>
                <a:gd name="connsiteY22" fmla="*/ 5371 h 10000"/>
                <a:gd name="connsiteX23" fmla="*/ 3635 w 10000"/>
                <a:gd name="connsiteY23" fmla="*/ 5246 h 10000"/>
                <a:gd name="connsiteX24" fmla="*/ 3635 w 10000"/>
                <a:gd name="connsiteY24" fmla="*/ 5082 h 10000"/>
                <a:gd name="connsiteX25" fmla="*/ 4069 w 10000"/>
                <a:gd name="connsiteY25" fmla="*/ 4965 h 10000"/>
                <a:gd name="connsiteX26" fmla="*/ 4231 w 10000"/>
                <a:gd name="connsiteY26" fmla="*/ 4918 h 10000"/>
                <a:gd name="connsiteX27" fmla="*/ 4141 w 10000"/>
                <a:gd name="connsiteY27" fmla="*/ 4676 h 10000"/>
                <a:gd name="connsiteX28" fmla="*/ 4141 w 10000"/>
                <a:gd name="connsiteY28" fmla="*/ 4426 h 10000"/>
                <a:gd name="connsiteX29" fmla="*/ 3978 w 10000"/>
                <a:gd name="connsiteY29" fmla="*/ 4387 h 10000"/>
                <a:gd name="connsiteX30" fmla="*/ 3725 w 10000"/>
                <a:gd name="connsiteY30" fmla="*/ 4426 h 10000"/>
                <a:gd name="connsiteX31" fmla="*/ 3490 w 10000"/>
                <a:gd name="connsiteY31" fmla="*/ 4262 h 10000"/>
                <a:gd name="connsiteX32" fmla="*/ 3237 w 10000"/>
                <a:gd name="connsiteY32" fmla="*/ 3810 h 10000"/>
                <a:gd name="connsiteX33" fmla="*/ 2731 w 10000"/>
                <a:gd name="connsiteY33" fmla="*/ 3474 h 10000"/>
                <a:gd name="connsiteX34" fmla="*/ 2893 w 10000"/>
                <a:gd name="connsiteY34" fmla="*/ 3021 h 10000"/>
                <a:gd name="connsiteX35" fmla="*/ 2803 w 10000"/>
                <a:gd name="connsiteY35" fmla="*/ 2818 h 10000"/>
                <a:gd name="connsiteX36" fmla="*/ 2206 w 10000"/>
                <a:gd name="connsiteY36" fmla="*/ 2529 h 10000"/>
                <a:gd name="connsiteX37" fmla="*/ 2459 w 10000"/>
                <a:gd name="connsiteY37" fmla="*/ 2162 h 10000"/>
                <a:gd name="connsiteX38" fmla="*/ 2297 w 10000"/>
                <a:gd name="connsiteY38" fmla="*/ 1952 h 10000"/>
                <a:gd name="connsiteX39" fmla="*/ 1863 w 10000"/>
                <a:gd name="connsiteY39" fmla="*/ 1741 h 10000"/>
                <a:gd name="connsiteX40" fmla="*/ 1609 w 10000"/>
                <a:gd name="connsiteY40" fmla="*/ 1874 h 10000"/>
                <a:gd name="connsiteX41" fmla="*/ 687 w 10000"/>
                <a:gd name="connsiteY41" fmla="*/ 1421 h 10000"/>
                <a:gd name="connsiteX42" fmla="*/ 434 w 10000"/>
                <a:gd name="connsiteY42" fmla="*/ 1249 h 10000"/>
                <a:gd name="connsiteX43" fmla="*/ 253 w 10000"/>
                <a:gd name="connsiteY43" fmla="*/ 1085 h 10000"/>
                <a:gd name="connsiteX44" fmla="*/ 0 w 10000"/>
                <a:gd name="connsiteY44" fmla="*/ 1023 h 10000"/>
                <a:gd name="connsiteX45" fmla="*/ 344 w 10000"/>
                <a:gd name="connsiteY45" fmla="*/ 867 h 10000"/>
                <a:gd name="connsiteX46" fmla="*/ 850 w 10000"/>
                <a:gd name="connsiteY46" fmla="*/ 867 h 10000"/>
                <a:gd name="connsiteX47" fmla="*/ 1103 w 10000"/>
                <a:gd name="connsiteY47" fmla="*/ 1054 h 10000"/>
                <a:gd name="connsiteX48" fmla="*/ 1790 w 10000"/>
                <a:gd name="connsiteY48" fmla="*/ 1421 h 10000"/>
                <a:gd name="connsiteX49" fmla="*/ 2459 w 10000"/>
                <a:gd name="connsiteY49" fmla="*/ 1210 h 10000"/>
                <a:gd name="connsiteX50" fmla="*/ 2893 w 10000"/>
                <a:gd name="connsiteY50" fmla="*/ 1249 h 10000"/>
                <a:gd name="connsiteX51" fmla="*/ 2984 w 10000"/>
                <a:gd name="connsiteY51" fmla="*/ 1374 h 10000"/>
                <a:gd name="connsiteX52" fmla="*/ 3490 w 10000"/>
                <a:gd name="connsiteY52" fmla="*/ 1421 h 10000"/>
                <a:gd name="connsiteX53" fmla="*/ 3635 w 10000"/>
                <a:gd name="connsiteY53" fmla="*/ 1085 h 10000"/>
                <a:gd name="connsiteX54" fmla="*/ 3888 w 10000"/>
                <a:gd name="connsiteY54" fmla="*/ 984 h 10000"/>
                <a:gd name="connsiteX55" fmla="*/ 4069 w 10000"/>
                <a:gd name="connsiteY55" fmla="*/ 867 h 10000"/>
                <a:gd name="connsiteX56" fmla="*/ 4069 w 10000"/>
                <a:gd name="connsiteY56" fmla="*/ 742 h 10000"/>
                <a:gd name="connsiteX57" fmla="*/ 3978 w 10000"/>
                <a:gd name="connsiteY57" fmla="*/ 406 h 10000"/>
                <a:gd name="connsiteX58" fmla="*/ 4412 w 10000"/>
                <a:gd name="connsiteY58" fmla="*/ 211 h 10000"/>
                <a:gd name="connsiteX59" fmla="*/ 4665 w 10000"/>
                <a:gd name="connsiteY59" fmla="*/ 211 h 10000"/>
                <a:gd name="connsiteX60" fmla="*/ 5081 w 10000"/>
                <a:gd name="connsiteY60" fmla="*/ 0 h 10000"/>
                <a:gd name="connsiteX61" fmla="*/ 5588 w 10000"/>
                <a:gd name="connsiteY61" fmla="*/ 289 h 10000"/>
                <a:gd name="connsiteX62" fmla="*/ 5769 w 10000"/>
                <a:gd name="connsiteY62" fmla="*/ 406 h 10000"/>
                <a:gd name="connsiteX63" fmla="*/ 5588 w 10000"/>
                <a:gd name="connsiteY63" fmla="*/ 656 h 10000"/>
                <a:gd name="connsiteX64" fmla="*/ 5572 w 10000"/>
                <a:gd name="connsiteY64" fmla="*/ 577 h 10000"/>
                <a:gd name="connsiteX65" fmla="*/ 5741 w 10000"/>
                <a:gd name="connsiteY65" fmla="*/ 659 h 10000"/>
                <a:gd name="connsiteX66" fmla="*/ 5604 w 10000"/>
                <a:gd name="connsiteY66" fmla="*/ 755 h 10000"/>
                <a:gd name="connsiteX67" fmla="*/ 5678 w 10000"/>
                <a:gd name="connsiteY67" fmla="*/ 945 h 10000"/>
                <a:gd name="connsiteX68" fmla="*/ 5678 w 10000"/>
                <a:gd name="connsiteY68" fmla="*/ 695 h 10000"/>
                <a:gd name="connsiteX69" fmla="*/ 5769 w 10000"/>
                <a:gd name="connsiteY69" fmla="*/ 328 h 10000"/>
                <a:gd name="connsiteX70" fmla="*/ 6022 w 10000"/>
                <a:gd name="connsiteY70" fmla="*/ 242 h 10000"/>
                <a:gd name="connsiteX71" fmla="*/ 6275 w 10000"/>
                <a:gd name="connsiteY71" fmla="*/ 695 h 10000"/>
                <a:gd name="connsiteX72" fmla="*/ 6275 w 10000"/>
                <a:gd name="connsiteY72" fmla="*/ 1085 h 10000"/>
                <a:gd name="connsiteX73" fmla="*/ 6112 w 10000"/>
                <a:gd name="connsiteY73" fmla="*/ 1249 h 10000"/>
                <a:gd name="connsiteX74" fmla="*/ 6112 w 10000"/>
                <a:gd name="connsiteY74" fmla="*/ 1499 h 10000"/>
                <a:gd name="connsiteX75" fmla="*/ 6781 w 10000"/>
                <a:gd name="connsiteY75" fmla="*/ 1741 h 10000"/>
                <a:gd name="connsiteX76" fmla="*/ 6781 w 10000"/>
                <a:gd name="connsiteY76" fmla="*/ 1905 h 10000"/>
                <a:gd name="connsiteX77" fmla="*/ 7215 w 10000"/>
                <a:gd name="connsiteY77" fmla="*/ 2194 h 10000"/>
                <a:gd name="connsiteX78" fmla="*/ 7378 w 10000"/>
                <a:gd name="connsiteY78" fmla="*/ 2404 h 10000"/>
                <a:gd name="connsiteX79" fmla="*/ 7288 w 10000"/>
                <a:gd name="connsiteY79" fmla="*/ 2896 h 10000"/>
                <a:gd name="connsiteX80" fmla="*/ 7559 w 10000"/>
                <a:gd name="connsiteY80" fmla="*/ 3443 h 10000"/>
                <a:gd name="connsiteX81" fmla="*/ 7975 w 10000"/>
                <a:gd name="connsiteY81" fmla="*/ 3888 h 10000"/>
                <a:gd name="connsiteX82" fmla="*/ 7884 w 10000"/>
                <a:gd name="connsiteY82" fmla="*/ 4551 h 10000"/>
                <a:gd name="connsiteX83" fmla="*/ 8228 w 10000"/>
                <a:gd name="connsiteY83" fmla="*/ 4965 h 10000"/>
                <a:gd name="connsiteX84" fmla="*/ 8409 w 10000"/>
                <a:gd name="connsiteY84" fmla="*/ 5129 h 10000"/>
                <a:gd name="connsiteX85" fmla="*/ 8571 w 10000"/>
                <a:gd name="connsiteY85" fmla="*/ 5738 h 10000"/>
                <a:gd name="connsiteX86" fmla="*/ 8734 w 10000"/>
                <a:gd name="connsiteY86" fmla="*/ 5995 h 10000"/>
                <a:gd name="connsiteX87" fmla="*/ 9566 w 10000"/>
                <a:gd name="connsiteY87" fmla="*/ 6269 h 10000"/>
                <a:gd name="connsiteX88" fmla="*/ 10000 w 10000"/>
                <a:gd name="connsiteY88" fmla="*/ 6526 h 10000"/>
                <a:gd name="connsiteX89" fmla="*/ 10000 w 10000"/>
                <a:gd name="connsiteY89" fmla="*/ 6690 h 10000"/>
                <a:gd name="connsiteX90" fmla="*/ 9656 w 10000"/>
                <a:gd name="connsiteY90" fmla="*/ 7447 h 10000"/>
                <a:gd name="connsiteX91" fmla="*/ 9512 w 10000"/>
                <a:gd name="connsiteY91" fmla="*/ 7525 h 10000"/>
                <a:gd name="connsiteX92" fmla="*/ 9656 w 10000"/>
                <a:gd name="connsiteY92" fmla="*/ 7689 h 10000"/>
                <a:gd name="connsiteX93" fmla="*/ 9259 w 10000"/>
                <a:gd name="connsiteY93" fmla="*/ 7978 h 10000"/>
                <a:gd name="connsiteX94" fmla="*/ 8734 w 10000"/>
                <a:gd name="connsiteY94" fmla="*/ 8103 h 10000"/>
                <a:gd name="connsiteX95" fmla="*/ 8734 w 10000"/>
                <a:gd name="connsiteY95" fmla="*/ 8236 h 10000"/>
                <a:gd name="connsiteX96" fmla="*/ 7975 w 10000"/>
                <a:gd name="connsiteY96" fmla="*/ 8728 h 10000"/>
                <a:gd name="connsiteX97" fmla="*/ 7468 w 10000"/>
                <a:gd name="connsiteY97" fmla="*/ 8845 h 10000"/>
                <a:gd name="connsiteX98" fmla="*/ 7378 w 10000"/>
                <a:gd name="connsiteY98" fmla="*/ 9133 h 10000"/>
                <a:gd name="connsiteX99" fmla="*/ 6872 w 10000"/>
                <a:gd name="connsiteY99" fmla="*/ 9133 h 10000"/>
                <a:gd name="connsiteX100" fmla="*/ 6618 w 10000"/>
                <a:gd name="connsiteY100" fmla="*/ 9227 h 10000"/>
                <a:gd name="connsiteX101" fmla="*/ 6112 w 10000"/>
                <a:gd name="connsiteY101" fmla="*/ 9305 h 10000"/>
                <a:gd name="connsiteX102" fmla="*/ 5425 w 10000"/>
                <a:gd name="connsiteY102" fmla="*/ 9258 h 10000"/>
                <a:gd name="connsiteX103" fmla="*/ 4919 w 10000"/>
                <a:gd name="connsiteY103" fmla="*/ 9469 h 10000"/>
                <a:gd name="connsiteX104" fmla="*/ 4322 w 10000"/>
                <a:gd name="connsiteY104" fmla="*/ 9633 h 10000"/>
                <a:gd name="connsiteX105" fmla="*/ 3725 w 10000"/>
                <a:gd name="connsiteY105" fmla="*/ 9711 h 10000"/>
                <a:gd name="connsiteX106" fmla="*/ 3291 w 10000"/>
                <a:gd name="connsiteY106" fmla="*/ 9883 h 10000"/>
                <a:gd name="connsiteX107" fmla="*/ 2803 w 10000"/>
                <a:gd name="connsiteY107" fmla="*/ 10000 h 10000"/>
                <a:gd name="connsiteX0" fmla="*/ 2803 w 10000"/>
                <a:gd name="connsiteY0" fmla="*/ 10000 h 10000"/>
                <a:gd name="connsiteX1" fmla="*/ 2731 w 10000"/>
                <a:gd name="connsiteY1" fmla="*/ 9672 h 10000"/>
                <a:gd name="connsiteX2" fmla="*/ 2387 w 10000"/>
                <a:gd name="connsiteY2" fmla="*/ 9500 h 10000"/>
                <a:gd name="connsiteX3" fmla="*/ 2134 w 10000"/>
                <a:gd name="connsiteY3" fmla="*/ 9422 h 10000"/>
                <a:gd name="connsiteX4" fmla="*/ 1700 w 10000"/>
                <a:gd name="connsiteY4" fmla="*/ 9344 h 10000"/>
                <a:gd name="connsiteX5" fmla="*/ 1356 w 10000"/>
                <a:gd name="connsiteY5" fmla="*/ 9344 h 10000"/>
                <a:gd name="connsiteX6" fmla="*/ 1193 w 10000"/>
                <a:gd name="connsiteY6" fmla="*/ 9180 h 10000"/>
                <a:gd name="connsiteX7" fmla="*/ 1356 w 10000"/>
                <a:gd name="connsiteY7" fmla="*/ 8556 h 10000"/>
                <a:gd name="connsiteX8" fmla="*/ 1284 w 10000"/>
                <a:gd name="connsiteY8" fmla="*/ 8189 h 10000"/>
                <a:gd name="connsiteX9" fmla="*/ 1013 w 10000"/>
                <a:gd name="connsiteY9" fmla="*/ 8025 h 10000"/>
                <a:gd name="connsiteX10" fmla="*/ 850 w 10000"/>
                <a:gd name="connsiteY10" fmla="*/ 7947 h 10000"/>
                <a:gd name="connsiteX11" fmla="*/ 940 w 10000"/>
                <a:gd name="connsiteY11" fmla="*/ 7611 h 10000"/>
                <a:gd name="connsiteX12" fmla="*/ 850 w 10000"/>
                <a:gd name="connsiteY12" fmla="*/ 7416 h 10000"/>
                <a:gd name="connsiteX13" fmla="*/ 687 w 10000"/>
                <a:gd name="connsiteY13" fmla="*/ 7260 h 10000"/>
                <a:gd name="connsiteX14" fmla="*/ 940 w 10000"/>
                <a:gd name="connsiteY14" fmla="*/ 6893 h 10000"/>
                <a:gd name="connsiteX15" fmla="*/ 1193 w 10000"/>
                <a:gd name="connsiteY15" fmla="*/ 6893 h 10000"/>
                <a:gd name="connsiteX16" fmla="*/ 1356 w 10000"/>
                <a:gd name="connsiteY16" fmla="*/ 6815 h 10000"/>
                <a:gd name="connsiteX17" fmla="*/ 1447 w 10000"/>
                <a:gd name="connsiteY17" fmla="*/ 6557 h 10000"/>
                <a:gd name="connsiteX18" fmla="*/ 1953 w 10000"/>
                <a:gd name="connsiteY18" fmla="*/ 6362 h 10000"/>
                <a:gd name="connsiteX19" fmla="*/ 2459 w 10000"/>
                <a:gd name="connsiteY19" fmla="*/ 6151 h 10000"/>
                <a:gd name="connsiteX20" fmla="*/ 2550 w 10000"/>
                <a:gd name="connsiteY20" fmla="*/ 5902 h 10000"/>
                <a:gd name="connsiteX21" fmla="*/ 3146 w 10000"/>
                <a:gd name="connsiteY21" fmla="*/ 5660 h 10000"/>
                <a:gd name="connsiteX22" fmla="*/ 3725 w 10000"/>
                <a:gd name="connsiteY22" fmla="*/ 5371 h 10000"/>
                <a:gd name="connsiteX23" fmla="*/ 3635 w 10000"/>
                <a:gd name="connsiteY23" fmla="*/ 5246 h 10000"/>
                <a:gd name="connsiteX24" fmla="*/ 3635 w 10000"/>
                <a:gd name="connsiteY24" fmla="*/ 5082 h 10000"/>
                <a:gd name="connsiteX25" fmla="*/ 4069 w 10000"/>
                <a:gd name="connsiteY25" fmla="*/ 4965 h 10000"/>
                <a:gd name="connsiteX26" fmla="*/ 4231 w 10000"/>
                <a:gd name="connsiteY26" fmla="*/ 4918 h 10000"/>
                <a:gd name="connsiteX27" fmla="*/ 4141 w 10000"/>
                <a:gd name="connsiteY27" fmla="*/ 4676 h 10000"/>
                <a:gd name="connsiteX28" fmla="*/ 4141 w 10000"/>
                <a:gd name="connsiteY28" fmla="*/ 4426 h 10000"/>
                <a:gd name="connsiteX29" fmla="*/ 3978 w 10000"/>
                <a:gd name="connsiteY29" fmla="*/ 4387 h 10000"/>
                <a:gd name="connsiteX30" fmla="*/ 3725 w 10000"/>
                <a:gd name="connsiteY30" fmla="*/ 4426 h 10000"/>
                <a:gd name="connsiteX31" fmla="*/ 3490 w 10000"/>
                <a:gd name="connsiteY31" fmla="*/ 4262 h 10000"/>
                <a:gd name="connsiteX32" fmla="*/ 3237 w 10000"/>
                <a:gd name="connsiteY32" fmla="*/ 3810 h 10000"/>
                <a:gd name="connsiteX33" fmla="*/ 2731 w 10000"/>
                <a:gd name="connsiteY33" fmla="*/ 3474 h 10000"/>
                <a:gd name="connsiteX34" fmla="*/ 2893 w 10000"/>
                <a:gd name="connsiteY34" fmla="*/ 3021 h 10000"/>
                <a:gd name="connsiteX35" fmla="*/ 2803 w 10000"/>
                <a:gd name="connsiteY35" fmla="*/ 2818 h 10000"/>
                <a:gd name="connsiteX36" fmla="*/ 2206 w 10000"/>
                <a:gd name="connsiteY36" fmla="*/ 2529 h 10000"/>
                <a:gd name="connsiteX37" fmla="*/ 2459 w 10000"/>
                <a:gd name="connsiteY37" fmla="*/ 2162 h 10000"/>
                <a:gd name="connsiteX38" fmla="*/ 2297 w 10000"/>
                <a:gd name="connsiteY38" fmla="*/ 1952 h 10000"/>
                <a:gd name="connsiteX39" fmla="*/ 1863 w 10000"/>
                <a:gd name="connsiteY39" fmla="*/ 1741 h 10000"/>
                <a:gd name="connsiteX40" fmla="*/ 1609 w 10000"/>
                <a:gd name="connsiteY40" fmla="*/ 1874 h 10000"/>
                <a:gd name="connsiteX41" fmla="*/ 687 w 10000"/>
                <a:gd name="connsiteY41" fmla="*/ 1421 h 10000"/>
                <a:gd name="connsiteX42" fmla="*/ 434 w 10000"/>
                <a:gd name="connsiteY42" fmla="*/ 1249 h 10000"/>
                <a:gd name="connsiteX43" fmla="*/ 253 w 10000"/>
                <a:gd name="connsiteY43" fmla="*/ 1085 h 10000"/>
                <a:gd name="connsiteX44" fmla="*/ 0 w 10000"/>
                <a:gd name="connsiteY44" fmla="*/ 1023 h 10000"/>
                <a:gd name="connsiteX45" fmla="*/ 344 w 10000"/>
                <a:gd name="connsiteY45" fmla="*/ 867 h 10000"/>
                <a:gd name="connsiteX46" fmla="*/ 850 w 10000"/>
                <a:gd name="connsiteY46" fmla="*/ 867 h 10000"/>
                <a:gd name="connsiteX47" fmla="*/ 1103 w 10000"/>
                <a:gd name="connsiteY47" fmla="*/ 1054 h 10000"/>
                <a:gd name="connsiteX48" fmla="*/ 1790 w 10000"/>
                <a:gd name="connsiteY48" fmla="*/ 1421 h 10000"/>
                <a:gd name="connsiteX49" fmla="*/ 2459 w 10000"/>
                <a:gd name="connsiteY49" fmla="*/ 1210 h 10000"/>
                <a:gd name="connsiteX50" fmla="*/ 2893 w 10000"/>
                <a:gd name="connsiteY50" fmla="*/ 1249 h 10000"/>
                <a:gd name="connsiteX51" fmla="*/ 2984 w 10000"/>
                <a:gd name="connsiteY51" fmla="*/ 1374 h 10000"/>
                <a:gd name="connsiteX52" fmla="*/ 3490 w 10000"/>
                <a:gd name="connsiteY52" fmla="*/ 1421 h 10000"/>
                <a:gd name="connsiteX53" fmla="*/ 3635 w 10000"/>
                <a:gd name="connsiteY53" fmla="*/ 1085 h 10000"/>
                <a:gd name="connsiteX54" fmla="*/ 3888 w 10000"/>
                <a:gd name="connsiteY54" fmla="*/ 984 h 10000"/>
                <a:gd name="connsiteX55" fmla="*/ 4069 w 10000"/>
                <a:gd name="connsiteY55" fmla="*/ 867 h 10000"/>
                <a:gd name="connsiteX56" fmla="*/ 4069 w 10000"/>
                <a:gd name="connsiteY56" fmla="*/ 742 h 10000"/>
                <a:gd name="connsiteX57" fmla="*/ 3978 w 10000"/>
                <a:gd name="connsiteY57" fmla="*/ 406 h 10000"/>
                <a:gd name="connsiteX58" fmla="*/ 4412 w 10000"/>
                <a:gd name="connsiteY58" fmla="*/ 211 h 10000"/>
                <a:gd name="connsiteX59" fmla="*/ 4665 w 10000"/>
                <a:gd name="connsiteY59" fmla="*/ 211 h 10000"/>
                <a:gd name="connsiteX60" fmla="*/ 5081 w 10000"/>
                <a:gd name="connsiteY60" fmla="*/ 0 h 10000"/>
                <a:gd name="connsiteX61" fmla="*/ 5588 w 10000"/>
                <a:gd name="connsiteY61" fmla="*/ 289 h 10000"/>
                <a:gd name="connsiteX62" fmla="*/ 5769 w 10000"/>
                <a:gd name="connsiteY62" fmla="*/ 406 h 10000"/>
                <a:gd name="connsiteX63" fmla="*/ 5588 w 10000"/>
                <a:gd name="connsiteY63" fmla="*/ 656 h 10000"/>
                <a:gd name="connsiteX64" fmla="*/ 5572 w 10000"/>
                <a:gd name="connsiteY64" fmla="*/ 577 h 10000"/>
                <a:gd name="connsiteX65" fmla="*/ 5741 w 10000"/>
                <a:gd name="connsiteY65" fmla="*/ 659 h 10000"/>
                <a:gd name="connsiteX66" fmla="*/ 5604 w 10000"/>
                <a:gd name="connsiteY66" fmla="*/ 755 h 10000"/>
                <a:gd name="connsiteX67" fmla="*/ 5678 w 10000"/>
                <a:gd name="connsiteY67" fmla="*/ 945 h 10000"/>
                <a:gd name="connsiteX68" fmla="*/ 5792 w 10000"/>
                <a:gd name="connsiteY68" fmla="*/ 574 h 10000"/>
                <a:gd name="connsiteX69" fmla="*/ 5769 w 10000"/>
                <a:gd name="connsiteY69" fmla="*/ 328 h 10000"/>
                <a:gd name="connsiteX70" fmla="*/ 6022 w 10000"/>
                <a:gd name="connsiteY70" fmla="*/ 242 h 10000"/>
                <a:gd name="connsiteX71" fmla="*/ 6275 w 10000"/>
                <a:gd name="connsiteY71" fmla="*/ 695 h 10000"/>
                <a:gd name="connsiteX72" fmla="*/ 6275 w 10000"/>
                <a:gd name="connsiteY72" fmla="*/ 1085 h 10000"/>
                <a:gd name="connsiteX73" fmla="*/ 6112 w 10000"/>
                <a:gd name="connsiteY73" fmla="*/ 1249 h 10000"/>
                <a:gd name="connsiteX74" fmla="*/ 6112 w 10000"/>
                <a:gd name="connsiteY74" fmla="*/ 1499 h 10000"/>
                <a:gd name="connsiteX75" fmla="*/ 6781 w 10000"/>
                <a:gd name="connsiteY75" fmla="*/ 1741 h 10000"/>
                <a:gd name="connsiteX76" fmla="*/ 6781 w 10000"/>
                <a:gd name="connsiteY76" fmla="*/ 1905 h 10000"/>
                <a:gd name="connsiteX77" fmla="*/ 7215 w 10000"/>
                <a:gd name="connsiteY77" fmla="*/ 2194 h 10000"/>
                <a:gd name="connsiteX78" fmla="*/ 7378 w 10000"/>
                <a:gd name="connsiteY78" fmla="*/ 2404 h 10000"/>
                <a:gd name="connsiteX79" fmla="*/ 7288 w 10000"/>
                <a:gd name="connsiteY79" fmla="*/ 2896 h 10000"/>
                <a:gd name="connsiteX80" fmla="*/ 7559 w 10000"/>
                <a:gd name="connsiteY80" fmla="*/ 3443 h 10000"/>
                <a:gd name="connsiteX81" fmla="*/ 7975 w 10000"/>
                <a:gd name="connsiteY81" fmla="*/ 3888 h 10000"/>
                <a:gd name="connsiteX82" fmla="*/ 7884 w 10000"/>
                <a:gd name="connsiteY82" fmla="*/ 4551 h 10000"/>
                <a:gd name="connsiteX83" fmla="*/ 8228 w 10000"/>
                <a:gd name="connsiteY83" fmla="*/ 4965 h 10000"/>
                <a:gd name="connsiteX84" fmla="*/ 8409 w 10000"/>
                <a:gd name="connsiteY84" fmla="*/ 5129 h 10000"/>
                <a:gd name="connsiteX85" fmla="*/ 8571 w 10000"/>
                <a:gd name="connsiteY85" fmla="*/ 5738 h 10000"/>
                <a:gd name="connsiteX86" fmla="*/ 8734 w 10000"/>
                <a:gd name="connsiteY86" fmla="*/ 5995 h 10000"/>
                <a:gd name="connsiteX87" fmla="*/ 9566 w 10000"/>
                <a:gd name="connsiteY87" fmla="*/ 6269 h 10000"/>
                <a:gd name="connsiteX88" fmla="*/ 10000 w 10000"/>
                <a:gd name="connsiteY88" fmla="*/ 6526 h 10000"/>
                <a:gd name="connsiteX89" fmla="*/ 10000 w 10000"/>
                <a:gd name="connsiteY89" fmla="*/ 6690 h 10000"/>
                <a:gd name="connsiteX90" fmla="*/ 9656 w 10000"/>
                <a:gd name="connsiteY90" fmla="*/ 7447 h 10000"/>
                <a:gd name="connsiteX91" fmla="*/ 9512 w 10000"/>
                <a:gd name="connsiteY91" fmla="*/ 7525 h 10000"/>
                <a:gd name="connsiteX92" fmla="*/ 9656 w 10000"/>
                <a:gd name="connsiteY92" fmla="*/ 7689 h 10000"/>
                <a:gd name="connsiteX93" fmla="*/ 9259 w 10000"/>
                <a:gd name="connsiteY93" fmla="*/ 7978 h 10000"/>
                <a:gd name="connsiteX94" fmla="*/ 8734 w 10000"/>
                <a:gd name="connsiteY94" fmla="*/ 8103 h 10000"/>
                <a:gd name="connsiteX95" fmla="*/ 8734 w 10000"/>
                <a:gd name="connsiteY95" fmla="*/ 8236 h 10000"/>
                <a:gd name="connsiteX96" fmla="*/ 7975 w 10000"/>
                <a:gd name="connsiteY96" fmla="*/ 8728 h 10000"/>
                <a:gd name="connsiteX97" fmla="*/ 7468 w 10000"/>
                <a:gd name="connsiteY97" fmla="*/ 8845 h 10000"/>
                <a:gd name="connsiteX98" fmla="*/ 7378 w 10000"/>
                <a:gd name="connsiteY98" fmla="*/ 9133 h 10000"/>
                <a:gd name="connsiteX99" fmla="*/ 6872 w 10000"/>
                <a:gd name="connsiteY99" fmla="*/ 9133 h 10000"/>
                <a:gd name="connsiteX100" fmla="*/ 6618 w 10000"/>
                <a:gd name="connsiteY100" fmla="*/ 9227 h 10000"/>
                <a:gd name="connsiteX101" fmla="*/ 6112 w 10000"/>
                <a:gd name="connsiteY101" fmla="*/ 9305 h 10000"/>
                <a:gd name="connsiteX102" fmla="*/ 5425 w 10000"/>
                <a:gd name="connsiteY102" fmla="*/ 9258 h 10000"/>
                <a:gd name="connsiteX103" fmla="*/ 4919 w 10000"/>
                <a:gd name="connsiteY103" fmla="*/ 9469 h 10000"/>
                <a:gd name="connsiteX104" fmla="*/ 4322 w 10000"/>
                <a:gd name="connsiteY104" fmla="*/ 9633 h 10000"/>
                <a:gd name="connsiteX105" fmla="*/ 3725 w 10000"/>
                <a:gd name="connsiteY105" fmla="*/ 9711 h 10000"/>
                <a:gd name="connsiteX106" fmla="*/ 3291 w 10000"/>
                <a:gd name="connsiteY106" fmla="*/ 9883 h 10000"/>
                <a:gd name="connsiteX107" fmla="*/ 2803 w 10000"/>
                <a:gd name="connsiteY107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0000" h="10000">
                  <a:moveTo>
                    <a:pt x="2803" y="10000"/>
                  </a:moveTo>
                  <a:cubicBezTo>
                    <a:pt x="2779" y="9891"/>
                    <a:pt x="2755" y="9781"/>
                    <a:pt x="2731" y="9672"/>
                  </a:cubicBezTo>
                  <a:lnTo>
                    <a:pt x="2387" y="9500"/>
                  </a:lnTo>
                  <a:lnTo>
                    <a:pt x="2134" y="9422"/>
                  </a:lnTo>
                  <a:lnTo>
                    <a:pt x="1700" y="9344"/>
                  </a:lnTo>
                  <a:lnTo>
                    <a:pt x="1356" y="9344"/>
                  </a:lnTo>
                  <a:cubicBezTo>
                    <a:pt x="1302" y="9289"/>
                    <a:pt x="1247" y="9235"/>
                    <a:pt x="1193" y="9180"/>
                  </a:cubicBezTo>
                  <a:cubicBezTo>
                    <a:pt x="1247" y="8972"/>
                    <a:pt x="1302" y="8764"/>
                    <a:pt x="1356" y="8556"/>
                  </a:cubicBezTo>
                  <a:cubicBezTo>
                    <a:pt x="1332" y="8434"/>
                    <a:pt x="1308" y="8311"/>
                    <a:pt x="1284" y="8189"/>
                  </a:cubicBezTo>
                  <a:lnTo>
                    <a:pt x="1013" y="8025"/>
                  </a:lnTo>
                  <a:lnTo>
                    <a:pt x="850" y="7947"/>
                  </a:lnTo>
                  <a:lnTo>
                    <a:pt x="940" y="7611"/>
                  </a:lnTo>
                  <a:lnTo>
                    <a:pt x="850" y="7416"/>
                  </a:lnTo>
                  <a:lnTo>
                    <a:pt x="687" y="7260"/>
                  </a:lnTo>
                  <a:lnTo>
                    <a:pt x="940" y="6893"/>
                  </a:lnTo>
                  <a:lnTo>
                    <a:pt x="1193" y="6893"/>
                  </a:lnTo>
                  <a:lnTo>
                    <a:pt x="1356" y="6815"/>
                  </a:lnTo>
                  <a:cubicBezTo>
                    <a:pt x="1386" y="6729"/>
                    <a:pt x="1417" y="6643"/>
                    <a:pt x="1447" y="6557"/>
                  </a:cubicBezTo>
                  <a:lnTo>
                    <a:pt x="1953" y="6362"/>
                  </a:lnTo>
                  <a:lnTo>
                    <a:pt x="2459" y="6151"/>
                  </a:lnTo>
                  <a:cubicBezTo>
                    <a:pt x="2489" y="6068"/>
                    <a:pt x="2520" y="5985"/>
                    <a:pt x="2550" y="5902"/>
                  </a:cubicBezTo>
                  <a:lnTo>
                    <a:pt x="3146" y="5660"/>
                  </a:lnTo>
                  <a:lnTo>
                    <a:pt x="3725" y="5371"/>
                  </a:lnTo>
                  <a:cubicBezTo>
                    <a:pt x="3695" y="5329"/>
                    <a:pt x="3665" y="5288"/>
                    <a:pt x="3635" y="5246"/>
                  </a:cubicBezTo>
                  <a:lnTo>
                    <a:pt x="3635" y="5082"/>
                  </a:lnTo>
                  <a:lnTo>
                    <a:pt x="4069" y="4965"/>
                  </a:lnTo>
                  <a:lnTo>
                    <a:pt x="4231" y="4918"/>
                  </a:lnTo>
                  <a:cubicBezTo>
                    <a:pt x="4201" y="4837"/>
                    <a:pt x="4171" y="4757"/>
                    <a:pt x="4141" y="4676"/>
                  </a:cubicBezTo>
                  <a:lnTo>
                    <a:pt x="4141" y="4426"/>
                  </a:lnTo>
                  <a:lnTo>
                    <a:pt x="3978" y="4387"/>
                  </a:lnTo>
                  <a:lnTo>
                    <a:pt x="3725" y="4426"/>
                  </a:lnTo>
                  <a:lnTo>
                    <a:pt x="3490" y="4262"/>
                  </a:lnTo>
                  <a:cubicBezTo>
                    <a:pt x="3406" y="4111"/>
                    <a:pt x="3321" y="3961"/>
                    <a:pt x="3237" y="3810"/>
                  </a:cubicBezTo>
                  <a:lnTo>
                    <a:pt x="2731" y="3474"/>
                  </a:lnTo>
                  <a:lnTo>
                    <a:pt x="2893" y="3021"/>
                  </a:lnTo>
                  <a:cubicBezTo>
                    <a:pt x="2863" y="2953"/>
                    <a:pt x="2833" y="2886"/>
                    <a:pt x="2803" y="2818"/>
                  </a:cubicBezTo>
                  <a:lnTo>
                    <a:pt x="2206" y="2529"/>
                  </a:lnTo>
                  <a:lnTo>
                    <a:pt x="2459" y="2162"/>
                  </a:lnTo>
                  <a:lnTo>
                    <a:pt x="2297" y="1952"/>
                  </a:lnTo>
                  <a:lnTo>
                    <a:pt x="1863" y="1741"/>
                  </a:lnTo>
                  <a:lnTo>
                    <a:pt x="1609" y="1874"/>
                  </a:lnTo>
                  <a:lnTo>
                    <a:pt x="687" y="1421"/>
                  </a:lnTo>
                  <a:lnTo>
                    <a:pt x="434" y="1249"/>
                  </a:lnTo>
                  <a:cubicBezTo>
                    <a:pt x="374" y="1194"/>
                    <a:pt x="313" y="1140"/>
                    <a:pt x="253" y="1085"/>
                  </a:cubicBezTo>
                  <a:lnTo>
                    <a:pt x="0" y="1023"/>
                  </a:lnTo>
                  <a:lnTo>
                    <a:pt x="344" y="867"/>
                  </a:lnTo>
                  <a:lnTo>
                    <a:pt x="850" y="867"/>
                  </a:lnTo>
                  <a:lnTo>
                    <a:pt x="1103" y="1054"/>
                  </a:lnTo>
                  <a:lnTo>
                    <a:pt x="1790" y="1421"/>
                  </a:lnTo>
                  <a:lnTo>
                    <a:pt x="2459" y="1210"/>
                  </a:lnTo>
                  <a:lnTo>
                    <a:pt x="2893" y="1249"/>
                  </a:lnTo>
                  <a:cubicBezTo>
                    <a:pt x="2923" y="1291"/>
                    <a:pt x="2954" y="1332"/>
                    <a:pt x="2984" y="1374"/>
                  </a:cubicBezTo>
                  <a:lnTo>
                    <a:pt x="3490" y="1421"/>
                  </a:lnTo>
                  <a:cubicBezTo>
                    <a:pt x="3538" y="1309"/>
                    <a:pt x="3587" y="1197"/>
                    <a:pt x="3635" y="1085"/>
                  </a:cubicBezTo>
                  <a:lnTo>
                    <a:pt x="3888" y="984"/>
                  </a:lnTo>
                  <a:lnTo>
                    <a:pt x="4069" y="867"/>
                  </a:lnTo>
                  <a:lnTo>
                    <a:pt x="4069" y="742"/>
                  </a:lnTo>
                  <a:cubicBezTo>
                    <a:pt x="4039" y="630"/>
                    <a:pt x="4008" y="518"/>
                    <a:pt x="3978" y="406"/>
                  </a:cubicBezTo>
                  <a:lnTo>
                    <a:pt x="4412" y="211"/>
                  </a:lnTo>
                  <a:lnTo>
                    <a:pt x="4665" y="211"/>
                  </a:lnTo>
                  <a:lnTo>
                    <a:pt x="5081" y="0"/>
                  </a:lnTo>
                  <a:lnTo>
                    <a:pt x="5588" y="289"/>
                  </a:lnTo>
                  <a:lnTo>
                    <a:pt x="5769" y="406"/>
                  </a:lnTo>
                  <a:lnTo>
                    <a:pt x="5588" y="656"/>
                  </a:lnTo>
                  <a:cubicBezTo>
                    <a:pt x="5583" y="630"/>
                    <a:pt x="5577" y="603"/>
                    <a:pt x="5572" y="577"/>
                  </a:cubicBezTo>
                  <a:lnTo>
                    <a:pt x="5741" y="659"/>
                  </a:lnTo>
                  <a:lnTo>
                    <a:pt x="5604" y="755"/>
                  </a:lnTo>
                  <a:cubicBezTo>
                    <a:pt x="5629" y="818"/>
                    <a:pt x="5653" y="882"/>
                    <a:pt x="5678" y="945"/>
                  </a:cubicBezTo>
                  <a:lnTo>
                    <a:pt x="5792" y="574"/>
                  </a:lnTo>
                  <a:cubicBezTo>
                    <a:pt x="5822" y="452"/>
                    <a:pt x="5739" y="450"/>
                    <a:pt x="5769" y="328"/>
                  </a:cubicBezTo>
                  <a:lnTo>
                    <a:pt x="6022" y="242"/>
                  </a:lnTo>
                  <a:lnTo>
                    <a:pt x="6275" y="695"/>
                  </a:lnTo>
                  <a:lnTo>
                    <a:pt x="6275" y="1085"/>
                  </a:lnTo>
                  <a:cubicBezTo>
                    <a:pt x="6221" y="1140"/>
                    <a:pt x="6166" y="1194"/>
                    <a:pt x="6112" y="1249"/>
                  </a:cubicBezTo>
                  <a:lnTo>
                    <a:pt x="6112" y="1499"/>
                  </a:lnTo>
                  <a:lnTo>
                    <a:pt x="6781" y="1741"/>
                  </a:lnTo>
                  <a:lnTo>
                    <a:pt x="6781" y="1905"/>
                  </a:lnTo>
                  <a:lnTo>
                    <a:pt x="7215" y="2194"/>
                  </a:lnTo>
                  <a:lnTo>
                    <a:pt x="7378" y="2404"/>
                  </a:lnTo>
                  <a:lnTo>
                    <a:pt x="7288" y="2896"/>
                  </a:lnTo>
                  <a:lnTo>
                    <a:pt x="7559" y="3443"/>
                  </a:lnTo>
                  <a:lnTo>
                    <a:pt x="7975" y="3888"/>
                  </a:lnTo>
                  <a:cubicBezTo>
                    <a:pt x="7945" y="4109"/>
                    <a:pt x="7914" y="4330"/>
                    <a:pt x="7884" y="4551"/>
                  </a:cubicBezTo>
                  <a:lnTo>
                    <a:pt x="8228" y="4965"/>
                  </a:lnTo>
                  <a:cubicBezTo>
                    <a:pt x="8288" y="5020"/>
                    <a:pt x="8349" y="5074"/>
                    <a:pt x="8409" y="5129"/>
                  </a:cubicBezTo>
                  <a:lnTo>
                    <a:pt x="8571" y="5738"/>
                  </a:lnTo>
                  <a:cubicBezTo>
                    <a:pt x="8625" y="5824"/>
                    <a:pt x="8680" y="5909"/>
                    <a:pt x="8734" y="5995"/>
                  </a:cubicBezTo>
                  <a:lnTo>
                    <a:pt x="9566" y="6269"/>
                  </a:lnTo>
                  <a:lnTo>
                    <a:pt x="10000" y="6526"/>
                  </a:lnTo>
                  <a:lnTo>
                    <a:pt x="10000" y="6690"/>
                  </a:lnTo>
                  <a:lnTo>
                    <a:pt x="9656" y="7447"/>
                  </a:lnTo>
                  <a:lnTo>
                    <a:pt x="9512" y="7525"/>
                  </a:lnTo>
                  <a:lnTo>
                    <a:pt x="9656" y="7689"/>
                  </a:lnTo>
                  <a:lnTo>
                    <a:pt x="9259" y="7978"/>
                  </a:lnTo>
                  <a:lnTo>
                    <a:pt x="8734" y="8103"/>
                  </a:lnTo>
                  <a:lnTo>
                    <a:pt x="8734" y="8236"/>
                  </a:lnTo>
                  <a:lnTo>
                    <a:pt x="7975" y="8728"/>
                  </a:lnTo>
                  <a:lnTo>
                    <a:pt x="7468" y="8845"/>
                  </a:lnTo>
                  <a:lnTo>
                    <a:pt x="7378" y="9133"/>
                  </a:lnTo>
                  <a:lnTo>
                    <a:pt x="6872" y="9133"/>
                  </a:lnTo>
                  <a:lnTo>
                    <a:pt x="6618" y="9227"/>
                  </a:lnTo>
                  <a:lnTo>
                    <a:pt x="6112" y="9305"/>
                  </a:lnTo>
                  <a:lnTo>
                    <a:pt x="5425" y="9258"/>
                  </a:lnTo>
                  <a:lnTo>
                    <a:pt x="4919" y="9469"/>
                  </a:lnTo>
                  <a:lnTo>
                    <a:pt x="4322" y="9633"/>
                  </a:lnTo>
                  <a:lnTo>
                    <a:pt x="3725" y="9711"/>
                  </a:lnTo>
                  <a:lnTo>
                    <a:pt x="3291" y="9883"/>
                  </a:lnTo>
                  <a:lnTo>
                    <a:pt x="2803" y="1000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grpSp>
        <p:nvGrpSpPr>
          <p:cNvPr id="28" name="SE"/>
          <p:cNvGrpSpPr>
            <a:grpSpLocks/>
          </p:cNvGrpSpPr>
          <p:nvPr/>
        </p:nvGrpSpPr>
        <p:grpSpPr bwMode="auto">
          <a:xfrm>
            <a:off x="6097588" y="1157287"/>
            <a:ext cx="1035054" cy="2009769"/>
            <a:chOff x="3043262" y="1475462"/>
            <a:chExt cx="475" cy="1041"/>
          </a:xfrm>
          <a:solidFill>
            <a:srgbClr val="FAFAFA"/>
          </a:solidFill>
          <a:effectLst/>
        </p:grpSpPr>
        <p:sp>
          <p:nvSpPr>
            <p:cNvPr id="92" name="Freeform 563"/>
            <p:cNvSpPr>
              <a:spLocks noChangeAspect="1"/>
            </p:cNvSpPr>
            <p:nvPr/>
          </p:nvSpPr>
          <p:spPr bwMode="auto">
            <a:xfrm>
              <a:off x="3043451" y="1476363"/>
              <a:ext cx="32" cy="81"/>
            </a:xfrm>
            <a:custGeom>
              <a:avLst/>
              <a:gdLst>
                <a:gd name="T0" fmla="*/ 46 w 46"/>
                <a:gd name="T1" fmla="*/ 0 h 131"/>
                <a:gd name="T2" fmla="*/ 44 w 46"/>
                <a:gd name="T3" fmla="*/ 44 h 131"/>
                <a:gd name="T4" fmla="*/ 30 w 46"/>
                <a:gd name="T5" fmla="*/ 78 h 131"/>
                <a:gd name="T6" fmla="*/ 9 w 46"/>
                <a:gd name="T7" fmla="*/ 99 h 131"/>
                <a:gd name="T8" fmla="*/ 14 w 46"/>
                <a:gd name="T9" fmla="*/ 122 h 131"/>
                <a:gd name="T10" fmla="*/ 5 w 46"/>
                <a:gd name="T11" fmla="*/ 131 h 131"/>
                <a:gd name="T12" fmla="*/ 0 w 46"/>
                <a:gd name="T13" fmla="*/ 102 h 131"/>
                <a:gd name="T14" fmla="*/ 7 w 46"/>
                <a:gd name="T15" fmla="*/ 81 h 131"/>
                <a:gd name="T16" fmla="*/ 14 w 46"/>
                <a:gd name="T17" fmla="*/ 57 h 131"/>
                <a:gd name="T18" fmla="*/ 46 w 46"/>
                <a:gd name="T1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31">
                  <a:moveTo>
                    <a:pt x="46" y="0"/>
                  </a:moveTo>
                  <a:lnTo>
                    <a:pt x="44" y="44"/>
                  </a:lnTo>
                  <a:lnTo>
                    <a:pt x="30" y="78"/>
                  </a:lnTo>
                  <a:lnTo>
                    <a:pt x="9" y="99"/>
                  </a:lnTo>
                  <a:lnTo>
                    <a:pt x="14" y="122"/>
                  </a:lnTo>
                  <a:lnTo>
                    <a:pt x="5" y="131"/>
                  </a:lnTo>
                  <a:lnTo>
                    <a:pt x="0" y="102"/>
                  </a:lnTo>
                  <a:lnTo>
                    <a:pt x="7" y="81"/>
                  </a:lnTo>
                  <a:lnTo>
                    <a:pt x="14" y="57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93" name="Freeform 564"/>
            <p:cNvSpPr>
              <a:spLocks noChangeAspect="1"/>
            </p:cNvSpPr>
            <p:nvPr/>
          </p:nvSpPr>
          <p:spPr bwMode="auto">
            <a:xfrm>
              <a:off x="3043522" y="1476325"/>
              <a:ext cx="42" cy="64"/>
            </a:xfrm>
            <a:custGeom>
              <a:avLst/>
              <a:gdLst>
                <a:gd name="T0" fmla="*/ 50 w 64"/>
                <a:gd name="T1" fmla="*/ 0 h 104"/>
                <a:gd name="T2" fmla="*/ 64 w 64"/>
                <a:gd name="T3" fmla="*/ 0 h 104"/>
                <a:gd name="T4" fmla="*/ 47 w 64"/>
                <a:gd name="T5" fmla="*/ 22 h 104"/>
                <a:gd name="T6" fmla="*/ 45 w 64"/>
                <a:gd name="T7" fmla="*/ 37 h 104"/>
                <a:gd name="T8" fmla="*/ 50 w 64"/>
                <a:gd name="T9" fmla="*/ 59 h 104"/>
                <a:gd name="T10" fmla="*/ 33 w 64"/>
                <a:gd name="T11" fmla="*/ 80 h 104"/>
                <a:gd name="T12" fmla="*/ 12 w 64"/>
                <a:gd name="T13" fmla="*/ 104 h 104"/>
                <a:gd name="T14" fmla="*/ 8 w 64"/>
                <a:gd name="T15" fmla="*/ 80 h 104"/>
                <a:gd name="T16" fmla="*/ 0 w 64"/>
                <a:gd name="T17" fmla="*/ 70 h 104"/>
                <a:gd name="T18" fmla="*/ 0 w 64"/>
                <a:gd name="T19" fmla="*/ 52 h 104"/>
                <a:gd name="T20" fmla="*/ 19 w 64"/>
                <a:gd name="T21" fmla="*/ 32 h 104"/>
                <a:gd name="T22" fmla="*/ 50 w 64"/>
                <a:gd name="T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104">
                  <a:moveTo>
                    <a:pt x="50" y="0"/>
                  </a:moveTo>
                  <a:lnTo>
                    <a:pt x="64" y="0"/>
                  </a:lnTo>
                  <a:lnTo>
                    <a:pt x="47" y="22"/>
                  </a:lnTo>
                  <a:lnTo>
                    <a:pt x="45" y="37"/>
                  </a:lnTo>
                  <a:lnTo>
                    <a:pt x="50" y="59"/>
                  </a:lnTo>
                  <a:lnTo>
                    <a:pt x="33" y="80"/>
                  </a:lnTo>
                  <a:lnTo>
                    <a:pt x="12" y="104"/>
                  </a:lnTo>
                  <a:lnTo>
                    <a:pt x="8" y="80"/>
                  </a:lnTo>
                  <a:lnTo>
                    <a:pt x="0" y="70"/>
                  </a:lnTo>
                  <a:lnTo>
                    <a:pt x="0" y="52"/>
                  </a:lnTo>
                  <a:lnTo>
                    <a:pt x="19" y="32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94" name="Freeform 565"/>
            <p:cNvSpPr>
              <a:spLocks noChangeAspect="1"/>
            </p:cNvSpPr>
            <p:nvPr/>
          </p:nvSpPr>
          <p:spPr bwMode="auto">
            <a:xfrm>
              <a:off x="3043262" y="1475462"/>
              <a:ext cx="475" cy="1041"/>
            </a:xfrm>
            <a:custGeom>
              <a:avLst/>
              <a:gdLst>
                <a:gd name="T0" fmla="*/ 551 w 701"/>
                <a:gd name="T1" fmla="*/ 30 h 1686"/>
                <a:gd name="T2" fmla="*/ 646 w 701"/>
                <a:gd name="T3" fmla="*/ 104 h 1686"/>
                <a:gd name="T4" fmla="*/ 655 w 701"/>
                <a:gd name="T5" fmla="*/ 168 h 1686"/>
                <a:gd name="T6" fmla="*/ 677 w 701"/>
                <a:gd name="T7" fmla="*/ 225 h 1686"/>
                <a:gd name="T8" fmla="*/ 674 w 701"/>
                <a:gd name="T9" fmla="*/ 299 h 1686"/>
                <a:gd name="T10" fmla="*/ 692 w 701"/>
                <a:gd name="T11" fmla="*/ 352 h 1686"/>
                <a:gd name="T12" fmla="*/ 687 w 701"/>
                <a:gd name="T13" fmla="*/ 394 h 1686"/>
                <a:gd name="T14" fmla="*/ 603 w 701"/>
                <a:gd name="T15" fmla="*/ 404 h 1686"/>
                <a:gd name="T16" fmla="*/ 566 w 701"/>
                <a:gd name="T17" fmla="*/ 468 h 1686"/>
                <a:gd name="T18" fmla="*/ 556 w 701"/>
                <a:gd name="T19" fmla="*/ 515 h 1686"/>
                <a:gd name="T20" fmla="*/ 561 w 701"/>
                <a:gd name="T21" fmla="*/ 583 h 1686"/>
                <a:gd name="T22" fmla="*/ 533 w 701"/>
                <a:gd name="T23" fmla="*/ 647 h 1686"/>
                <a:gd name="T24" fmla="*/ 453 w 701"/>
                <a:gd name="T25" fmla="*/ 700 h 1686"/>
                <a:gd name="T26" fmla="*/ 424 w 701"/>
                <a:gd name="T27" fmla="*/ 731 h 1686"/>
                <a:gd name="T28" fmla="*/ 387 w 701"/>
                <a:gd name="T29" fmla="*/ 811 h 1686"/>
                <a:gd name="T30" fmla="*/ 376 w 701"/>
                <a:gd name="T31" fmla="*/ 871 h 1686"/>
                <a:gd name="T32" fmla="*/ 343 w 701"/>
                <a:gd name="T33" fmla="*/ 956 h 1686"/>
                <a:gd name="T34" fmla="*/ 391 w 701"/>
                <a:gd name="T35" fmla="*/ 1067 h 1686"/>
                <a:gd name="T36" fmla="*/ 429 w 701"/>
                <a:gd name="T37" fmla="*/ 1151 h 1686"/>
                <a:gd name="T38" fmla="*/ 387 w 701"/>
                <a:gd name="T39" fmla="*/ 1182 h 1686"/>
                <a:gd name="T40" fmla="*/ 352 w 701"/>
                <a:gd name="T41" fmla="*/ 1188 h 1686"/>
                <a:gd name="T42" fmla="*/ 272 w 701"/>
                <a:gd name="T43" fmla="*/ 1194 h 1686"/>
                <a:gd name="T44" fmla="*/ 347 w 701"/>
                <a:gd name="T45" fmla="*/ 1214 h 1686"/>
                <a:gd name="T46" fmla="*/ 387 w 701"/>
                <a:gd name="T47" fmla="*/ 1241 h 1686"/>
                <a:gd name="T48" fmla="*/ 361 w 701"/>
                <a:gd name="T49" fmla="*/ 1262 h 1686"/>
                <a:gd name="T50" fmla="*/ 314 w 701"/>
                <a:gd name="T51" fmla="*/ 1309 h 1686"/>
                <a:gd name="T52" fmla="*/ 300 w 701"/>
                <a:gd name="T53" fmla="*/ 1356 h 1686"/>
                <a:gd name="T54" fmla="*/ 281 w 701"/>
                <a:gd name="T55" fmla="*/ 1467 h 1686"/>
                <a:gd name="T56" fmla="*/ 258 w 701"/>
                <a:gd name="T57" fmla="*/ 1541 h 1686"/>
                <a:gd name="T58" fmla="*/ 201 w 701"/>
                <a:gd name="T59" fmla="*/ 1599 h 1686"/>
                <a:gd name="T60" fmla="*/ 145 w 701"/>
                <a:gd name="T61" fmla="*/ 1620 h 1686"/>
                <a:gd name="T62" fmla="*/ 135 w 701"/>
                <a:gd name="T63" fmla="*/ 1670 h 1686"/>
                <a:gd name="T64" fmla="*/ 80 w 701"/>
                <a:gd name="T65" fmla="*/ 1686 h 1686"/>
                <a:gd name="T66" fmla="*/ 55 w 701"/>
                <a:gd name="T67" fmla="*/ 1659 h 1686"/>
                <a:gd name="T68" fmla="*/ 33 w 701"/>
                <a:gd name="T69" fmla="*/ 1568 h 1686"/>
                <a:gd name="T70" fmla="*/ 52 w 701"/>
                <a:gd name="T71" fmla="*/ 1546 h 1686"/>
                <a:gd name="T72" fmla="*/ 55 w 701"/>
                <a:gd name="T73" fmla="*/ 1515 h 1686"/>
                <a:gd name="T74" fmla="*/ 33 w 701"/>
                <a:gd name="T75" fmla="*/ 1430 h 1686"/>
                <a:gd name="T76" fmla="*/ 14 w 701"/>
                <a:gd name="T77" fmla="*/ 1362 h 1686"/>
                <a:gd name="T78" fmla="*/ 0 w 701"/>
                <a:gd name="T79" fmla="*/ 1256 h 1686"/>
                <a:gd name="T80" fmla="*/ 24 w 701"/>
                <a:gd name="T81" fmla="*/ 1214 h 1686"/>
                <a:gd name="T82" fmla="*/ 42 w 701"/>
                <a:gd name="T83" fmla="*/ 1108 h 1686"/>
                <a:gd name="T84" fmla="*/ 88 w 701"/>
                <a:gd name="T85" fmla="*/ 1046 h 1686"/>
                <a:gd name="T86" fmla="*/ 74 w 701"/>
                <a:gd name="T87" fmla="*/ 935 h 1686"/>
                <a:gd name="T88" fmla="*/ 93 w 701"/>
                <a:gd name="T89" fmla="*/ 882 h 1686"/>
                <a:gd name="T90" fmla="*/ 85 w 701"/>
                <a:gd name="T91" fmla="*/ 790 h 1686"/>
                <a:gd name="T92" fmla="*/ 104 w 701"/>
                <a:gd name="T93" fmla="*/ 679 h 1686"/>
                <a:gd name="T94" fmla="*/ 164 w 701"/>
                <a:gd name="T95" fmla="*/ 605 h 1686"/>
                <a:gd name="T96" fmla="*/ 220 w 701"/>
                <a:gd name="T97" fmla="*/ 583 h 1686"/>
                <a:gd name="T98" fmla="*/ 197 w 701"/>
                <a:gd name="T99" fmla="*/ 515 h 1686"/>
                <a:gd name="T100" fmla="*/ 220 w 701"/>
                <a:gd name="T101" fmla="*/ 458 h 1686"/>
                <a:gd name="T102" fmla="*/ 234 w 701"/>
                <a:gd name="T103" fmla="*/ 373 h 1686"/>
                <a:gd name="T104" fmla="*/ 296 w 701"/>
                <a:gd name="T105" fmla="*/ 320 h 1686"/>
                <a:gd name="T106" fmla="*/ 324 w 701"/>
                <a:gd name="T107" fmla="*/ 252 h 1686"/>
                <a:gd name="T108" fmla="*/ 368 w 701"/>
                <a:gd name="T109" fmla="*/ 147 h 1686"/>
                <a:gd name="T110" fmla="*/ 418 w 701"/>
                <a:gd name="T111" fmla="*/ 98 h 1686"/>
                <a:gd name="T112" fmla="*/ 465 w 701"/>
                <a:gd name="T113" fmla="*/ 60 h 1686"/>
                <a:gd name="T114" fmla="*/ 523 w 701"/>
                <a:gd name="T115" fmla="*/ 0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1" h="1686">
                  <a:moveTo>
                    <a:pt x="528" y="0"/>
                  </a:moveTo>
                  <a:lnTo>
                    <a:pt x="537" y="5"/>
                  </a:lnTo>
                  <a:lnTo>
                    <a:pt x="551" y="30"/>
                  </a:lnTo>
                  <a:lnTo>
                    <a:pt x="613" y="98"/>
                  </a:lnTo>
                  <a:lnTo>
                    <a:pt x="622" y="83"/>
                  </a:lnTo>
                  <a:lnTo>
                    <a:pt x="646" y="104"/>
                  </a:lnTo>
                  <a:lnTo>
                    <a:pt x="655" y="125"/>
                  </a:lnTo>
                  <a:lnTo>
                    <a:pt x="655" y="141"/>
                  </a:lnTo>
                  <a:lnTo>
                    <a:pt x="655" y="168"/>
                  </a:lnTo>
                  <a:lnTo>
                    <a:pt x="646" y="184"/>
                  </a:lnTo>
                  <a:lnTo>
                    <a:pt x="663" y="205"/>
                  </a:lnTo>
                  <a:lnTo>
                    <a:pt x="677" y="225"/>
                  </a:lnTo>
                  <a:lnTo>
                    <a:pt x="677" y="242"/>
                  </a:lnTo>
                  <a:lnTo>
                    <a:pt x="677" y="268"/>
                  </a:lnTo>
                  <a:lnTo>
                    <a:pt x="674" y="299"/>
                  </a:lnTo>
                  <a:lnTo>
                    <a:pt x="663" y="310"/>
                  </a:lnTo>
                  <a:lnTo>
                    <a:pt x="677" y="326"/>
                  </a:lnTo>
                  <a:lnTo>
                    <a:pt x="692" y="352"/>
                  </a:lnTo>
                  <a:lnTo>
                    <a:pt x="701" y="379"/>
                  </a:lnTo>
                  <a:lnTo>
                    <a:pt x="701" y="389"/>
                  </a:lnTo>
                  <a:lnTo>
                    <a:pt x="687" y="394"/>
                  </a:lnTo>
                  <a:lnTo>
                    <a:pt x="627" y="394"/>
                  </a:lnTo>
                  <a:lnTo>
                    <a:pt x="613" y="394"/>
                  </a:lnTo>
                  <a:lnTo>
                    <a:pt x="603" y="404"/>
                  </a:lnTo>
                  <a:lnTo>
                    <a:pt x="603" y="426"/>
                  </a:lnTo>
                  <a:lnTo>
                    <a:pt x="594" y="441"/>
                  </a:lnTo>
                  <a:lnTo>
                    <a:pt x="566" y="468"/>
                  </a:lnTo>
                  <a:lnTo>
                    <a:pt x="570" y="490"/>
                  </a:lnTo>
                  <a:lnTo>
                    <a:pt x="566" y="505"/>
                  </a:lnTo>
                  <a:lnTo>
                    <a:pt x="556" y="515"/>
                  </a:lnTo>
                  <a:lnTo>
                    <a:pt x="566" y="548"/>
                  </a:lnTo>
                  <a:lnTo>
                    <a:pt x="570" y="568"/>
                  </a:lnTo>
                  <a:lnTo>
                    <a:pt x="561" y="583"/>
                  </a:lnTo>
                  <a:lnTo>
                    <a:pt x="542" y="601"/>
                  </a:lnTo>
                  <a:lnTo>
                    <a:pt x="537" y="620"/>
                  </a:lnTo>
                  <a:lnTo>
                    <a:pt x="533" y="647"/>
                  </a:lnTo>
                  <a:lnTo>
                    <a:pt x="500" y="663"/>
                  </a:lnTo>
                  <a:lnTo>
                    <a:pt x="481" y="679"/>
                  </a:lnTo>
                  <a:lnTo>
                    <a:pt x="453" y="700"/>
                  </a:lnTo>
                  <a:lnTo>
                    <a:pt x="457" y="716"/>
                  </a:lnTo>
                  <a:lnTo>
                    <a:pt x="434" y="721"/>
                  </a:lnTo>
                  <a:lnTo>
                    <a:pt x="424" y="731"/>
                  </a:lnTo>
                  <a:lnTo>
                    <a:pt x="401" y="768"/>
                  </a:lnTo>
                  <a:lnTo>
                    <a:pt x="382" y="784"/>
                  </a:lnTo>
                  <a:lnTo>
                    <a:pt x="387" y="811"/>
                  </a:lnTo>
                  <a:lnTo>
                    <a:pt x="376" y="818"/>
                  </a:lnTo>
                  <a:lnTo>
                    <a:pt x="366" y="830"/>
                  </a:lnTo>
                  <a:lnTo>
                    <a:pt x="376" y="871"/>
                  </a:lnTo>
                  <a:lnTo>
                    <a:pt x="371" y="898"/>
                  </a:lnTo>
                  <a:lnTo>
                    <a:pt x="347" y="913"/>
                  </a:lnTo>
                  <a:lnTo>
                    <a:pt x="343" y="956"/>
                  </a:lnTo>
                  <a:lnTo>
                    <a:pt x="347" y="1009"/>
                  </a:lnTo>
                  <a:lnTo>
                    <a:pt x="357" y="1034"/>
                  </a:lnTo>
                  <a:lnTo>
                    <a:pt x="391" y="1067"/>
                  </a:lnTo>
                  <a:lnTo>
                    <a:pt x="405" y="1098"/>
                  </a:lnTo>
                  <a:lnTo>
                    <a:pt x="420" y="1130"/>
                  </a:lnTo>
                  <a:lnTo>
                    <a:pt x="429" y="1151"/>
                  </a:lnTo>
                  <a:lnTo>
                    <a:pt x="420" y="1172"/>
                  </a:lnTo>
                  <a:lnTo>
                    <a:pt x="401" y="1188"/>
                  </a:lnTo>
                  <a:lnTo>
                    <a:pt x="387" y="1182"/>
                  </a:lnTo>
                  <a:lnTo>
                    <a:pt x="376" y="1167"/>
                  </a:lnTo>
                  <a:lnTo>
                    <a:pt x="357" y="1172"/>
                  </a:lnTo>
                  <a:lnTo>
                    <a:pt x="352" y="1188"/>
                  </a:lnTo>
                  <a:lnTo>
                    <a:pt x="324" y="1188"/>
                  </a:lnTo>
                  <a:lnTo>
                    <a:pt x="281" y="1182"/>
                  </a:lnTo>
                  <a:lnTo>
                    <a:pt x="272" y="1194"/>
                  </a:lnTo>
                  <a:lnTo>
                    <a:pt x="300" y="1209"/>
                  </a:lnTo>
                  <a:lnTo>
                    <a:pt x="338" y="1194"/>
                  </a:lnTo>
                  <a:lnTo>
                    <a:pt x="347" y="1214"/>
                  </a:lnTo>
                  <a:lnTo>
                    <a:pt x="376" y="1219"/>
                  </a:lnTo>
                  <a:lnTo>
                    <a:pt x="396" y="1229"/>
                  </a:lnTo>
                  <a:lnTo>
                    <a:pt x="387" y="1241"/>
                  </a:lnTo>
                  <a:lnTo>
                    <a:pt x="361" y="1235"/>
                  </a:lnTo>
                  <a:lnTo>
                    <a:pt x="357" y="1246"/>
                  </a:lnTo>
                  <a:lnTo>
                    <a:pt x="361" y="1262"/>
                  </a:lnTo>
                  <a:lnTo>
                    <a:pt x="347" y="1283"/>
                  </a:lnTo>
                  <a:lnTo>
                    <a:pt x="324" y="1303"/>
                  </a:lnTo>
                  <a:lnTo>
                    <a:pt x="314" y="1309"/>
                  </a:lnTo>
                  <a:lnTo>
                    <a:pt x="305" y="1315"/>
                  </a:lnTo>
                  <a:lnTo>
                    <a:pt x="310" y="1340"/>
                  </a:lnTo>
                  <a:lnTo>
                    <a:pt x="300" y="1356"/>
                  </a:lnTo>
                  <a:lnTo>
                    <a:pt x="286" y="1389"/>
                  </a:lnTo>
                  <a:lnTo>
                    <a:pt x="291" y="1420"/>
                  </a:lnTo>
                  <a:lnTo>
                    <a:pt x="281" y="1467"/>
                  </a:lnTo>
                  <a:lnTo>
                    <a:pt x="272" y="1488"/>
                  </a:lnTo>
                  <a:lnTo>
                    <a:pt x="272" y="1519"/>
                  </a:lnTo>
                  <a:lnTo>
                    <a:pt x="258" y="1541"/>
                  </a:lnTo>
                  <a:lnTo>
                    <a:pt x="239" y="1578"/>
                  </a:lnTo>
                  <a:lnTo>
                    <a:pt x="234" y="1605"/>
                  </a:lnTo>
                  <a:lnTo>
                    <a:pt x="201" y="1599"/>
                  </a:lnTo>
                  <a:lnTo>
                    <a:pt x="168" y="1599"/>
                  </a:lnTo>
                  <a:lnTo>
                    <a:pt x="164" y="1615"/>
                  </a:lnTo>
                  <a:lnTo>
                    <a:pt x="145" y="1620"/>
                  </a:lnTo>
                  <a:lnTo>
                    <a:pt x="135" y="1626"/>
                  </a:lnTo>
                  <a:lnTo>
                    <a:pt x="140" y="1643"/>
                  </a:lnTo>
                  <a:lnTo>
                    <a:pt x="135" y="1670"/>
                  </a:lnTo>
                  <a:lnTo>
                    <a:pt x="112" y="1686"/>
                  </a:lnTo>
                  <a:lnTo>
                    <a:pt x="99" y="1670"/>
                  </a:lnTo>
                  <a:lnTo>
                    <a:pt x="80" y="1686"/>
                  </a:lnTo>
                  <a:lnTo>
                    <a:pt x="55" y="1686"/>
                  </a:lnTo>
                  <a:lnTo>
                    <a:pt x="47" y="1670"/>
                  </a:lnTo>
                  <a:lnTo>
                    <a:pt x="55" y="1659"/>
                  </a:lnTo>
                  <a:lnTo>
                    <a:pt x="61" y="1630"/>
                  </a:lnTo>
                  <a:lnTo>
                    <a:pt x="42" y="1589"/>
                  </a:lnTo>
                  <a:lnTo>
                    <a:pt x="33" y="1568"/>
                  </a:lnTo>
                  <a:lnTo>
                    <a:pt x="38" y="1556"/>
                  </a:lnTo>
                  <a:lnTo>
                    <a:pt x="47" y="1556"/>
                  </a:lnTo>
                  <a:lnTo>
                    <a:pt x="52" y="1546"/>
                  </a:lnTo>
                  <a:lnTo>
                    <a:pt x="55" y="1535"/>
                  </a:lnTo>
                  <a:lnTo>
                    <a:pt x="61" y="1525"/>
                  </a:lnTo>
                  <a:lnTo>
                    <a:pt x="55" y="1515"/>
                  </a:lnTo>
                  <a:lnTo>
                    <a:pt x="47" y="1494"/>
                  </a:lnTo>
                  <a:lnTo>
                    <a:pt x="28" y="1462"/>
                  </a:lnTo>
                  <a:lnTo>
                    <a:pt x="33" y="1430"/>
                  </a:lnTo>
                  <a:lnTo>
                    <a:pt x="19" y="1404"/>
                  </a:lnTo>
                  <a:lnTo>
                    <a:pt x="5" y="1389"/>
                  </a:lnTo>
                  <a:lnTo>
                    <a:pt x="14" y="1362"/>
                  </a:lnTo>
                  <a:lnTo>
                    <a:pt x="24" y="1309"/>
                  </a:lnTo>
                  <a:lnTo>
                    <a:pt x="5" y="1283"/>
                  </a:lnTo>
                  <a:lnTo>
                    <a:pt x="0" y="1256"/>
                  </a:lnTo>
                  <a:lnTo>
                    <a:pt x="0" y="1241"/>
                  </a:lnTo>
                  <a:lnTo>
                    <a:pt x="9" y="1209"/>
                  </a:lnTo>
                  <a:lnTo>
                    <a:pt x="24" y="1214"/>
                  </a:lnTo>
                  <a:lnTo>
                    <a:pt x="38" y="1172"/>
                  </a:lnTo>
                  <a:lnTo>
                    <a:pt x="38" y="1124"/>
                  </a:lnTo>
                  <a:lnTo>
                    <a:pt x="42" y="1108"/>
                  </a:lnTo>
                  <a:lnTo>
                    <a:pt x="61" y="1093"/>
                  </a:lnTo>
                  <a:lnTo>
                    <a:pt x="88" y="1071"/>
                  </a:lnTo>
                  <a:lnTo>
                    <a:pt x="88" y="1046"/>
                  </a:lnTo>
                  <a:lnTo>
                    <a:pt x="85" y="966"/>
                  </a:lnTo>
                  <a:lnTo>
                    <a:pt x="74" y="956"/>
                  </a:lnTo>
                  <a:lnTo>
                    <a:pt x="74" y="935"/>
                  </a:lnTo>
                  <a:lnTo>
                    <a:pt x="99" y="923"/>
                  </a:lnTo>
                  <a:lnTo>
                    <a:pt x="107" y="913"/>
                  </a:lnTo>
                  <a:lnTo>
                    <a:pt x="93" y="882"/>
                  </a:lnTo>
                  <a:lnTo>
                    <a:pt x="74" y="851"/>
                  </a:lnTo>
                  <a:lnTo>
                    <a:pt x="80" y="815"/>
                  </a:lnTo>
                  <a:lnTo>
                    <a:pt x="85" y="790"/>
                  </a:lnTo>
                  <a:lnTo>
                    <a:pt x="104" y="743"/>
                  </a:lnTo>
                  <a:lnTo>
                    <a:pt x="104" y="721"/>
                  </a:lnTo>
                  <a:lnTo>
                    <a:pt x="104" y="679"/>
                  </a:lnTo>
                  <a:lnTo>
                    <a:pt x="118" y="642"/>
                  </a:lnTo>
                  <a:lnTo>
                    <a:pt x="140" y="620"/>
                  </a:lnTo>
                  <a:lnTo>
                    <a:pt x="164" y="605"/>
                  </a:lnTo>
                  <a:lnTo>
                    <a:pt x="187" y="610"/>
                  </a:lnTo>
                  <a:lnTo>
                    <a:pt x="211" y="620"/>
                  </a:lnTo>
                  <a:lnTo>
                    <a:pt x="220" y="583"/>
                  </a:lnTo>
                  <a:lnTo>
                    <a:pt x="211" y="552"/>
                  </a:lnTo>
                  <a:lnTo>
                    <a:pt x="201" y="531"/>
                  </a:lnTo>
                  <a:lnTo>
                    <a:pt x="197" y="515"/>
                  </a:lnTo>
                  <a:lnTo>
                    <a:pt x="201" y="500"/>
                  </a:lnTo>
                  <a:lnTo>
                    <a:pt x="216" y="494"/>
                  </a:lnTo>
                  <a:lnTo>
                    <a:pt x="220" y="458"/>
                  </a:lnTo>
                  <a:lnTo>
                    <a:pt x="230" y="426"/>
                  </a:lnTo>
                  <a:lnTo>
                    <a:pt x="234" y="400"/>
                  </a:lnTo>
                  <a:lnTo>
                    <a:pt x="234" y="373"/>
                  </a:lnTo>
                  <a:lnTo>
                    <a:pt x="248" y="347"/>
                  </a:lnTo>
                  <a:lnTo>
                    <a:pt x="277" y="326"/>
                  </a:lnTo>
                  <a:lnTo>
                    <a:pt x="296" y="320"/>
                  </a:lnTo>
                  <a:lnTo>
                    <a:pt x="296" y="295"/>
                  </a:lnTo>
                  <a:lnTo>
                    <a:pt x="305" y="278"/>
                  </a:lnTo>
                  <a:lnTo>
                    <a:pt x="324" y="252"/>
                  </a:lnTo>
                  <a:lnTo>
                    <a:pt x="343" y="236"/>
                  </a:lnTo>
                  <a:lnTo>
                    <a:pt x="333" y="191"/>
                  </a:lnTo>
                  <a:lnTo>
                    <a:pt x="368" y="147"/>
                  </a:lnTo>
                  <a:lnTo>
                    <a:pt x="376" y="128"/>
                  </a:lnTo>
                  <a:lnTo>
                    <a:pt x="401" y="123"/>
                  </a:lnTo>
                  <a:lnTo>
                    <a:pt x="418" y="98"/>
                  </a:lnTo>
                  <a:lnTo>
                    <a:pt x="418" y="83"/>
                  </a:lnTo>
                  <a:lnTo>
                    <a:pt x="434" y="64"/>
                  </a:lnTo>
                  <a:lnTo>
                    <a:pt x="465" y="60"/>
                  </a:lnTo>
                  <a:lnTo>
                    <a:pt x="500" y="60"/>
                  </a:lnTo>
                  <a:lnTo>
                    <a:pt x="528" y="30"/>
                  </a:lnTo>
                  <a:lnTo>
                    <a:pt x="523" y="0"/>
                  </a:lnTo>
                  <a:lnTo>
                    <a:pt x="52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grpSp>
        <p:nvGrpSpPr>
          <p:cNvPr id="29" name="NO"/>
          <p:cNvGrpSpPr>
            <a:grpSpLocks/>
          </p:cNvGrpSpPr>
          <p:nvPr/>
        </p:nvGrpSpPr>
        <p:grpSpPr bwMode="auto">
          <a:xfrm>
            <a:off x="5584744" y="990600"/>
            <a:ext cx="1892300" cy="1884365"/>
            <a:chOff x="2536825" y="1148442"/>
            <a:chExt cx="1192" cy="1187"/>
          </a:xfrm>
          <a:solidFill>
            <a:srgbClr val="FAFAFA"/>
          </a:solidFill>
          <a:effectLst/>
        </p:grpSpPr>
        <p:sp>
          <p:nvSpPr>
            <p:cNvPr id="81" name="Freeform 552"/>
            <p:cNvSpPr>
              <a:spLocks noChangeAspect="1"/>
            </p:cNvSpPr>
            <p:nvPr/>
          </p:nvSpPr>
          <p:spPr bwMode="auto">
            <a:xfrm>
              <a:off x="2536825" y="1148442"/>
              <a:ext cx="1192" cy="1187"/>
            </a:xfrm>
            <a:custGeom>
              <a:avLst/>
              <a:gdLst>
                <a:gd name="T0" fmla="*/ 376 w 1279"/>
                <a:gd name="T1" fmla="*/ 1439 h 1576"/>
                <a:gd name="T2" fmla="*/ 427 w 1279"/>
                <a:gd name="T3" fmla="*/ 1349 h 1576"/>
                <a:gd name="T4" fmla="*/ 413 w 1279"/>
                <a:gd name="T5" fmla="*/ 1227 h 1576"/>
                <a:gd name="T6" fmla="*/ 423 w 1279"/>
                <a:gd name="T7" fmla="*/ 1122 h 1576"/>
                <a:gd name="T8" fmla="*/ 446 w 1279"/>
                <a:gd name="T9" fmla="*/ 977 h 1576"/>
                <a:gd name="T10" fmla="*/ 511 w 1279"/>
                <a:gd name="T11" fmla="*/ 877 h 1576"/>
                <a:gd name="T12" fmla="*/ 544 w 1279"/>
                <a:gd name="T13" fmla="*/ 798 h 1576"/>
                <a:gd name="T14" fmla="*/ 568 w 1279"/>
                <a:gd name="T15" fmla="*/ 719 h 1576"/>
                <a:gd name="T16" fmla="*/ 638 w 1279"/>
                <a:gd name="T17" fmla="*/ 587 h 1576"/>
                <a:gd name="T18" fmla="*/ 676 w 1279"/>
                <a:gd name="T19" fmla="*/ 482 h 1576"/>
                <a:gd name="T20" fmla="*/ 762 w 1279"/>
                <a:gd name="T21" fmla="*/ 376 h 1576"/>
                <a:gd name="T22" fmla="*/ 833 w 1279"/>
                <a:gd name="T23" fmla="*/ 340 h 1576"/>
                <a:gd name="T24" fmla="*/ 880 w 1279"/>
                <a:gd name="T25" fmla="*/ 247 h 1576"/>
                <a:gd name="T26" fmla="*/ 993 w 1279"/>
                <a:gd name="T27" fmla="*/ 297 h 1576"/>
                <a:gd name="T28" fmla="*/ 1053 w 1279"/>
                <a:gd name="T29" fmla="*/ 312 h 1576"/>
                <a:gd name="T30" fmla="*/ 1086 w 1279"/>
                <a:gd name="T31" fmla="*/ 189 h 1576"/>
                <a:gd name="T32" fmla="*/ 1180 w 1279"/>
                <a:gd name="T33" fmla="*/ 179 h 1576"/>
                <a:gd name="T34" fmla="*/ 1213 w 1279"/>
                <a:gd name="T35" fmla="*/ 226 h 1576"/>
                <a:gd name="T36" fmla="*/ 1241 w 1279"/>
                <a:gd name="T37" fmla="*/ 163 h 1576"/>
                <a:gd name="T38" fmla="*/ 1274 w 1279"/>
                <a:gd name="T39" fmla="*/ 89 h 1576"/>
                <a:gd name="T40" fmla="*/ 1213 w 1279"/>
                <a:gd name="T41" fmla="*/ 27 h 1576"/>
                <a:gd name="T42" fmla="*/ 1157 w 1279"/>
                <a:gd name="T43" fmla="*/ 31 h 1576"/>
                <a:gd name="T44" fmla="*/ 1124 w 1279"/>
                <a:gd name="T45" fmla="*/ 27 h 1576"/>
                <a:gd name="T46" fmla="*/ 1078 w 1279"/>
                <a:gd name="T47" fmla="*/ 62 h 1576"/>
                <a:gd name="T48" fmla="*/ 1059 w 1279"/>
                <a:gd name="T49" fmla="*/ 42 h 1576"/>
                <a:gd name="T50" fmla="*/ 988 w 1279"/>
                <a:gd name="T51" fmla="*/ 136 h 1576"/>
                <a:gd name="T52" fmla="*/ 918 w 1279"/>
                <a:gd name="T53" fmla="*/ 163 h 1576"/>
                <a:gd name="T54" fmla="*/ 842 w 1279"/>
                <a:gd name="T55" fmla="*/ 189 h 1576"/>
                <a:gd name="T56" fmla="*/ 753 w 1279"/>
                <a:gd name="T57" fmla="*/ 210 h 1576"/>
                <a:gd name="T58" fmla="*/ 743 w 1279"/>
                <a:gd name="T59" fmla="*/ 287 h 1576"/>
                <a:gd name="T60" fmla="*/ 734 w 1279"/>
                <a:gd name="T61" fmla="*/ 355 h 1576"/>
                <a:gd name="T62" fmla="*/ 662 w 1279"/>
                <a:gd name="T63" fmla="*/ 371 h 1576"/>
                <a:gd name="T64" fmla="*/ 638 w 1279"/>
                <a:gd name="T65" fmla="*/ 429 h 1576"/>
                <a:gd name="T66" fmla="*/ 582 w 1279"/>
                <a:gd name="T67" fmla="*/ 513 h 1576"/>
                <a:gd name="T68" fmla="*/ 525 w 1279"/>
                <a:gd name="T69" fmla="*/ 618 h 1576"/>
                <a:gd name="T70" fmla="*/ 479 w 1279"/>
                <a:gd name="T71" fmla="*/ 725 h 1576"/>
                <a:gd name="T72" fmla="*/ 451 w 1279"/>
                <a:gd name="T73" fmla="*/ 788 h 1576"/>
                <a:gd name="T74" fmla="*/ 361 w 1279"/>
                <a:gd name="T75" fmla="*/ 877 h 1576"/>
                <a:gd name="T76" fmla="*/ 413 w 1279"/>
                <a:gd name="T77" fmla="*/ 887 h 1576"/>
                <a:gd name="T78" fmla="*/ 333 w 1279"/>
                <a:gd name="T79" fmla="*/ 904 h 1576"/>
                <a:gd name="T80" fmla="*/ 258 w 1279"/>
                <a:gd name="T81" fmla="*/ 957 h 1576"/>
                <a:gd name="T82" fmla="*/ 195 w 1279"/>
                <a:gd name="T83" fmla="*/ 961 h 1576"/>
                <a:gd name="T84" fmla="*/ 143 w 1279"/>
                <a:gd name="T85" fmla="*/ 1001 h 1576"/>
                <a:gd name="T86" fmla="*/ 110 w 1279"/>
                <a:gd name="T87" fmla="*/ 1041 h 1576"/>
                <a:gd name="T88" fmla="*/ 44 w 1279"/>
                <a:gd name="T89" fmla="*/ 1088 h 1576"/>
                <a:gd name="T90" fmla="*/ 25 w 1279"/>
                <a:gd name="T91" fmla="*/ 1261 h 1576"/>
                <a:gd name="T92" fmla="*/ 52 w 1279"/>
                <a:gd name="T93" fmla="*/ 1301 h 1576"/>
                <a:gd name="T94" fmla="*/ 25 w 1279"/>
                <a:gd name="T95" fmla="*/ 1378 h 1576"/>
                <a:gd name="T96" fmla="*/ 42 w 1279"/>
                <a:gd name="T97" fmla="*/ 1423 h 1576"/>
                <a:gd name="T98" fmla="*/ 0 w 1279"/>
                <a:gd name="T99" fmla="*/ 1462 h 1576"/>
                <a:gd name="T100" fmla="*/ 107 w 1279"/>
                <a:gd name="T101" fmla="*/ 1576 h 1576"/>
                <a:gd name="T102" fmla="*/ 265 w 1279"/>
                <a:gd name="T103" fmla="*/ 1446 h 1576"/>
                <a:gd name="T104" fmla="*/ 321 w 1279"/>
                <a:gd name="T105" fmla="*/ 1372 h 1576"/>
                <a:gd name="T106" fmla="*/ 333 w 1279"/>
                <a:gd name="T107" fmla="*/ 1483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79" h="1576">
                  <a:moveTo>
                    <a:pt x="343" y="1483"/>
                  </a:moveTo>
                  <a:lnTo>
                    <a:pt x="347" y="1480"/>
                  </a:lnTo>
                  <a:lnTo>
                    <a:pt x="361" y="1476"/>
                  </a:lnTo>
                  <a:lnTo>
                    <a:pt x="371" y="1459"/>
                  </a:lnTo>
                  <a:lnTo>
                    <a:pt x="376" y="1439"/>
                  </a:lnTo>
                  <a:lnTo>
                    <a:pt x="380" y="1428"/>
                  </a:lnTo>
                  <a:lnTo>
                    <a:pt x="376" y="1396"/>
                  </a:lnTo>
                  <a:lnTo>
                    <a:pt x="380" y="1375"/>
                  </a:lnTo>
                  <a:lnTo>
                    <a:pt x="394" y="1365"/>
                  </a:lnTo>
                  <a:lnTo>
                    <a:pt x="427" y="1349"/>
                  </a:lnTo>
                  <a:lnTo>
                    <a:pt x="432" y="1332"/>
                  </a:lnTo>
                  <a:lnTo>
                    <a:pt x="427" y="1280"/>
                  </a:lnTo>
                  <a:lnTo>
                    <a:pt x="423" y="1270"/>
                  </a:lnTo>
                  <a:lnTo>
                    <a:pt x="423" y="1238"/>
                  </a:lnTo>
                  <a:lnTo>
                    <a:pt x="413" y="1227"/>
                  </a:lnTo>
                  <a:lnTo>
                    <a:pt x="418" y="1202"/>
                  </a:lnTo>
                  <a:lnTo>
                    <a:pt x="427" y="1202"/>
                  </a:lnTo>
                  <a:lnTo>
                    <a:pt x="451" y="1186"/>
                  </a:lnTo>
                  <a:lnTo>
                    <a:pt x="432" y="1137"/>
                  </a:lnTo>
                  <a:lnTo>
                    <a:pt x="423" y="1122"/>
                  </a:lnTo>
                  <a:lnTo>
                    <a:pt x="423" y="1118"/>
                  </a:lnTo>
                  <a:lnTo>
                    <a:pt x="423" y="1078"/>
                  </a:lnTo>
                  <a:lnTo>
                    <a:pt x="437" y="1046"/>
                  </a:lnTo>
                  <a:lnTo>
                    <a:pt x="441" y="1014"/>
                  </a:lnTo>
                  <a:lnTo>
                    <a:pt x="446" y="977"/>
                  </a:lnTo>
                  <a:lnTo>
                    <a:pt x="441" y="945"/>
                  </a:lnTo>
                  <a:lnTo>
                    <a:pt x="451" y="924"/>
                  </a:lnTo>
                  <a:lnTo>
                    <a:pt x="456" y="908"/>
                  </a:lnTo>
                  <a:lnTo>
                    <a:pt x="484" y="887"/>
                  </a:lnTo>
                  <a:lnTo>
                    <a:pt x="511" y="877"/>
                  </a:lnTo>
                  <a:lnTo>
                    <a:pt x="536" y="887"/>
                  </a:lnTo>
                  <a:lnTo>
                    <a:pt x="544" y="893"/>
                  </a:lnTo>
                  <a:lnTo>
                    <a:pt x="558" y="872"/>
                  </a:lnTo>
                  <a:lnTo>
                    <a:pt x="558" y="846"/>
                  </a:lnTo>
                  <a:lnTo>
                    <a:pt x="544" y="798"/>
                  </a:lnTo>
                  <a:lnTo>
                    <a:pt x="539" y="778"/>
                  </a:lnTo>
                  <a:lnTo>
                    <a:pt x="544" y="766"/>
                  </a:lnTo>
                  <a:lnTo>
                    <a:pt x="553" y="766"/>
                  </a:lnTo>
                  <a:lnTo>
                    <a:pt x="563" y="751"/>
                  </a:lnTo>
                  <a:lnTo>
                    <a:pt x="568" y="719"/>
                  </a:lnTo>
                  <a:lnTo>
                    <a:pt x="572" y="677"/>
                  </a:lnTo>
                  <a:lnTo>
                    <a:pt x="577" y="635"/>
                  </a:lnTo>
                  <a:lnTo>
                    <a:pt x="591" y="618"/>
                  </a:lnTo>
                  <a:lnTo>
                    <a:pt x="619" y="598"/>
                  </a:lnTo>
                  <a:lnTo>
                    <a:pt x="638" y="587"/>
                  </a:lnTo>
                  <a:lnTo>
                    <a:pt x="643" y="556"/>
                  </a:lnTo>
                  <a:lnTo>
                    <a:pt x="652" y="534"/>
                  </a:lnTo>
                  <a:lnTo>
                    <a:pt x="676" y="513"/>
                  </a:lnTo>
                  <a:lnTo>
                    <a:pt x="681" y="497"/>
                  </a:lnTo>
                  <a:lnTo>
                    <a:pt x="676" y="482"/>
                  </a:lnTo>
                  <a:lnTo>
                    <a:pt x="676" y="460"/>
                  </a:lnTo>
                  <a:lnTo>
                    <a:pt x="695" y="445"/>
                  </a:lnTo>
                  <a:lnTo>
                    <a:pt x="718" y="398"/>
                  </a:lnTo>
                  <a:lnTo>
                    <a:pt x="734" y="402"/>
                  </a:lnTo>
                  <a:lnTo>
                    <a:pt x="762" y="376"/>
                  </a:lnTo>
                  <a:lnTo>
                    <a:pt x="758" y="355"/>
                  </a:lnTo>
                  <a:lnTo>
                    <a:pt x="776" y="334"/>
                  </a:lnTo>
                  <a:lnTo>
                    <a:pt x="786" y="340"/>
                  </a:lnTo>
                  <a:lnTo>
                    <a:pt x="805" y="334"/>
                  </a:lnTo>
                  <a:lnTo>
                    <a:pt x="833" y="340"/>
                  </a:lnTo>
                  <a:lnTo>
                    <a:pt x="870" y="303"/>
                  </a:lnTo>
                  <a:lnTo>
                    <a:pt x="866" y="281"/>
                  </a:lnTo>
                  <a:lnTo>
                    <a:pt x="870" y="271"/>
                  </a:lnTo>
                  <a:lnTo>
                    <a:pt x="861" y="267"/>
                  </a:lnTo>
                  <a:lnTo>
                    <a:pt x="880" y="247"/>
                  </a:lnTo>
                  <a:lnTo>
                    <a:pt x="908" y="243"/>
                  </a:lnTo>
                  <a:lnTo>
                    <a:pt x="927" y="271"/>
                  </a:lnTo>
                  <a:lnTo>
                    <a:pt x="960" y="312"/>
                  </a:lnTo>
                  <a:lnTo>
                    <a:pt x="974" y="312"/>
                  </a:lnTo>
                  <a:lnTo>
                    <a:pt x="993" y="297"/>
                  </a:lnTo>
                  <a:lnTo>
                    <a:pt x="1007" y="293"/>
                  </a:lnTo>
                  <a:lnTo>
                    <a:pt x="1016" y="297"/>
                  </a:lnTo>
                  <a:lnTo>
                    <a:pt x="1031" y="312"/>
                  </a:lnTo>
                  <a:lnTo>
                    <a:pt x="1048" y="318"/>
                  </a:lnTo>
                  <a:lnTo>
                    <a:pt x="1053" y="312"/>
                  </a:lnTo>
                  <a:lnTo>
                    <a:pt x="1062" y="293"/>
                  </a:lnTo>
                  <a:lnTo>
                    <a:pt x="1067" y="281"/>
                  </a:lnTo>
                  <a:lnTo>
                    <a:pt x="1086" y="247"/>
                  </a:lnTo>
                  <a:lnTo>
                    <a:pt x="1091" y="243"/>
                  </a:lnTo>
                  <a:lnTo>
                    <a:pt x="1086" y="189"/>
                  </a:lnTo>
                  <a:lnTo>
                    <a:pt x="1110" y="163"/>
                  </a:lnTo>
                  <a:lnTo>
                    <a:pt x="1119" y="169"/>
                  </a:lnTo>
                  <a:lnTo>
                    <a:pt x="1147" y="136"/>
                  </a:lnTo>
                  <a:lnTo>
                    <a:pt x="1171" y="169"/>
                  </a:lnTo>
                  <a:lnTo>
                    <a:pt x="1180" y="179"/>
                  </a:lnTo>
                  <a:lnTo>
                    <a:pt x="1194" y="173"/>
                  </a:lnTo>
                  <a:lnTo>
                    <a:pt x="1204" y="189"/>
                  </a:lnTo>
                  <a:lnTo>
                    <a:pt x="1204" y="200"/>
                  </a:lnTo>
                  <a:lnTo>
                    <a:pt x="1213" y="210"/>
                  </a:lnTo>
                  <a:lnTo>
                    <a:pt x="1213" y="226"/>
                  </a:lnTo>
                  <a:lnTo>
                    <a:pt x="1227" y="206"/>
                  </a:lnTo>
                  <a:lnTo>
                    <a:pt x="1251" y="184"/>
                  </a:lnTo>
                  <a:lnTo>
                    <a:pt x="1265" y="152"/>
                  </a:lnTo>
                  <a:lnTo>
                    <a:pt x="1255" y="147"/>
                  </a:lnTo>
                  <a:lnTo>
                    <a:pt x="1241" y="163"/>
                  </a:lnTo>
                  <a:lnTo>
                    <a:pt x="1237" y="136"/>
                  </a:lnTo>
                  <a:lnTo>
                    <a:pt x="1227" y="132"/>
                  </a:lnTo>
                  <a:lnTo>
                    <a:pt x="1223" y="116"/>
                  </a:lnTo>
                  <a:lnTo>
                    <a:pt x="1260" y="83"/>
                  </a:lnTo>
                  <a:lnTo>
                    <a:pt x="1274" y="89"/>
                  </a:lnTo>
                  <a:lnTo>
                    <a:pt x="1279" y="68"/>
                  </a:lnTo>
                  <a:lnTo>
                    <a:pt x="1270" y="62"/>
                  </a:lnTo>
                  <a:lnTo>
                    <a:pt x="1246" y="52"/>
                  </a:lnTo>
                  <a:lnTo>
                    <a:pt x="1232" y="46"/>
                  </a:lnTo>
                  <a:lnTo>
                    <a:pt x="1213" y="27"/>
                  </a:lnTo>
                  <a:lnTo>
                    <a:pt x="1194" y="21"/>
                  </a:lnTo>
                  <a:lnTo>
                    <a:pt x="1175" y="42"/>
                  </a:lnTo>
                  <a:lnTo>
                    <a:pt x="1166" y="58"/>
                  </a:lnTo>
                  <a:lnTo>
                    <a:pt x="1147" y="42"/>
                  </a:lnTo>
                  <a:lnTo>
                    <a:pt x="1157" y="31"/>
                  </a:lnTo>
                  <a:lnTo>
                    <a:pt x="1161" y="5"/>
                  </a:lnTo>
                  <a:lnTo>
                    <a:pt x="1157" y="0"/>
                  </a:lnTo>
                  <a:lnTo>
                    <a:pt x="1133" y="0"/>
                  </a:lnTo>
                  <a:lnTo>
                    <a:pt x="1128" y="10"/>
                  </a:lnTo>
                  <a:lnTo>
                    <a:pt x="1124" y="27"/>
                  </a:lnTo>
                  <a:lnTo>
                    <a:pt x="1128" y="42"/>
                  </a:lnTo>
                  <a:lnTo>
                    <a:pt x="1110" y="62"/>
                  </a:lnTo>
                  <a:lnTo>
                    <a:pt x="1095" y="31"/>
                  </a:lnTo>
                  <a:lnTo>
                    <a:pt x="1081" y="37"/>
                  </a:lnTo>
                  <a:lnTo>
                    <a:pt x="1078" y="62"/>
                  </a:lnTo>
                  <a:lnTo>
                    <a:pt x="1067" y="99"/>
                  </a:lnTo>
                  <a:lnTo>
                    <a:pt x="1045" y="126"/>
                  </a:lnTo>
                  <a:lnTo>
                    <a:pt x="1031" y="95"/>
                  </a:lnTo>
                  <a:lnTo>
                    <a:pt x="1053" y="74"/>
                  </a:lnTo>
                  <a:lnTo>
                    <a:pt x="1059" y="42"/>
                  </a:lnTo>
                  <a:lnTo>
                    <a:pt x="1045" y="42"/>
                  </a:lnTo>
                  <a:lnTo>
                    <a:pt x="1021" y="42"/>
                  </a:lnTo>
                  <a:lnTo>
                    <a:pt x="1002" y="74"/>
                  </a:lnTo>
                  <a:lnTo>
                    <a:pt x="979" y="116"/>
                  </a:lnTo>
                  <a:lnTo>
                    <a:pt x="988" y="136"/>
                  </a:lnTo>
                  <a:lnTo>
                    <a:pt x="974" y="147"/>
                  </a:lnTo>
                  <a:lnTo>
                    <a:pt x="955" y="132"/>
                  </a:lnTo>
                  <a:lnTo>
                    <a:pt x="936" y="142"/>
                  </a:lnTo>
                  <a:lnTo>
                    <a:pt x="941" y="163"/>
                  </a:lnTo>
                  <a:lnTo>
                    <a:pt x="918" y="163"/>
                  </a:lnTo>
                  <a:lnTo>
                    <a:pt x="903" y="169"/>
                  </a:lnTo>
                  <a:lnTo>
                    <a:pt x="885" y="194"/>
                  </a:lnTo>
                  <a:lnTo>
                    <a:pt x="861" y="189"/>
                  </a:lnTo>
                  <a:lnTo>
                    <a:pt x="861" y="206"/>
                  </a:lnTo>
                  <a:lnTo>
                    <a:pt x="842" y="189"/>
                  </a:lnTo>
                  <a:lnTo>
                    <a:pt x="819" y="200"/>
                  </a:lnTo>
                  <a:lnTo>
                    <a:pt x="814" y="221"/>
                  </a:lnTo>
                  <a:lnTo>
                    <a:pt x="795" y="226"/>
                  </a:lnTo>
                  <a:lnTo>
                    <a:pt x="781" y="206"/>
                  </a:lnTo>
                  <a:lnTo>
                    <a:pt x="753" y="210"/>
                  </a:lnTo>
                  <a:lnTo>
                    <a:pt x="725" y="221"/>
                  </a:lnTo>
                  <a:lnTo>
                    <a:pt x="725" y="253"/>
                  </a:lnTo>
                  <a:lnTo>
                    <a:pt x="743" y="258"/>
                  </a:lnTo>
                  <a:lnTo>
                    <a:pt x="743" y="267"/>
                  </a:lnTo>
                  <a:lnTo>
                    <a:pt x="743" y="287"/>
                  </a:lnTo>
                  <a:lnTo>
                    <a:pt x="729" y="281"/>
                  </a:lnTo>
                  <a:lnTo>
                    <a:pt x="713" y="293"/>
                  </a:lnTo>
                  <a:lnTo>
                    <a:pt x="718" y="312"/>
                  </a:lnTo>
                  <a:lnTo>
                    <a:pt x="734" y="330"/>
                  </a:lnTo>
                  <a:lnTo>
                    <a:pt x="734" y="355"/>
                  </a:lnTo>
                  <a:lnTo>
                    <a:pt x="718" y="345"/>
                  </a:lnTo>
                  <a:lnTo>
                    <a:pt x="704" y="349"/>
                  </a:lnTo>
                  <a:lnTo>
                    <a:pt x="704" y="371"/>
                  </a:lnTo>
                  <a:lnTo>
                    <a:pt x="681" y="371"/>
                  </a:lnTo>
                  <a:lnTo>
                    <a:pt x="662" y="371"/>
                  </a:lnTo>
                  <a:lnTo>
                    <a:pt x="657" y="386"/>
                  </a:lnTo>
                  <a:lnTo>
                    <a:pt x="652" y="398"/>
                  </a:lnTo>
                  <a:lnTo>
                    <a:pt x="638" y="402"/>
                  </a:lnTo>
                  <a:lnTo>
                    <a:pt x="633" y="413"/>
                  </a:lnTo>
                  <a:lnTo>
                    <a:pt x="638" y="429"/>
                  </a:lnTo>
                  <a:lnTo>
                    <a:pt x="610" y="439"/>
                  </a:lnTo>
                  <a:lnTo>
                    <a:pt x="629" y="460"/>
                  </a:lnTo>
                  <a:lnTo>
                    <a:pt x="633" y="472"/>
                  </a:lnTo>
                  <a:lnTo>
                    <a:pt x="615" y="487"/>
                  </a:lnTo>
                  <a:lnTo>
                    <a:pt x="582" y="513"/>
                  </a:lnTo>
                  <a:lnTo>
                    <a:pt x="558" y="534"/>
                  </a:lnTo>
                  <a:lnTo>
                    <a:pt x="544" y="566"/>
                  </a:lnTo>
                  <a:lnTo>
                    <a:pt x="520" y="587"/>
                  </a:lnTo>
                  <a:lnTo>
                    <a:pt x="520" y="603"/>
                  </a:lnTo>
                  <a:lnTo>
                    <a:pt x="525" y="618"/>
                  </a:lnTo>
                  <a:lnTo>
                    <a:pt x="506" y="635"/>
                  </a:lnTo>
                  <a:lnTo>
                    <a:pt x="511" y="655"/>
                  </a:lnTo>
                  <a:lnTo>
                    <a:pt x="492" y="692"/>
                  </a:lnTo>
                  <a:lnTo>
                    <a:pt x="479" y="698"/>
                  </a:lnTo>
                  <a:lnTo>
                    <a:pt x="479" y="725"/>
                  </a:lnTo>
                  <a:lnTo>
                    <a:pt x="489" y="741"/>
                  </a:lnTo>
                  <a:lnTo>
                    <a:pt x="473" y="756"/>
                  </a:lnTo>
                  <a:lnTo>
                    <a:pt x="465" y="745"/>
                  </a:lnTo>
                  <a:lnTo>
                    <a:pt x="446" y="756"/>
                  </a:lnTo>
                  <a:lnTo>
                    <a:pt x="451" y="788"/>
                  </a:lnTo>
                  <a:lnTo>
                    <a:pt x="432" y="798"/>
                  </a:lnTo>
                  <a:lnTo>
                    <a:pt x="404" y="803"/>
                  </a:lnTo>
                  <a:lnTo>
                    <a:pt x="385" y="830"/>
                  </a:lnTo>
                  <a:lnTo>
                    <a:pt x="380" y="856"/>
                  </a:lnTo>
                  <a:lnTo>
                    <a:pt x="361" y="877"/>
                  </a:lnTo>
                  <a:lnTo>
                    <a:pt x="361" y="893"/>
                  </a:lnTo>
                  <a:lnTo>
                    <a:pt x="385" y="872"/>
                  </a:lnTo>
                  <a:lnTo>
                    <a:pt x="413" y="850"/>
                  </a:lnTo>
                  <a:lnTo>
                    <a:pt x="423" y="856"/>
                  </a:lnTo>
                  <a:lnTo>
                    <a:pt x="413" y="887"/>
                  </a:lnTo>
                  <a:lnTo>
                    <a:pt x="390" y="904"/>
                  </a:lnTo>
                  <a:lnTo>
                    <a:pt x="366" y="899"/>
                  </a:lnTo>
                  <a:lnTo>
                    <a:pt x="371" y="920"/>
                  </a:lnTo>
                  <a:lnTo>
                    <a:pt x="338" y="936"/>
                  </a:lnTo>
                  <a:lnTo>
                    <a:pt x="333" y="904"/>
                  </a:lnTo>
                  <a:lnTo>
                    <a:pt x="319" y="893"/>
                  </a:lnTo>
                  <a:lnTo>
                    <a:pt x="300" y="924"/>
                  </a:lnTo>
                  <a:lnTo>
                    <a:pt x="281" y="924"/>
                  </a:lnTo>
                  <a:lnTo>
                    <a:pt x="261" y="930"/>
                  </a:lnTo>
                  <a:lnTo>
                    <a:pt x="258" y="957"/>
                  </a:lnTo>
                  <a:lnTo>
                    <a:pt x="248" y="961"/>
                  </a:lnTo>
                  <a:lnTo>
                    <a:pt x="248" y="975"/>
                  </a:lnTo>
                  <a:lnTo>
                    <a:pt x="237" y="970"/>
                  </a:lnTo>
                  <a:lnTo>
                    <a:pt x="220" y="958"/>
                  </a:lnTo>
                  <a:lnTo>
                    <a:pt x="195" y="961"/>
                  </a:lnTo>
                  <a:lnTo>
                    <a:pt x="195" y="977"/>
                  </a:lnTo>
                  <a:lnTo>
                    <a:pt x="197" y="991"/>
                  </a:lnTo>
                  <a:lnTo>
                    <a:pt x="187" y="995"/>
                  </a:lnTo>
                  <a:lnTo>
                    <a:pt x="164" y="982"/>
                  </a:lnTo>
                  <a:lnTo>
                    <a:pt x="143" y="1001"/>
                  </a:lnTo>
                  <a:lnTo>
                    <a:pt x="148" y="1017"/>
                  </a:lnTo>
                  <a:lnTo>
                    <a:pt x="145" y="1028"/>
                  </a:lnTo>
                  <a:lnTo>
                    <a:pt x="124" y="1017"/>
                  </a:lnTo>
                  <a:lnTo>
                    <a:pt x="118" y="1031"/>
                  </a:lnTo>
                  <a:lnTo>
                    <a:pt x="110" y="1041"/>
                  </a:lnTo>
                  <a:lnTo>
                    <a:pt x="85" y="1035"/>
                  </a:lnTo>
                  <a:lnTo>
                    <a:pt x="71" y="1038"/>
                  </a:lnTo>
                  <a:lnTo>
                    <a:pt x="68" y="1059"/>
                  </a:lnTo>
                  <a:lnTo>
                    <a:pt x="58" y="1065"/>
                  </a:lnTo>
                  <a:lnTo>
                    <a:pt x="44" y="1088"/>
                  </a:lnTo>
                  <a:lnTo>
                    <a:pt x="47" y="1118"/>
                  </a:lnTo>
                  <a:lnTo>
                    <a:pt x="42" y="1159"/>
                  </a:lnTo>
                  <a:lnTo>
                    <a:pt x="35" y="1202"/>
                  </a:lnTo>
                  <a:lnTo>
                    <a:pt x="30" y="1241"/>
                  </a:lnTo>
                  <a:lnTo>
                    <a:pt x="25" y="1261"/>
                  </a:lnTo>
                  <a:lnTo>
                    <a:pt x="38" y="1280"/>
                  </a:lnTo>
                  <a:lnTo>
                    <a:pt x="58" y="1264"/>
                  </a:lnTo>
                  <a:lnTo>
                    <a:pt x="72" y="1273"/>
                  </a:lnTo>
                  <a:lnTo>
                    <a:pt x="72" y="1288"/>
                  </a:lnTo>
                  <a:lnTo>
                    <a:pt x="52" y="1301"/>
                  </a:lnTo>
                  <a:lnTo>
                    <a:pt x="49" y="1328"/>
                  </a:lnTo>
                  <a:lnTo>
                    <a:pt x="44" y="1341"/>
                  </a:lnTo>
                  <a:lnTo>
                    <a:pt x="24" y="1338"/>
                  </a:lnTo>
                  <a:lnTo>
                    <a:pt x="16" y="1369"/>
                  </a:lnTo>
                  <a:lnTo>
                    <a:pt x="25" y="1378"/>
                  </a:lnTo>
                  <a:lnTo>
                    <a:pt x="44" y="1372"/>
                  </a:lnTo>
                  <a:lnTo>
                    <a:pt x="54" y="1386"/>
                  </a:lnTo>
                  <a:lnTo>
                    <a:pt x="56" y="1394"/>
                  </a:lnTo>
                  <a:lnTo>
                    <a:pt x="40" y="1405"/>
                  </a:lnTo>
                  <a:lnTo>
                    <a:pt x="42" y="1423"/>
                  </a:lnTo>
                  <a:lnTo>
                    <a:pt x="24" y="1428"/>
                  </a:lnTo>
                  <a:lnTo>
                    <a:pt x="11" y="1418"/>
                  </a:lnTo>
                  <a:lnTo>
                    <a:pt x="14" y="1443"/>
                  </a:lnTo>
                  <a:lnTo>
                    <a:pt x="11" y="1462"/>
                  </a:lnTo>
                  <a:lnTo>
                    <a:pt x="0" y="1462"/>
                  </a:lnTo>
                  <a:lnTo>
                    <a:pt x="28" y="1495"/>
                  </a:lnTo>
                  <a:lnTo>
                    <a:pt x="42" y="1513"/>
                  </a:lnTo>
                  <a:lnTo>
                    <a:pt x="49" y="1539"/>
                  </a:lnTo>
                  <a:lnTo>
                    <a:pt x="77" y="1557"/>
                  </a:lnTo>
                  <a:lnTo>
                    <a:pt x="107" y="1576"/>
                  </a:lnTo>
                  <a:lnTo>
                    <a:pt x="137" y="1576"/>
                  </a:lnTo>
                  <a:lnTo>
                    <a:pt x="178" y="1544"/>
                  </a:lnTo>
                  <a:lnTo>
                    <a:pt x="220" y="1510"/>
                  </a:lnTo>
                  <a:lnTo>
                    <a:pt x="258" y="1452"/>
                  </a:lnTo>
                  <a:lnTo>
                    <a:pt x="265" y="1446"/>
                  </a:lnTo>
                  <a:lnTo>
                    <a:pt x="275" y="1465"/>
                  </a:lnTo>
                  <a:lnTo>
                    <a:pt x="294" y="1452"/>
                  </a:lnTo>
                  <a:lnTo>
                    <a:pt x="300" y="1431"/>
                  </a:lnTo>
                  <a:lnTo>
                    <a:pt x="302" y="1405"/>
                  </a:lnTo>
                  <a:lnTo>
                    <a:pt x="321" y="1372"/>
                  </a:lnTo>
                  <a:lnTo>
                    <a:pt x="314" y="1409"/>
                  </a:lnTo>
                  <a:lnTo>
                    <a:pt x="324" y="1415"/>
                  </a:lnTo>
                  <a:lnTo>
                    <a:pt x="319" y="1431"/>
                  </a:lnTo>
                  <a:lnTo>
                    <a:pt x="324" y="1459"/>
                  </a:lnTo>
                  <a:lnTo>
                    <a:pt x="333" y="1483"/>
                  </a:lnTo>
                  <a:lnTo>
                    <a:pt x="344" y="1476"/>
                  </a:lnTo>
                  <a:lnTo>
                    <a:pt x="343" y="14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2" name="Freeform 553"/>
            <p:cNvSpPr>
              <a:spLocks noChangeAspect="1"/>
            </p:cNvSpPr>
            <p:nvPr/>
          </p:nvSpPr>
          <p:spPr bwMode="auto">
            <a:xfrm>
              <a:off x="2537422" y="1148650"/>
              <a:ext cx="36" cy="42"/>
            </a:xfrm>
            <a:custGeom>
              <a:avLst/>
              <a:gdLst>
                <a:gd name="T0" fmla="*/ 38 w 38"/>
                <a:gd name="T1" fmla="*/ 9 h 56"/>
                <a:gd name="T2" fmla="*/ 34 w 38"/>
                <a:gd name="T3" fmla="*/ 21 h 56"/>
                <a:gd name="T4" fmla="*/ 38 w 38"/>
                <a:gd name="T5" fmla="*/ 47 h 56"/>
                <a:gd name="T6" fmla="*/ 11 w 38"/>
                <a:gd name="T7" fmla="*/ 56 h 56"/>
                <a:gd name="T8" fmla="*/ 0 w 38"/>
                <a:gd name="T9" fmla="*/ 43 h 56"/>
                <a:gd name="T10" fmla="*/ 0 w 38"/>
                <a:gd name="T11" fmla="*/ 21 h 56"/>
                <a:gd name="T12" fmla="*/ 8 w 38"/>
                <a:gd name="T13" fmla="*/ 0 h 56"/>
                <a:gd name="T14" fmla="*/ 38 w 38"/>
                <a:gd name="T15" fmla="*/ 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6">
                  <a:moveTo>
                    <a:pt x="38" y="9"/>
                  </a:moveTo>
                  <a:lnTo>
                    <a:pt x="34" y="21"/>
                  </a:lnTo>
                  <a:lnTo>
                    <a:pt x="38" y="47"/>
                  </a:lnTo>
                  <a:lnTo>
                    <a:pt x="11" y="56"/>
                  </a:lnTo>
                  <a:lnTo>
                    <a:pt x="0" y="43"/>
                  </a:lnTo>
                  <a:lnTo>
                    <a:pt x="0" y="21"/>
                  </a:lnTo>
                  <a:lnTo>
                    <a:pt x="8" y="0"/>
                  </a:lnTo>
                  <a:lnTo>
                    <a:pt x="38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3" name="Freeform 554"/>
            <p:cNvSpPr>
              <a:spLocks noChangeAspect="1"/>
            </p:cNvSpPr>
            <p:nvPr/>
          </p:nvSpPr>
          <p:spPr bwMode="auto">
            <a:xfrm>
              <a:off x="2537367" y="1148679"/>
              <a:ext cx="32" cy="22"/>
            </a:xfrm>
            <a:custGeom>
              <a:avLst/>
              <a:gdLst>
                <a:gd name="T0" fmla="*/ 31 w 34"/>
                <a:gd name="T1" fmla="*/ 0 h 30"/>
                <a:gd name="T2" fmla="*/ 34 w 34"/>
                <a:gd name="T3" fmla="*/ 22 h 30"/>
                <a:gd name="T4" fmla="*/ 8 w 34"/>
                <a:gd name="T5" fmla="*/ 30 h 30"/>
                <a:gd name="T6" fmla="*/ 0 w 34"/>
                <a:gd name="T7" fmla="*/ 9 h 30"/>
                <a:gd name="T8" fmla="*/ 31 w 34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0">
                  <a:moveTo>
                    <a:pt x="31" y="0"/>
                  </a:moveTo>
                  <a:lnTo>
                    <a:pt x="34" y="22"/>
                  </a:lnTo>
                  <a:lnTo>
                    <a:pt x="8" y="30"/>
                  </a:lnTo>
                  <a:lnTo>
                    <a:pt x="0" y="9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4" name="Freeform 555"/>
            <p:cNvSpPr>
              <a:spLocks noChangeAspect="1"/>
            </p:cNvSpPr>
            <p:nvPr/>
          </p:nvSpPr>
          <p:spPr bwMode="auto">
            <a:xfrm>
              <a:off x="2537376" y="1148632"/>
              <a:ext cx="40" cy="27"/>
            </a:xfrm>
            <a:custGeom>
              <a:avLst/>
              <a:gdLst>
                <a:gd name="T0" fmla="*/ 0 w 41"/>
                <a:gd name="T1" fmla="*/ 23 h 36"/>
                <a:gd name="T2" fmla="*/ 30 w 41"/>
                <a:gd name="T3" fmla="*/ 36 h 36"/>
                <a:gd name="T4" fmla="*/ 41 w 41"/>
                <a:gd name="T5" fmla="*/ 9 h 36"/>
                <a:gd name="T6" fmla="*/ 22 w 41"/>
                <a:gd name="T7" fmla="*/ 0 h 36"/>
                <a:gd name="T8" fmla="*/ 11 w 41"/>
                <a:gd name="T9" fmla="*/ 9 h 36"/>
                <a:gd name="T10" fmla="*/ 0 w 41"/>
                <a:gd name="T11" fmla="*/ 16 h 36"/>
                <a:gd name="T12" fmla="*/ 0 w 41"/>
                <a:gd name="T13" fmla="*/ 2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36">
                  <a:moveTo>
                    <a:pt x="0" y="23"/>
                  </a:moveTo>
                  <a:lnTo>
                    <a:pt x="30" y="36"/>
                  </a:lnTo>
                  <a:lnTo>
                    <a:pt x="41" y="9"/>
                  </a:lnTo>
                  <a:lnTo>
                    <a:pt x="22" y="0"/>
                  </a:lnTo>
                  <a:lnTo>
                    <a:pt x="11" y="9"/>
                  </a:lnTo>
                  <a:lnTo>
                    <a:pt x="0" y="16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5" name="Freeform 556"/>
            <p:cNvSpPr>
              <a:spLocks noChangeAspect="1"/>
            </p:cNvSpPr>
            <p:nvPr/>
          </p:nvSpPr>
          <p:spPr bwMode="auto">
            <a:xfrm>
              <a:off x="2537422" y="1148608"/>
              <a:ext cx="29" cy="17"/>
            </a:xfrm>
            <a:custGeom>
              <a:avLst/>
              <a:gdLst>
                <a:gd name="T0" fmla="*/ 0 w 30"/>
                <a:gd name="T1" fmla="*/ 22 h 22"/>
                <a:gd name="T2" fmla="*/ 23 w 30"/>
                <a:gd name="T3" fmla="*/ 0 h 22"/>
                <a:gd name="T4" fmla="*/ 30 w 30"/>
                <a:gd name="T5" fmla="*/ 8 h 22"/>
                <a:gd name="T6" fmla="*/ 0 w 30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2">
                  <a:moveTo>
                    <a:pt x="0" y="22"/>
                  </a:moveTo>
                  <a:lnTo>
                    <a:pt x="23" y="0"/>
                  </a:lnTo>
                  <a:lnTo>
                    <a:pt x="30" y="8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6" name="Freeform 557"/>
            <p:cNvSpPr>
              <a:spLocks noChangeAspect="1"/>
            </p:cNvSpPr>
            <p:nvPr/>
          </p:nvSpPr>
          <p:spPr bwMode="auto">
            <a:xfrm>
              <a:off x="2537321" y="1148688"/>
              <a:ext cx="20" cy="19"/>
            </a:xfrm>
            <a:custGeom>
              <a:avLst/>
              <a:gdLst>
                <a:gd name="T0" fmla="*/ 19 w 23"/>
                <a:gd name="T1" fmla="*/ 0 h 26"/>
                <a:gd name="T2" fmla="*/ 23 w 23"/>
                <a:gd name="T3" fmla="*/ 22 h 26"/>
                <a:gd name="T4" fmla="*/ 0 w 23"/>
                <a:gd name="T5" fmla="*/ 26 h 26"/>
                <a:gd name="T6" fmla="*/ 19 w 23"/>
                <a:gd name="T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6">
                  <a:moveTo>
                    <a:pt x="19" y="0"/>
                  </a:moveTo>
                  <a:lnTo>
                    <a:pt x="23" y="22"/>
                  </a:lnTo>
                  <a:lnTo>
                    <a:pt x="0" y="26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7" name="Freeform 558"/>
            <p:cNvSpPr>
              <a:spLocks noChangeAspect="1"/>
            </p:cNvSpPr>
            <p:nvPr/>
          </p:nvSpPr>
          <p:spPr bwMode="auto">
            <a:xfrm>
              <a:off x="2537543" y="1148555"/>
              <a:ext cx="40" cy="29"/>
            </a:xfrm>
            <a:custGeom>
              <a:avLst/>
              <a:gdLst>
                <a:gd name="T0" fmla="*/ 19 w 42"/>
                <a:gd name="T1" fmla="*/ 0 h 38"/>
                <a:gd name="T2" fmla="*/ 0 w 42"/>
                <a:gd name="T3" fmla="*/ 17 h 38"/>
                <a:gd name="T4" fmla="*/ 27 w 42"/>
                <a:gd name="T5" fmla="*/ 38 h 38"/>
                <a:gd name="T6" fmla="*/ 42 w 42"/>
                <a:gd name="T7" fmla="*/ 17 h 38"/>
                <a:gd name="T8" fmla="*/ 19 w 42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8">
                  <a:moveTo>
                    <a:pt x="19" y="0"/>
                  </a:moveTo>
                  <a:lnTo>
                    <a:pt x="0" y="17"/>
                  </a:lnTo>
                  <a:lnTo>
                    <a:pt x="27" y="38"/>
                  </a:lnTo>
                  <a:lnTo>
                    <a:pt x="42" y="17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8" name="Freeform 559"/>
            <p:cNvSpPr>
              <a:spLocks noChangeAspect="1"/>
            </p:cNvSpPr>
            <p:nvPr/>
          </p:nvSpPr>
          <p:spPr bwMode="auto">
            <a:xfrm>
              <a:off x="2537579" y="1148530"/>
              <a:ext cx="40" cy="28"/>
            </a:xfrm>
            <a:custGeom>
              <a:avLst/>
              <a:gdLst>
                <a:gd name="T0" fmla="*/ 0 w 42"/>
                <a:gd name="T1" fmla="*/ 13 h 38"/>
                <a:gd name="T2" fmla="*/ 19 w 42"/>
                <a:gd name="T3" fmla="*/ 38 h 38"/>
                <a:gd name="T4" fmla="*/ 42 w 42"/>
                <a:gd name="T5" fmla="*/ 21 h 38"/>
                <a:gd name="T6" fmla="*/ 23 w 42"/>
                <a:gd name="T7" fmla="*/ 0 h 38"/>
                <a:gd name="T8" fmla="*/ 0 w 42"/>
                <a:gd name="T9" fmla="*/ 1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8">
                  <a:moveTo>
                    <a:pt x="0" y="13"/>
                  </a:moveTo>
                  <a:lnTo>
                    <a:pt x="19" y="38"/>
                  </a:lnTo>
                  <a:lnTo>
                    <a:pt x="42" y="21"/>
                  </a:lnTo>
                  <a:lnTo>
                    <a:pt x="23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9" name="Freeform 560"/>
            <p:cNvSpPr>
              <a:spLocks noChangeAspect="1"/>
            </p:cNvSpPr>
            <p:nvPr/>
          </p:nvSpPr>
          <p:spPr bwMode="auto">
            <a:xfrm>
              <a:off x="2537682" y="1148475"/>
              <a:ext cx="58" cy="35"/>
            </a:xfrm>
            <a:custGeom>
              <a:avLst/>
              <a:gdLst>
                <a:gd name="T0" fmla="*/ 26 w 60"/>
                <a:gd name="T1" fmla="*/ 13 h 47"/>
                <a:gd name="T2" fmla="*/ 38 w 60"/>
                <a:gd name="T3" fmla="*/ 22 h 47"/>
                <a:gd name="T4" fmla="*/ 60 w 60"/>
                <a:gd name="T5" fmla="*/ 0 h 47"/>
                <a:gd name="T6" fmla="*/ 49 w 60"/>
                <a:gd name="T7" fmla="*/ 43 h 47"/>
                <a:gd name="T8" fmla="*/ 26 w 60"/>
                <a:gd name="T9" fmla="*/ 47 h 47"/>
                <a:gd name="T10" fmla="*/ 0 w 60"/>
                <a:gd name="T11" fmla="*/ 17 h 47"/>
                <a:gd name="T12" fmla="*/ 26 w 60"/>
                <a:gd name="T13" fmla="*/ 1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47">
                  <a:moveTo>
                    <a:pt x="26" y="13"/>
                  </a:moveTo>
                  <a:lnTo>
                    <a:pt x="38" y="22"/>
                  </a:lnTo>
                  <a:lnTo>
                    <a:pt x="60" y="0"/>
                  </a:lnTo>
                  <a:lnTo>
                    <a:pt x="49" y="43"/>
                  </a:lnTo>
                  <a:lnTo>
                    <a:pt x="26" y="47"/>
                  </a:lnTo>
                  <a:lnTo>
                    <a:pt x="0" y="17"/>
                  </a:lnTo>
                  <a:lnTo>
                    <a:pt x="26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90" name="Freeform 561"/>
            <p:cNvSpPr>
              <a:spLocks noChangeAspect="1"/>
            </p:cNvSpPr>
            <p:nvPr/>
          </p:nvSpPr>
          <p:spPr bwMode="auto">
            <a:xfrm>
              <a:off x="2537792" y="1148442"/>
              <a:ext cx="27" cy="19"/>
            </a:xfrm>
            <a:custGeom>
              <a:avLst/>
              <a:gdLst>
                <a:gd name="T0" fmla="*/ 15 w 31"/>
                <a:gd name="T1" fmla="*/ 0 h 25"/>
                <a:gd name="T2" fmla="*/ 27 w 31"/>
                <a:gd name="T3" fmla="*/ 8 h 25"/>
                <a:gd name="T4" fmla="*/ 31 w 31"/>
                <a:gd name="T5" fmla="*/ 25 h 25"/>
                <a:gd name="T6" fmla="*/ 0 w 31"/>
                <a:gd name="T7" fmla="*/ 25 h 25"/>
                <a:gd name="T8" fmla="*/ 15 w 31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5">
                  <a:moveTo>
                    <a:pt x="15" y="0"/>
                  </a:moveTo>
                  <a:lnTo>
                    <a:pt x="27" y="8"/>
                  </a:lnTo>
                  <a:lnTo>
                    <a:pt x="31" y="25"/>
                  </a:lnTo>
                  <a:lnTo>
                    <a:pt x="0" y="2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91" name="Freeform 562"/>
            <p:cNvSpPr>
              <a:spLocks noChangeAspect="1"/>
            </p:cNvSpPr>
            <p:nvPr/>
          </p:nvSpPr>
          <p:spPr bwMode="auto">
            <a:xfrm>
              <a:off x="2537065" y="1149099"/>
              <a:ext cx="43" cy="24"/>
            </a:xfrm>
            <a:custGeom>
              <a:avLst/>
              <a:gdLst>
                <a:gd name="T0" fmla="*/ 46 w 46"/>
                <a:gd name="T1" fmla="*/ 17 h 29"/>
                <a:gd name="T2" fmla="*/ 12 w 46"/>
                <a:gd name="T3" fmla="*/ 0 h 29"/>
                <a:gd name="T4" fmla="*/ 0 w 46"/>
                <a:gd name="T5" fmla="*/ 12 h 29"/>
                <a:gd name="T6" fmla="*/ 4 w 46"/>
                <a:gd name="T7" fmla="*/ 29 h 29"/>
                <a:gd name="T8" fmla="*/ 46 w 46"/>
                <a:gd name="T9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9">
                  <a:moveTo>
                    <a:pt x="46" y="17"/>
                  </a:moveTo>
                  <a:lnTo>
                    <a:pt x="12" y="0"/>
                  </a:lnTo>
                  <a:lnTo>
                    <a:pt x="0" y="12"/>
                  </a:lnTo>
                  <a:lnTo>
                    <a:pt x="4" y="29"/>
                  </a:lnTo>
                  <a:lnTo>
                    <a:pt x="46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sp>
        <p:nvSpPr>
          <p:cNvPr id="30" name="MK"/>
          <p:cNvSpPr>
            <a:spLocks noChangeAspect="1"/>
          </p:cNvSpPr>
          <p:nvPr/>
        </p:nvSpPr>
        <p:spPr bwMode="auto">
          <a:xfrm>
            <a:off x="6932613" y="5165725"/>
            <a:ext cx="306387" cy="203200"/>
          </a:xfrm>
          <a:custGeom>
            <a:avLst/>
            <a:gdLst>
              <a:gd name="T0" fmla="*/ 8 w 205"/>
              <a:gd name="T1" fmla="*/ 47 h 156"/>
              <a:gd name="T2" fmla="*/ 43 w 205"/>
              <a:gd name="T3" fmla="*/ 20 h 156"/>
              <a:gd name="T4" fmla="*/ 66 w 205"/>
              <a:gd name="T5" fmla="*/ 15 h 156"/>
              <a:gd name="T6" fmla="*/ 89 w 205"/>
              <a:gd name="T7" fmla="*/ 8 h 156"/>
              <a:gd name="T8" fmla="*/ 108 w 205"/>
              <a:gd name="T9" fmla="*/ 8 h 156"/>
              <a:gd name="T10" fmla="*/ 127 w 205"/>
              <a:gd name="T11" fmla="*/ 0 h 156"/>
              <a:gd name="T12" fmla="*/ 159 w 205"/>
              <a:gd name="T13" fmla="*/ 8 h 156"/>
              <a:gd name="T14" fmla="*/ 178 w 205"/>
              <a:gd name="T15" fmla="*/ 7 h 156"/>
              <a:gd name="T16" fmla="*/ 197 w 205"/>
              <a:gd name="T17" fmla="*/ 28 h 156"/>
              <a:gd name="T18" fmla="*/ 195 w 205"/>
              <a:gd name="T19" fmla="*/ 89 h 156"/>
              <a:gd name="T20" fmla="*/ 205 w 205"/>
              <a:gd name="T21" fmla="*/ 97 h 156"/>
              <a:gd name="T22" fmla="*/ 191 w 205"/>
              <a:gd name="T23" fmla="*/ 122 h 156"/>
              <a:gd name="T24" fmla="*/ 146 w 205"/>
              <a:gd name="T25" fmla="*/ 132 h 156"/>
              <a:gd name="T26" fmla="*/ 127 w 205"/>
              <a:gd name="T27" fmla="*/ 126 h 156"/>
              <a:gd name="T28" fmla="*/ 114 w 205"/>
              <a:gd name="T29" fmla="*/ 156 h 156"/>
              <a:gd name="T30" fmla="*/ 80 w 205"/>
              <a:gd name="T31" fmla="*/ 153 h 156"/>
              <a:gd name="T32" fmla="*/ 66 w 205"/>
              <a:gd name="T33" fmla="*/ 149 h 156"/>
              <a:gd name="T34" fmla="*/ 46 w 205"/>
              <a:gd name="T35" fmla="*/ 148 h 156"/>
              <a:gd name="T36" fmla="*/ 34 w 205"/>
              <a:gd name="T37" fmla="*/ 135 h 156"/>
              <a:gd name="T38" fmla="*/ 27 w 205"/>
              <a:gd name="T39" fmla="*/ 139 h 156"/>
              <a:gd name="T40" fmla="*/ 11 w 205"/>
              <a:gd name="T41" fmla="*/ 126 h 156"/>
              <a:gd name="T42" fmla="*/ 0 w 205"/>
              <a:gd name="T43" fmla="*/ 89 h 156"/>
              <a:gd name="T44" fmla="*/ 9 w 205"/>
              <a:gd name="T45" fmla="*/ 71 h 156"/>
              <a:gd name="T46" fmla="*/ 8 w 205"/>
              <a:gd name="T47" fmla="*/ 47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5" h="156">
                <a:moveTo>
                  <a:pt x="8" y="47"/>
                </a:moveTo>
                <a:lnTo>
                  <a:pt x="43" y="20"/>
                </a:lnTo>
                <a:lnTo>
                  <a:pt x="66" y="15"/>
                </a:lnTo>
                <a:lnTo>
                  <a:pt x="89" y="8"/>
                </a:lnTo>
                <a:lnTo>
                  <a:pt x="108" y="8"/>
                </a:lnTo>
                <a:lnTo>
                  <a:pt x="127" y="0"/>
                </a:lnTo>
                <a:lnTo>
                  <a:pt x="159" y="8"/>
                </a:lnTo>
                <a:lnTo>
                  <a:pt x="178" y="7"/>
                </a:lnTo>
                <a:lnTo>
                  <a:pt x="197" y="28"/>
                </a:lnTo>
                <a:lnTo>
                  <a:pt x="195" y="89"/>
                </a:lnTo>
                <a:lnTo>
                  <a:pt x="205" y="97"/>
                </a:lnTo>
                <a:lnTo>
                  <a:pt x="191" y="122"/>
                </a:lnTo>
                <a:lnTo>
                  <a:pt x="146" y="132"/>
                </a:lnTo>
                <a:lnTo>
                  <a:pt x="127" y="126"/>
                </a:lnTo>
                <a:lnTo>
                  <a:pt x="114" y="156"/>
                </a:lnTo>
                <a:lnTo>
                  <a:pt x="80" y="153"/>
                </a:lnTo>
                <a:lnTo>
                  <a:pt x="66" y="149"/>
                </a:lnTo>
                <a:lnTo>
                  <a:pt x="46" y="148"/>
                </a:lnTo>
                <a:lnTo>
                  <a:pt x="34" y="135"/>
                </a:lnTo>
                <a:lnTo>
                  <a:pt x="27" y="139"/>
                </a:lnTo>
                <a:lnTo>
                  <a:pt x="11" y="126"/>
                </a:lnTo>
                <a:lnTo>
                  <a:pt x="0" y="89"/>
                </a:lnTo>
                <a:lnTo>
                  <a:pt x="9" y="71"/>
                </a:lnTo>
                <a:lnTo>
                  <a:pt x="8" y="47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31" name="PT"/>
          <p:cNvSpPr>
            <a:spLocks noChangeAspect="1"/>
          </p:cNvSpPr>
          <p:nvPr/>
        </p:nvSpPr>
        <p:spPr bwMode="auto">
          <a:xfrm>
            <a:off x="3048000" y="4589463"/>
            <a:ext cx="574675" cy="735012"/>
          </a:xfrm>
          <a:custGeom>
            <a:avLst/>
            <a:gdLst>
              <a:gd name="T0" fmla="*/ 224 w 388"/>
              <a:gd name="T1" fmla="*/ 0 h 619"/>
              <a:gd name="T2" fmla="*/ 246 w 388"/>
              <a:gd name="T3" fmla="*/ 53 h 619"/>
              <a:gd name="T4" fmla="*/ 267 w 388"/>
              <a:gd name="T5" fmla="*/ 54 h 619"/>
              <a:gd name="T6" fmla="*/ 324 w 388"/>
              <a:gd name="T7" fmla="*/ 64 h 619"/>
              <a:gd name="T8" fmla="*/ 353 w 388"/>
              <a:gd name="T9" fmla="*/ 80 h 619"/>
              <a:gd name="T10" fmla="*/ 377 w 388"/>
              <a:gd name="T11" fmla="*/ 127 h 619"/>
              <a:gd name="T12" fmla="*/ 384 w 388"/>
              <a:gd name="T13" fmla="*/ 147 h 619"/>
              <a:gd name="T14" fmla="*/ 314 w 388"/>
              <a:gd name="T15" fmla="*/ 179 h 619"/>
              <a:gd name="T16" fmla="*/ 294 w 388"/>
              <a:gd name="T17" fmla="*/ 238 h 619"/>
              <a:gd name="T18" fmla="*/ 274 w 388"/>
              <a:gd name="T19" fmla="*/ 292 h 619"/>
              <a:gd name="T20" fmla="*/ 260 w 388"/>
              <a:gd name="T21" fmla="*/ 333 h 619"/>
              <a:gd name="T22" fmla="*/ 228 w 388"/>
              <a:gd name="T23" fmla="*/ 323 h 619"/>
              <a:gd name="T24" fmla="*/ 222 w 388"/>
              <a:gd name="T25" fmla="*/ 366 h 619"/>
              <a:gd name="T26" fmla="*/ 225 w 388"/>
              <a:gd name="T27" fmla="*/ 407 h 619"/>
              <a:gd name="T28" fmla="*/ 196 w 388"/>
              <a:gd name="T29" fmla="*/ 445 h 619"/>
              <a:gd name="T30" fmla="*/ 192 w 388"/>
              <a:gd name="T31" fmla="*/ 502 h 619"/>
              <a:gd name="T32" fmla="*/ 198 w 388"/>
              <a:gd name="T33" fmla="*/ 536 h 619"/>
              <a:gd name="T34" fmla="*/ 147 w 388"/>
              <a:gd name="T35" fmla="*/ 565 h 619"/>
              <a:gd name="T36" fmla="*/ 146 w 388"/>
              <a:gd name="T37" fmla="*/ 613 h 619"/>
              <a:gd name="T38" fmla="*/ 75 w 388"/>
              <a:gd name="T39" fmla="*/ 619 h 619"/>
              <a:gd name="T40" fmla="*/ 24 w 388"/>
              <a:gd name="T41" fmla="*/ 576 h 619"/>
              <a:gd name="T42" fmla="*/ 0 w 388"/>
              <a:gd name="T43" fmla="*/ 561 h 619"/>
              <a:gd name="T44" fmla="*/ 28 w 388"/>
              <a:gd name="T45" fmla="*/ 514 h 619"/>
              <a:gd name="T46" fmla="*/ 61 w 388"/>
              <a:gd name="T47" fmla="*/ 445 h 619"/>
              <a:gd name="T48" fmla="*/ 56 w 388"/>
              <a:gd name="T49" fmla="*/ 408 h 619"/>
              <a:gd name="T50" fmla="*/ 38 w 388"/>
              <a:gd name="T51" fmla="*/ 386 h 619"/>
              <a:gd name="T52" fmla="*/ 66 w 388"/>
              <a:gd name="T53" fmla="*/ 359 h 619"/>
              <a:gd name="T54" fmla="*/ 28 w 388"/>
              <a:gd name="T55" fmla="*/ 364 h 619"/>
              <a:gd name="T56" fmla="*/ 38 w 388"/>
              <a:gd name="T57" fmla="*/ 322 h 619"/>
              <a:gd name="T58" fmla="*/ 52 w 388"/>
              <a:gd name="T59" fmla="*/ 285 h 619"/>
              <a:gd name="T60" fmla="*/ 66 w 388"/>
              <a:gd name="T61" fmla="*/ 265 h 619"/>
              <a:gd name="T62" fmla="*/ 104 w 388"/>
              <a:gd name="T63" fmla="*/ 238 h 619"/>
              <a:gd name="T64" fmla="*/ 155 w 388"/>
              <a:gd name="T65" fmla="*/ 164 h 619"/>
              <a:gd name="T66" fmla="*/ 174 w 388"/>
              <a:gd name="T67" fmla="*/ 111 h 619"/>
              <a:gd name="T68" fmla="*/ 187 w 388"/>
              <a:gd name="T69" fmla="*/ 54 h 6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8" h="619">
                <a:moveTo>
                  <a:pt x="196" y="6"/>
                </a:moveTo>
                <a:lnTo>
                  <a:pt x="224" y="0"/>
                </a:lnTo>
                <a:lnTo>
                  <a:pt x="243" y="24"/>
                </a:lnTo>
                <a:lnTo>
                  <a:pt x="246" y="53"/>
                </a:lnTo>
                <a:lnTo>
                  <a:pt x="253" y="59"/>
                </a:lnTo>
                <a:lnTo>
                  <a:pt x="267" y="54"/>
                </a:lnTo>
                <a:lnTo>
                  <a:pt x="312" y="74"/>
                </a:lnTo>
                <a:lnTo>
                  <a:pt x="324" y="64"/>
                </a:lnTo>
                <a:lnTo>
                  <a:pt x="342" y="63"/>
                </a:lnTo>
                <a:lnTo>
                  <a:pt x="353" y="80"/>
                </a:lnTo>
                <a:lnTo>
                  <a:pt x="363" y="108"/>
                </a:lnTo>
                <a:lnTo>
                  <a:pt x="377" y="127"/>
                </a:lnTo>
                <a:lnTo>
                  <a:pt x="388" y="137"/>
                </a:lnTo>
                <a:lnTo>
                  <a:pt x="384" y="147"/>
                </a:lnTo>
                <a:lnTo>
                  <a:pt x="351" y="157"/>
                </a:lnTo>
                <a:lnTo>
                  <a:pt x="314" y="179"/>
                </a:lnTo>
                <a:lnTo>
                  <a:pt x="315" y="218"/>
                </a:lnTo>
                <a:lnTo>
                  <a:pt x="294" y="238"/>
                </a:lnTo>
                <a:lnTo>
                  <a:pt x="276" y="255"/>
                </a:lnTo>
                <a:lnTo>
                  <a:pt x="274" y="292"/>
                </a:lnTo>
                <a:lnTo>
                  <a:pt x="274" y="316"/>
                </a:lnTo>
                <a:lnTo>
                  <a:pt x="260" y="333"/>
                </a:lnTo>
                <a:lnTo>
                  <a:pt x="248" y="316"/>
                </a:lnTo>
                <a:lnTo>
                  <a:pt x="228" y="323"/>
                </a:lnTo>
                <a:lnTo>
                  <a:pt x="225" y="335"/>
                </a:lnTo>
                <a:lnTo>
                  <a:pt x="222" y="366"/>
                </a:lnTo>
                <a:lnTo>
                  <a:pt x="229" y="377"/>
                </a:lnTo>
                <a:lnTo>
                  <a:pt x="225" y="407"/>
                </a:lnTo>
                <a:lnTo>
                  <a:pt x="213" y="421"/>
                </a:lnTo>
                <a:lnTo>
                  <a:pt x="196" y="445"/>
                </a:lnTo>
                <a:lnTo>
                  <a:pt x="189" y="465"/>
                </a:lnTo>
                <a:lnTo>
                  <a:pt x="192" y="502"/>
                </a:lnTo>
                <a:lnTo>
                  <a:pt x="206" y="524"/>
                </a:lnTo>
                <a:lnTo>
                  <a:pt x="198" y="536"/>
                </a:lnTo>
                <a:lnTo>
                  <a:pt x="161" y="549"/>
                </a:lnTo>
                <a:lnTo>
                  <a:pt x="147" y="565"/>
                </a:lnTo>
                <a:lnTo>
                  <a:pt x="146" y="582"/>
                </a:lnTo>
                <a:lnTo>
                  <a:pt x="146" y="613"/>
                </a:lnTo>
                <a:lnTo>
                  <a:pt x="104" y="613"/>
                </a:lnTo>
                <a:lnTo>
                  <a:pt x="75" y="619"/>
                </a:lnTo>
                <a:lnTo>
                  <a:pt x="42" y="576"/>
                </a:lnTo>
                <a:lnTo>
                  <a:pt x="24" y="576"/>
                </a:lnTo>
                <a:lnTo>
                  <a:pt x="9" y="576"/>
                </a:lnTo>
                <a:lnTo>
                  <a:pt x="0" y="561"/>
                </a:lnTo>
                <a:lnTo>
                  <a:pt x="9" y="545"/>
                </a:lnTo>
                <a:lnTo>
                  <a:pt x="28" y="514"/>
                </a:lnTo>
                <a:lnTo>
                  <a:pt x="38" y="482"/>
                </a:lnTo>
                <a:lnTo>
                  <a:pt x="61" y="445"/>
                </a:lnTo>
                <a:lnTo>
                  <a:pt x="66" y="424"/>
                </a:lnTo>
                <a:lnTo>
                  <a:pt x="56" y="408"/>
                </a:lnTo>
                <a:lnTo>
                  <a:pt x="42" y="394"/>
                </a:lnTo>
                <a:lnTo>
                  <a:pt x="38" y="386"/>
                </a:lnTo>
                <a:lnTo>
                  <a:pt x="56" y="380"/>
                </a:lnTo>
                <a:lnTo>
                  <a:pt x="66" y="359"/>
                </a:lnTo>
                <a:lnTo>
                  <a:pt x="47" y="353"/>
                </a:lnTo>
                <a:lnTo>
                  <a:pt x="28" y="364"/>
                </a:lnTo>
                <a:lnTo>
                  <a:pt x="28" y="337"/>
                </a:lnTo>
                <a:lnTo>
                  <a:pt x="38" y="322"/>
                </a:lnTo>
                <a:lnTo>
                  <a:pt x="47" y="306"/>
                </a:lnTo>
                <a:lnTo>
                  <a:pt x="52" y="285"/>
                </a:lnTo>
                <a:lnTo>
                  <a:pt x="56" y="269"/>
                </a:lnTo>
                <a:lnTo>
                  <a:pt x="66" y="265"/>
                </a:lnTo>
                <a:lnTo>
                  <a:pt x="80" y="275"/>
                </a:lnTo>
                <a:lnTo>
                  <a:pt x="104" y="238"/>
                </a:lnTo>
                <a:lnTo>
                  <a:pt x="118" y="212"/>
                </a:lnTo>
                <a:lnTo>
                  <a:pt x="155" y="164"/>
                </a:lnTo>
                <a:lnTo>
                  <a:pt x="155" y="144"/>
                </a:lnTo>
                <a:lnTo>
                  <a:pt x="174" y="111"/>
                </a:lnTo>
                <a:lnTo>
                  <a:pt x="179" y="74"/>
                </a:lnTo>
                <a:lnTo>
                  <a:pt x="187" y="54"/>
                </a:lnTo>
                <a:lnTo>
                  <a:pt x="196" y="6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grpSp>
        <p:nvGrpSpPr>
          <p:cNvPr id="32" name="ES"/>
          <p:cNvGrpSpPr>
            <a:grpSpLocks/>
          </p:cNvGrpSpPr>
          <p:nvPr/>
        </p:nvGrpSpPr>
        <p:grpSpPr bwMode="auto">
          <a:xfrm>
            <a:off x="3260628" y="4351278"/>
            <a:ext cx="1579555" cy="1219185"/>
            <a:chOff x="212709" y="4669452"/>
            <a:chExt cx="724" cy="631"/>
          </a:xfrm>
          <a:solidFill>
            <a:srgbClr val="FAFAFA"/>
          </a:solidFill>
          <a:effectLst/>
        </p:grpSpPr>
        <p:sp>
          <p:nvSpPr>
            <p:cNvPr id="77" name="Freeform 548"/>
            <p:cNvSpPr>
              <a:spLocks noChangeAspect="1"/>
            </p:cNvSpPr>
            <p:nvPr/>
          </p:nvSpPr>
          <p:spPr bwMode="auto">
            <a:xfrm>
              <a:off x="213239" y="4669976"/>
              <a:ext cx="27" cy="20"/>
            </a:xfrm>
            <a:custGeom>
              <a:avLst/>
              <a:gdLst>
                <a:gd name="T0" fmla="*/ 39 w 39"/>
                <a:gd name="T1" fmla="*/ 0 h 31"/>
                <a:gd name="T2" fmla="*/ 20 w 39"/>
                <a:gd name="T3" fmla="*/ 0 h 31"/>
                <a:gd name="T4" fmla="*/ 0 w 39"/>
                <a:gd name="T5" fmla="*/ 21 h 31"/>
                <a:gd name="T6" fmla="*/ 10 w 39"/>
                <a:gd name="T7" fmla="*/ 31 h 31"/>
                <a:gd name="T8" fmla="*/ 29 w 39"/>
                <a:gd name="T9" fmla="*/ 31 h 31"/>
                <a:gd name="T10" fmla="*/ 39 w 39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31">
                  <a:moveTo>
                    <a:pt x="39" y="0"/>
                  </a:moveTo>
                  <a:lnTo>
                    <a:pt x="20" y="0"/>
                  </a:lnTo>
                  <a:lnTo>
                    <a:pt x="0" y="21"/>
                  </a:lnTo>
                  <a:lnTo>
                    <a:pt x="10" y="31"/>
                  </a:lnTo>
                  <a:lnTo>
                    <a:pt x="29" y="31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8" name="Freeform 549"/>
            <p:cNvSpPr>
              <a:spLocks noChangeAspect="1"/>
            </p:cNvSpPr>
            <p:nvPr/>
          </p:nvSpPr>
          <p:spPr bwMode="auto">
            <a:xfrm>
              <a:off x="213316" y="4669928"/>
              <a:ext cx="62" cy="48"/>
            </a:xfrm>
            <a:custGeom>
              <a:avLst/>
              <a:gdLst>
                <a:gd name="T0" fmla="*/ 66 w 90"/>
                <a:gd name="T1" fmla="*/ 0 h 80"/>
                <a:gd name="T2" fmla="*/ 57 w 90"/>
                <a:gd name="T3" fmla="*/ 10 h 80"/>
                <a:gd name="T4" fmla="*/ 19 w 90"/>
                <a:gd name="T5" fmla="*/ 16 h 80"/>
                <a:gd name="T6" fmla="*/ 0 w 90"/>
                <a:gd name="T7" fmla="*/ 43 h 80"/>
                <a:gd name="T8" fmla="*/ 28 w 90"/>
                <a:gd name="T9" fmla="*/ 64 h 80"/>
                <a:gd name="T10" fmla="*/ 43 w 90"/>
                <a:gd name="T11" fmla="*/ 80 h 80"/>
                <a:gd name="T12" fmla="*/ 71 w 90"/>
                <a:gd name="T13" fmla="*/ 74 h 80"/>
                <a:gd name="T14" fmla="*/ 90 w 90"/>
                <a:gd name="T15" fmla="*/ 64 h 80"/>
                <a:gd name="T16" fmla="*/ 85 w 90"/>
                <a:gd name="T17" fmla="*/ 43 h 80"/>
                <a:gd name="T18" fmla="*/ 71 w 90"/>
                <a:gd name="T19" fmla="*/ 27 h 80"/>
                <a:gd name="T20" fmla="*/ 66 w 90"/>
                <a:gd name="T2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80">
                  <a:moveTo>
                    <a:pt x="66" y="0"/>
                  </a:moveTo>
                  <a:lnTo>
                    <a:pt x="57" y="10"/>
                  </a:lnTo>
                  <a:lnTo>
                    <a:pt x="19" y="16"/>
                  </a:lnTo>
                  <a:lnTo>
                    <a:pt x="0" y="43"/>
                  </a:lnTo>
                  <a:lnTo>
                    <a:pt x="28" y="64"/>
                  </a:lnTo>
                  <a:lnTo>
                    <a:pt x="43" y="80"/>
                  </a:lnTo>
                  <a:lnTo>
                    <a:pt x="71" y="74"/>
                  </a:lnTo>
                  <a:lnTo>
                    <a:pt x="90" y="64"/>
                  </a:lnTo>
                  <a:lnTo>
                    <a:pt x="85" y="43"/>
                  </a:lnTo>
                  <a:lnTo>
                    <a:pt x="71" y="27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9" name="Freeform 550"/>
            <p:cNvSpPr>
              <a:spLocks noChangeAspect="1"/>
            </p:cNvSpPr>
            <p:nvPr/>
          </p:nvSpPr>
          <p:spPr bwMode="auto">
            <a:xfrm>
              <a:off x="213412" y="4669930"/>
              <a:ext cx="21" cy="26"/>
            </a:xfrm>
            <a:custGeom>
              <a:avLst/>
              <a:gdLst>
                <a:gd name="T0" fmla="*/ 19 w 29"/>
                <a:gd name="T1" fmla="*/ 0 h 41"/>
                <a:gd name="T2" fmla="*/ 0 w 29"/>
                <a:gd name="T3" fmla="*/ 10 h 41"/>
                <a:gd name="T4" fmla="*/ 16 w 29"/>
                <a:gd name="T5" fmla="*/ 25 h 41"/>
                <a:gd name="T6" fmla="*/ 29 w 29"/>
                <a:gd name="T7" fmla="*/ 41 h 41"/>
                <a:gd name="T8" fmla="*/ 19 w 29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1">
                  <a:moveTo>
                    <a:pt x="19" y="0"/>
                  </a:moveTo>
                  <a:lnTo>
                    <a:pt x="0" y="10"/>
                  </a:lnTo>
                  <a:lnTo>
                    <a:pt x="16" y="25"/>
                  </a:lnTo>
                  <a:lnTo>
                    <a:pt x="29" y="41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80" name="Freeform 551"/>
            <p:cNvSpPr>
              <a:spLocks noChangeAspect="1"/>
            </p:cNvSpPr>
            <p:nvPr/>
          </p:nvSpPr>
          <p:spPr bwMode="auto">
            <a:xfrm>
              <a:off x="212709" y="4669452"/>
              <a:ext cx="696" cy="631"/>
            </a:xfrm>
            <a:custGeom>
              <a:avLst/>
              <a:gdLst>
                <a:gd name="T0" fmla="*/ 46 w 1024"/>
                <a:gd name="T1" fmla="*/ 185 h 1020"/>
                <a:gd name="T2" fmla="*/ 79 w 1024"/>
                <a:gd name="T3" fmla="*/ 111 h 1020"/>
                <a:gd name="T4" fmla="*/ 71 w 1024"/>
                <a:gd name="T5" fmla="*/ 84 h 1020"/>
                <a:gd name="T6" fmla="*/ 55 w 1024"/>
                <a:gd name="T7" fmla="*/ 59 h 1020"/>
                <a:gd name="T8" fmla="*/ 112 w 1024"/>
                <a:gd name="T9" fmla="*/ 27 h 1020"/>
                <a:gd name="T10" fmla="*/ 154 w 1024"/>
                <a:gd name="T11" fmla="*/ 16 h 1020"/>
                <a:gd name="T12" fmla="*/ 197 w 1024"/>
                <a:gd name="T13" fmla="*/ 6 h 1020"/>
                <a:gd name="T14" fmla="*/ 281 w 1024"/>
                <a:gd name="T15" fmla="*/ 80 h 1020"/>
                <a:gd name="T16" fmla="*/ 340 w 1024"/>
                <a:gd name="T17" fmla="*/ 84 h 1020"/>
                <a:gd name="T18" fmla="*/ 504 w 1024"/>
                <a:gd name="T19" fmla="*/ 170 h 1020"/>
                <a:gd name="T20" fmla="*/ 573 w 1024"/>
                <a:gd name="T21" fmla="*/ 190 h 1020"/>
                <a:gd name="T22" fmla="*/ 621 w 1024"/>
                <a:gd name="T23" fmla="*/ 232 h 1020"/>
                <a:gd name="T24" fmla="*/ 668 w 1024"/>
                <a:gd name="T25" fmla="*/ 238 h 1020"/>
                <a:gd name="T26" fmla="*/ 668 w 1024"/>
                <a:gd name="T27" fmla="*/ 264 h 1020"/>
                <a:gd name="T28" fmla="*/ 743 w 1024"/>
                <a:gd name="T29" fmla="*/ 343 h 1020"/>
                <a:gd name="T30" fmla="*/ 804 w 1024"/>
                <a:gd name="T31" fmla="*/ 374 h 1020"/>
                <a:gd name="T32" fmla="*/ 898 w 1024"/>
                <a:gd name="T33" fmla="*/ 406 h 1020"/>
                <a:gd name="T34" fmla="*/ 917 w 1024"/>
                <a:gd name="T35" fmla="*/ 443 h 1020"/>
                <a:gd name="T36" fmla="*/ 953 w 1024"/>
                <a:gd name="T37" fmla="*/ 458 h 1020"/>
                <a:gd name="T38" fmla="*/ 991 w 1024"/>
                <a:gd name="T39" fmla="*/ 458 h 1020"/>
                <a:gd name="T40" fmla="*/ 1015 w 1024"/>
                <a:gd name="T41" fmla="*/ 458 h 1020"/>
                <a:gd name="T42" fmla="*/ 1024 w 1024"/>
                <a:gd name="T43" fmla="*/ 507 h 1020"/>
                <a:gd name="T44" fmla="*/ 936 w 1024"/>
                <a:gd name="T45" fmla="*/ 584 h 1020"/>
                <a:gd name="T46" fmla="*/ 809 w 1024"/>
                <a:gd name="T47" fmla="*/ 609 h 1020"/>
                <a:gd name="T48" fmla="*/ 776 w 1024"/>
                <a:gd name="T49" fmla="*/ 646 h 1020"/>
                <a:gd name="T50" fmla="*/ 738 w 1024"/>
                <a:gd name="T51" fmla="*/ 662 h 1020"/>
                <a:gd name="T52" fmla="*/ 700 w 1024"/>
                <a:gd name="T53" fmla="*/ 709 h 1020"/>
                <a:gd name="T54" fmla="*/ 658 w 1024"/>
                <a:gd name="T55" fmla="*/ 741 h 1020"/>
                <a:gd name="T56" fmla="*/ 672 w 1024"/>
                <a:gd name="T57" fmla="*/ 798 h 1020"/>
                <a:gd name="T58" fmla="*/ 677 w 1024"/>
                <a:gd name="T59" fmla="*/ 841 h 1020"/>
                <a:gd name="T60" fmla="*/ 653 w 1024"/>
                <a:gd name="T61" fmla="*/ 857 h 1020"/>
                <a:gd name="T62" fmla="*/ 589 w 1024"/>
                <a:gd name="T63" fmla="*/ 921 h 1020"/>
                <a:gd name="T64" fmla="*/ 564 w 1024"/>
                <a:gd name="T65" fmla="*/ 946 h 1020"/>
                <a:gd name="T66" fmla="*/ 523 w 1024"/>
                <a:gd name="T67" fmla="*/ 962 h 1020"/>
                <a:gd name="T68" fmla="*/ 480 w 1024"/>
                <a:gd name="T69" fmla="*/ 973 h 1020"/>
                <a:gd name="T70" fmla="*/ 457 w 1024"/>
                <a:gd name="T71" fmla="*/ 1005 h 1020"/>
                <a:gd name="T72" fmla="*/ 419 w 1024"/>
                <a:gd name="T73" fmla="*/ 1015 h 1020"/>
                <a:gd name="T74" fmla="*/ 344 w 1024"/>
                <a:gd name="T75" fmla="*/ 1005 h 1020"/>
                <a:gd name="T76" fmla="*/ 229 w 1024"/>
                <a:gd name="T77" fmla="*/ 962 h 1020"/>
                <a:gd name="T78" fmla="*/ 173 w 1024"/>
                <a:gd name="T79" fmla="*/ 989 h 1020"/>
                <a:gd name="T80" fmla="*/ 121 w 1024"/>
                <a:gd name="T81" fmla="*/ 1010 h 1020"/>
                <a:gd name="T82" fmla="*/ 55 w 1024"/>
                <a:gd name="T83" fmla="*/ 958 h 1020"/>
                <a:gd name="T84" fmla="*/ 33 w 1024"/>
                <a:gd name="T85" fmla="*/ 835 h 1020"/>
                <a:gd name="T86" fmla="*/ 0 w 1024"/>
                <a:gd name="T87" fmla="*/ 794 h 1020"/>
                <a:gd name="T88" fmla="*/ 14 w 1024"/>
                <a:gd name="T89" fmla="*/ 746 h 1020"/>
                <a:gd name="T90" fmla="*/ 60 w 1024"/>
                <a:gd name="T91" fmla="*/ 720 h 1020"/>
                <a:gd name="T92" fmla="*/ 41 w 1024"/>
                <a:gd name="T93" fmla="*/ 662 h 1020"/>
                <a:gd name="T94" fmla="*/ 84 w 1024"/>
                <a:gd name="T95" fmla="*/ 599 h 1020"/>
                <a:gd name="T96" fmla="*/ 74 w 1024"/>
                <a:gd name="T97" fmla="*/ 554 h 1020"/>
                <a:gd name="T98" fmla="*/ 88 w 1024"/>
                <a:gd name="T99" fmla="*/ 512 h 1020"/>
                <a:gd name="T100" fmla="*/ 112 w 1024"/>
                <a:gd name="T101" fmla="*/ 528 h 1020"/>
                <a:gd name="T102" fmla="*/ 131 w 1024"/>
                <a:gd name="T103" fmla="*/ 448 h 1020"/>
                <a:gd name="T104" fmla="*/ 168 w 1024"/>
                <a:gd name="T105" fmla="*/ 390 h 1020"/>
                <a:gd name="T106" fmla="*/ 206 w 1024"/>
                <a:gd name="T107" fmla="*/ 349 h 1020"/>
                <a:gd name="T108" fmla="*/ 244 w 1024"/>
                <a:gd name="T109" fmla="*/ 332 h 1020"/>
                <a:gd name="T110" fmla="*/ 201 w 1024"/>
                <a:gd name="T111" fmla="*/ 264 h 1020"/>
                <a:gd name="T112" fmla="*/ 164 w 1024"/>
                <a:gd name="T113" fmla="*/ 269 h 1020"/>
                <a:gd name="T114" fmla="*/ 117 w 1024"/>
                <a:gd name="T115" fmla="*/ 248 h 1020"/>
                <a:gd name="T116" fmla="*/ 98 w 1024"/>
                <a:gd name="T117" fmla="*/ 242 h 1020"/>
                <a:gd name="T118" fmla="*/ 84 w 1024"/>
                <a:gd name="T119" fmla="*/ 201 h 1020"/>
                <a:gd name="T120" fmla="*/ 52 w 1024"/>
                <a:gd name="T121" fmla="*/ 201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4" h="1020">
                  <a:moveTo>
                    <a:pt x="52" y="201"/>
                  </a:moveTo>
                  <a:lnTo>
                    <a:pt x="46" y="185"/>
                  </a:lnTo>
                  <a:lnTo>
                    <a:pt x="52" y="164"/>
                  </a:lnTo>
                  <a:lnTo>
                    <a:pt x="79" y="111"/>
                  </a:lnTo>
                  <a:lnTo>
                    <a:pt x="65" y="100"/>
                  </a:lnTo>
                  <a:lnTo>
                    <a:pt x="71" y="84"/>
                  </a:lnTo>
                  <a:lnTo>
                    <a:pt x="55" y="80"/>
                  </a:lnTo>
                  <a:lnTo>
                    <a:pt x="55" y="59"/>
                  </a:lnTo>
                  <a:lnTo>
                    <a:pt x="65" y="43"/>
                  </a:lnTo>
                  <a:lnTo>
                    <a:pt x="112" y="27"/>
                  </a:lnTo>
                  <a:lnTo>
                    <a:pt x="150" y="32"/>
                  </a:lnTo>
                  <a:lnTo>
                    <a:pt x="154" y="16"/>
                  </a:lnTo>
                  <a:lnTo>
                    <a:pt x="182" y="0"/>
                  </a:lnTo>
                  <a:lnTo>
                    <a:pt x="197" y="6"/>
                  </a:lnTo>
                  <a:lnTo>
                    <a:pt x="229" y="53"/>
                  </a:lnTo>
                  <a:lnTo>
                    <a:pt x="281" y="80"/>
                  </a:lnTo>
                  <a:lnTo>
                    <a:pt x="328" y="80"/>
                  </a:lnTo>
                  <a:lnTo>
                    <a:pt x="340" y="84"/>
                  </a:lnTo>
                  <a:lnTo>
                    <a:pt x="466" y="164"/>
                  </a:lnTo>
                  <a:lnTo>
                    <a:pt x="504" y="170"/>
                  </a:lnTo>
                  <a:lnTo>
                    <a:pt x="532" y="201"/>
                  </a:lnTo>
                  <a:lnTo>
                    <a:pt x="573" y="190"/>
                  </a:lnTo>
                  <a:lnTo>
                    <a:pt x="597" y="207"/>
                  </a:lnTo>
                  <a:lnTo>
                    <a:pt x="621" y="232"/>
                  </a:lnTo>
                  <a:lnTo>
                    <a:pt x="649" y="232"/>
                  </a:lnTo>
                  <a:lnTo>
                    <a:pt x="668" y="238"/>
                  </a:lnTo>
                  <a:lnTo>
                    <a:pt x="677" y="248"/>
                  </a:lnTo>
                  <a:lnTo>
                    <a:pt x="668" y="264"/>
                  </a:lnTo>
                  <a:lnTo>
                    <a:pt x="668" y="285"/>
                  </a:lnTo>
                  <a:lnTo>
                    <a:pt x="743" y="343"/>
                  </a:lnTo>
                  <a:lnTo>
                    <a:pt x="785" y="380"/>
                  </a:lnTo>
                  <a:lnTo>
                    <a:pt x="804" y="374"/>
                  </a:lnTo>
                  <a:lnTo>
                    <a:pt x="827" y="369"/>
                  </a:lnTo>
                  <a:lnTo>
                    <a:pt x="898" y="406"/>
                  </a:lnTo>
                  <a:lnTo>
                    <a:pt x="906" y="433"/>
                  </a:lnTo>
                  <a:lnTo>
                    <a:pt x="917" y="443"/>
                  </a:lnTo>
                  <a:lnTo>
                    <a:pt x="939" y="448"/>
                  </a:lnTo>
                  <a:lnTo>
                    <a:pt x="953" y="458"/>
                  </a:lnTo>
                  <a:lnTo>
                    <a:pt x="972" y="458"/>
                  </a:lnTo>
                  <a:lnTo>
                    <a:pt x="991" y="458"/>
                  </a:lnTo>
                  <a:lnTo>
                    <a:pt x="1010" y="464"/>
                  </a:lnTo>
                  <a:lnTo>
                    <a:pt x="1015" y="458"/>
                  </a:lnTo>
                  <a:lnTo>
                    <a:pt x="1024" y="480"/>
                  </a:lnTo>
                  <a:lnTo>
                    <a:pt x="1024" y="507"/>
                  </a:lnTo>
                  <a:lnTo>
                    <a:pt x="1010" y="522"/>
                  </a:lnTo>
                  <a:lnTo>
                    <a:pt x="936" y="584"/>
                  </a:lnTo>
                  <a:lnTo>
                    <a:pt x="903" y="584"/>
                  </a:lnTo>
                  <a:lnTo>
                    <a:pt x="809" y="609"/>
                  </a:lnTo>
                  <a:lnTo>
                    <a:pt x="776" y="615"/>
                  </a:lnTo>
                  <a:lnTo>
                    <a:pt x="776" y="646"/>
                  </a:lnTo>
                  <a:lnTo>
                    <a:pt x="757" y="646"/>
                  </a:lnTo>
                  <a:lnTo>
                    <a:pt x="738" y="662"/>
                  </a:lnTo>
                  <a:lnTo>
                    <a:pt x="719" y="689"/>
                  </a:lnTo>
                  <a:lnTo>
                    <a:pt x="700" y="709"/>
                  </a:lnTo>
                  <a:lnTo>
                    <a:pt x="677" y="714"/>
                  </a:lnTo>
                  <a:lnTo>
                    <a:pt x="658" y="741"/>
                  </a:lnTo>
                  <a:lnTo>
                    <a:pt x="658" y="778"/>
                  </a:lnTo>
                  <a:lnTo>
                    <a:pt x="672" y="798"/>
                  </a:lnTo>
                  <a:lnTo>
                    <a:pt x="677" y="814"/>
                  </a:lnTo>
                  <a:lnTo>
                    <a:pt x="677" y="841"/>
                  </a:lnTo>
                  <a:lnTo>
                    <a:pt x="672" y="851"/>
                  </a:lnTo>
                  <a:lnTo>
                    <a:pt x="653" y="857"/>
                  </a:lnTo>
                  <a:lnTo>
                    <a:pt x="625" y="884"/>
                  </a:lnTo>
                  <a:lnTo>
                    <a:pt x="589" y="921"/>
                  </a:lnTo>
                  <a:lnTo>
                    <a:pt x="573" y="936"/>
                  </a:lnTo>
                  <a:lnTo>
                    <a:pt x="564" y="946"/>
                  </a:lnTo>
                  <a:lnTo>
                    <a:pt x="564" y="962"/>
                  </a:lnTo>
                  <a:lnTo>
                    <a:pt x="523" y="962"/>
                  </a:lnTo>
                  <a:lnTo>
                    <a:pt x="499" y="968"/>
                  </a:lnTo>
                  <a:lnTo>
                    <a:pt x="480" y="973"/>
                  </a:lnTo>
                  <a:lnTo>
                    <a:pt x="471" y="983"/>
                  </a:lnTo>
                  <a:lnTo>
                    <a:pt x="457" y="1005"/>
                  </a:lnTo>
                  <a:lnTo>
                    <a:pt x="433" y="1015"/>
                  </a:lnTo>
                  <a:lnTo>
                    <a:pt x="419" y="1015"/>
                  </a:lnTo>
                  <a:lnTo>
                    <a:pt x="391" y="1010"/>
                  </a:lnTo>
                  <a:lnTo>
                    <a:pt x="344" y="1005"/>
                  </a:lnTo>
                  <a:lnTo>
                    <a:pt x="262" y="968"/>
                  </a:lnTo>
                  <a:lnTo>
                    <a:pt x="229" y="962"/>
                  </a:lnTo>
                  <a:lnTo>
                    <a:pt x="197" y="973"/>
                  </a:lnTo>
                  <a:lnTo>
                    <a:pt x="173" y="989"/>
                  </a:lnTo>
                  <a:lnTo>
                    <a:pt x="145" y="993"/>
                  </a:lnTo>
                  <a:lnTo>
                    <a:pt x="121" y="1010"/>
                  </a:lnTo>
                  <a:lnTo>
                    <a:pt x="107" y="1020"/>
                  </a:lnTo>
                  <a:lnTo>
                    <a:pt x="55" y="958"/>
                  </a:lnTo>
                  <a:lnTo>
                    <a:pt x="55" y="868"/>
                  </a:lnTo>
                  <a:lnTo>
                    <a:pt x="33" y="835"/>
                  </a:lnTo>
                  <a:lnTo>
                    <a:pt x="5" y="810"/>
                  </a:lnTo>
                  <a:lnTo>
                    <a:pt x="0" y="794"/>
                  </a:lnTo>
                  <a:lnTo>
                    <a:pt x="0" y="761"/>
                  </a:lnTo>
                  <a:lnTo>
                    <a:pt x="14" y="746"/>
                  </a:lnTo>
                  <a:lnTo>
                    <a:pt x="52" y="730"/>
                  </a:lnTo>
                  <a:lnTo>
                    <a:pt x="60" y="720"/>
                  </a:lnTo>
                  <a:lnTo>
                    <a:pt x="46" y="699"/>
                  </a:lnTo>
                  <a:lnTo>
                    <a:pt x="41" y="662"/>
                  </a:lnTo>
                  <a:lnTo>
                    <a:pt x="55" y="630"/>
                  </a:lnTo>
                  <a:lnTo>
                    <a:pt x="84" y="599"/>
                  </a:lnTo>
                  <a:lnTo>
                    <a:pt x="84" y="575"/>
                  </a:lnTo>
                  <a:lnTo>
                    <a:pt x="74" y="554"/>
                  </a:lnTo>
                  <a:lnTo>
                    <a:pt x="84" y="517"/>
                  </a:lnTo>
                  <a:lnTo>
                    <a:pt x="88" y="512"/>
                  </a:lnTo>
                  <a:lnTo>
                    <a:pt x="102" y="512"/>
                  </a:lnTo>
                  <a:lnTo>
                    <a:pt x="112" y="528"/>
                  </a:lnTo>
                  <a:lnTo>
                    <a:pt x="126" y="507"/>
                  </a:lnTo>
                  <a:lnTo>
                    <a:pt x="131" y="448"/>
                  </a:lnTo>
                  <a:lnTo>
                    <a:pt x="168" y="411"/>
                  </a:lnTo>
                  <a:lnTo>
                    <a:pt x="168" y="390"/>
                  </a:lnTo>
                  <a:lnTo>
                    <a:pt x="168" y="374"/>
                  </a:lnTo>
                  <a:lnTo>
                    <a:pt x="206" y="349"/>
                  </a:lnTo>
                  <a:lnTo>
                    <a:pt x="234" y="343"/>
                  </a:lnTo>
                  <a:lnTo>
                    <a:pt x="244" y="332"/>
                  </a:lnTo>
                  <a:lnTo>
                    <a:pt x="220" y="306"/>
                  </a:lnTo>
                  <a:lnTo>
                    <a:pt x="201" y="264"/>
                  </a:lnTo>
                  <a:lnTo>
                    <a:pt x="192" y="254"/>
                  </a:lnTo>
                  <a:lnTo>
                    <a:pt x="164" y="269"/>
                  </a:lnTo>
                  <a:lnTo>
                    <a:pt x="145" y="259"/>
                  </a:lnTo>
                  <a:lnTo>
                    <a:pt x="117" y="248"/>
                  </a:lnTo>
                  <a:lnTo>
                    <a:pt x="107" y="254"/>
                  </a:lnTo>
                  <a:lnTo>
                    <a:pt x="98" y="242"/>
                  </a:lnTo>
                  <a:lnTo>
                    <a:pt x="98" y="222"/>
                  </a:lnTo>
                  <a:lnTo>
                    <a:pt x="84" y="201"/>
                  </a:lnTo>
                  <a:lnTo>
                    <a:pt x="74" y="195"/>
                  </a:lnTo>
                  <a:lnTo>
                    <a:pt x="52" y="2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grpSp>
        <p:nvGrpSpPr>
          <p:cNvPr id="33" name="IT"/>
          <p:cNvGrpSpPr>
            <a:grpSpLocks/>
          </p:cNvGrpSpPr>
          <p:nvPr/>
        </p:nvGrpSpPr>
        <p:grpSpPr bwMode="auto">
          <a:xfrm>
            <a:off x="5286549" y="4381647"/>
            <a:ext cx="1374773" cy="1579562"/>
            <a:chOff x="2243131" y="4710790"/>
            <a:chExt cx="631" cy="817"/>
          </a:xfrm>
          <a:solidFill>
            <a:srgbClr val="FAFAFA"/>
          </a:solidFill>
          <a:effectLst/>
        </p:grpSpPr>
        <p:sp>
          <p:nvSpPr>
            <p:cNvPr id="74" name="Freeform 545"/>
            <p:cNvSpPr>
              <a:spLocks noChangeAspect="1"/>
            </p:cNvSpPr>
            <p:nvPr/>
          </p:nvSpPr>
          <p:spPr bwMode="auto">
            <a:xfrm>
              <a:off x="2243153" y="4711222"/>
              <a:ext cx="100" cy="168"/>
            </a:xfrm>
            <a:custGeom>
              <a:avLst/>
              <a:gdLst>
                <a:gd name="T0" fmla="*/ 89 w 150"/>
                <a:gd name="T1" fmla="*/ 0 h 275"/>
                <a:gd name="T2" fmla="*/ 66 w 150"/>
                <a:gd name="T3" fmla="*/ 16 h 275"/>
                <a:gd name="T4" fmla="*/ 47 w 150"/>
                <a:gd name="T5" fmla="*/ 31 h 275"/>
                <a:gd name="T6" fmla="*/ 28 w 150"/>
                <a:gd name="T7" fmla="*/ 37 h 275"/>
                <a:gd name="T8" fmla="*/ 0 w 150"/>
                <a:gd name="T9" fmla="*/ 31 h 275"/>
                <a:gd name="T10" fmla="*/ 5 w 150"/>
                <a:gd name="T11" fmla="*/ 64 h 275"/>
                <a:gd name="T12" fmla="*/ 19 w 150"/>
                <a:gd name="T13" fmla="*/ 84 h 275"/>
                <a:gd name="T14" fmla="*/ 14 w 150"/>
                <a:gd name="T15" fmla="*/ 138 h 275"/>
                <a:gd name="T16" fmla="*/ 14 w 150"/>
                <a:gd name="T17" fmla="*/ 164 h 275"/>
                <a:gd name="T18" fmla="*/ 19 w 150"/>
                <a:gd name="T19" fmla="*/ 185 h 275"/>
                <a:gd name="T20" fmla="*/ 5 w 150"/>
                <a:gd name="T21" fmla="*/ 228 h 275"/>
                <a:gd name="T22" fmla="*/ 9 w 150"/>
                <a:gd name="T23" fmla="*/ 259 h 275"/>
                <a:gd name="T24" fmla="*/ 28 w 150"/>
                <a:gd name="T25" fmla="*/ 275 h 275"/>
                <a:gd name="T26" fmla="*/ 56 w 150"/>
                <a:gd name="T27" fmla="*/ 253 h 275"/>
                <a:gd name="T28" fmla="*/ 66 w 150"/>
                <a:gd name="T29" fmla="*/ 248 h 275"/>
                <a:gd name="T30" fmla="*/ 94 w 150"/>
                <a:gd name="T31" fmla="*/ 253 h 275"/>
                <a:gd name="T32" fmla="*/ 113 w 150"/>
                <a:gd name="T33" fmla="*/ 232 h 275"/>
                <a:gd name="T34" fmla="*/ 113 w 150"/>
                <a:gd name="T35" fmla="*/ 211 h 275"/>
                <a:gd name="T36" fmla="*/ 136 w 150"/>
                <a:gd name="T37" fmla="*/ 169 h 275"/>
                <a:gd name="T38" fmla="*/ 145 w 150"/>
                <a:gd name="T39" fmla="*/ 142 h 275"/>
                <a:gd name="T40" fmla="*/ 136 w 150"/>
                <a:gd name="T41" fmla="*/ 117 h 275"/>
                <a:gd name="T42" fmla="*/ 150 w 150"/>
                <a:gd name="T43" fmla="*/ 84 h 275"/>
                <a:gd name="T44" fmla="*/ 141 w 150"/>
                <a:gd name="T45" fmla="*/ 37 h 275"/>
                <a:gd name="T46" fmla="*/ 136 w 150"/>
                <a:gd name="T47" fmla="*/ 10 h 275"/>
                <a:gd name="T48" fmla="*/ 89 w 150"/>
                <a:gd name="T49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0" h="275">
                  <a:moveTo>
                    <a:pt x="89" y="0"/>
                  </a:moveTo>
                  <a:lnTo>
                    <a:pt x="66" y="16"/>
                  </a:lnTo>
                  <a:lnTo>
                    <a:pt x="47" y="31"/>
                  </a:lnTo>
                  <a:lnTo>
                    <a:pt x="28" y="37"/>
                  </a:lnTo>
                  <a:lnTo>
                    <a:pt x="0" y="31"/>
                  </a:lnTo>
                  <a:lnTo>
                    <a:pt x="5" y="64"/>
                  </a:lnTo>
                  <a:lnTo>
                    <a:pt x="19" y="84"/>
                  </a:lnTo>
                  <a:lnTo>
                    <a:pt x="14" y="138"/>
                  </a:lnTo>
                  <a:lnTo>
                    <a:pt x="14" y="164"/>
                  </a:lnTo>
                  <a:lnTo>
                    <a:pt x="19" y="185"/>
                  </a:lnTo>
                  <a:lnTo>
                    <a:pt x="5" y="228"/>
                  </a:lnTo>
                  <a:lnTo>
                    <a:pt x="9" y="259"/>
                  </a:lnTo>
                  <a:lnTo>
                    <a:pt x="28" y="275"/>
                  </a:lnTo>
                  <a:lnTo>
                    <a:pt x="56" y="253"/>
                  </a:lnTo>
                  <a:lnTo>
                    <a:pt x="66" y="248"/>
                  </a:lnTo>
                  <a:lnTo>
                    <a:pt x="94" y="253"/>
                  </a:lnTo>
                  <a:lnTo>
                    <a:pt x="113" y="232"/>
                  </a:lnTo>
                  <a:lnTo>
                    <a:pt x="113" y="211"/>
                  </a:lnTo>
                  <a:lnTo>
                    <a:pt x="136" y="169"/>
                  </a:lnTo>
                  <a:lnTo>
                    <a:pt x="145" y="142"/>
                  </a:lnTo>
                  <a:lnTo>
                    <a:pt x="136" y="117"/>
                  </a:lnTo>
                  <a:lnTo>
                    <a:pt x="150" y="84"/>
                  </a:lnTo>
                  <a:lnTo>
                    <a:pt x="141" y="37"/>
                  </a:lnTo>
                  <a:lnTo>
                    <a:pt x="136" y="10"/>
                  </a:lnTo>
                  <a:lnTo>
                    <a:pt x="8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5" name="Freeform 546"/>
            <p:cNvSpPr>
              <a:spLocks noChangeAspect="1"/>
            </p:cNvSpPr>
            <p:nvPr/>
          </p:nvSpPr>
          <p:spPr bwMode="auto">
            <a:xfrm>
              <a:off x="2243388" y="4711487"/>
              <a:ext cx="184" cy="120"/>
            </a:xfrm>
            <a:custGeom>
              <a:avLst/>
              <a:gdLst>
                <a:gd name="T0" fmla="*/ 260 w 274"/>
                <a:gd name="T1" fmla="*/ 0 h 194"/>
                <a:gd name="T2" fmla="*/ 274 w 274"/>
                <a:gd name="T3" fmla="*/ 16 h 194"/>
                <a:gd name="T4" fmla="*/ 265 w 274"/>
                <a:gd name="T5" fmla="*/ 32 h 194"/>
                <a:gd name="T6" fmla="*/ 255 w 274"/>
                <a:gd name="T7" fmla="*/ 57 h 194"/>
                <a:gd name="T8" fmla="*/ 241 w 274"/>
                <a:gd name="T9" fmla="*/ 73 h 194"/>
                <a:gd name="T10" fmla="*/ 246 w 274"/>
                <a:gd name="T11" fmla="*/ 121 h 194"/>
                <a:gd name="T12" fmla="*/ 255 w 274"/>
                <a:gd name="T13" fmla="*/ 157 h 194"/>
                <a:gd name="T14" fmla="*/ 231 w 274"/>
                <a:gd name="T15" fmla="*/ 172 h 194"/>
                <a:gd name="T16" fmla="*/ 227 w 274"/>
                <a:gd name="T17" fmla="*/ 188 h 194"/>
                <a:gd name="T18" fmla="*/ 208 w 274"/>
                <a:gd name="T19" fmla="*/ 194 h 194"/>
                <a:gd name="T20" fmla="*/ 180 w 274"/>
                <a:gd name="T21" fmla="*/ 162 h 194"/>
                <a:gd name="T22" fmla="*/ 161 w 274"/>
                <a:gd name="T23" fmla="*/ 162 h 194"/>
                <a:gd name="T24" fmla="*/ 146 w 274"/>
                <a:gd name="T25" fmla="*/ 137 h 194"/>
                <a:gd name="T26" fmla="*/ 118 w 274"/>
                <a:gd name="T27" fmla="*/ 121 h 194"/>
                <a:gd name="T28" fmla="*/ 99 w 274"/>
                <a:gd name="T29" fmla="*/ 115 h 194"/>
                <a:gd name="T30" fmla="*/ 80 w 274"/>
                <a:gd name="T31" fmla="*/ 105 h 194"/>
                <a:gd name="T32" fmla="*/ 61 w 274"/>
                <a:gd name="T33" fmla="*/ 88 h 194"/>
                <a:gd name="T34" fmla="*/ 28 w 274"/>
                <a:gd name="T35" fmla="*/ 63 h 194"/>
                <a:gd name="T36" fmla="*/ 14 w 274"/>
                <a:gd name="T37" fmla="*/ 57 h 194"/>
                <a:gd name="T38" fmla="*/ 0 w 274"/>
                <a:gd name="T39" fmla="*/ 41 h 194"/>
                <a:gd name="T40" fmla="*/ 0 w 274"/>
                <a:gd name="T41" fmla="*/ 22 h 194"/>
                <a:gd name="T42" fmla="*/ 5 w 274"/>
                <a:gd name="T43" fmla="*/ 6 h 194"/>
                <a:gd name="T44" fmla="*/ 33 w 274"/>
                <a:gd name="T45" fmla="*/ 10 h 194"/>
                <a:gd name="T46" fmla="*/ 76 w 274"/>
                <a:gd name="T47" fmla="*/ 10 h 194"/>
                <a:gd name="T48" fmla="*/ 85 w 274"/>
                <a:gd name="T49" fmla="*/ 26 h 194"/>
                <a:gd name="T50" fmla="*/ 132 w 274"/>
                <a:gd name="T51" fmla="*/ 26 h 194"/>
                <a:gd name="T52" fmla="*/ 165 w 274"/>
                <a:gd name="T53" fmla="*/ 26 h 194"/>
                <a:gd name="T54" fmla="*/ 208 w 274"/>
                <a:gd name="T55" fmla="*/ 16 h 194"/>
                <a:gd name="T56" fmla="*/ 260 w 274"/>
                <a:gd name="T57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4" h="194">
                  <a:moveTo>
                    <a:pt x="260" y="0"/>
                  </a:moveTo>
                  <a:lnTo>
                    <a:pt x="274" y="16"/>
                  </a:lnTo>
                  <a:lnTo>
                    <a:pt x="265" y="32"/>
                  </a:lnTo>
                  <a:lnTo>
                    <a:pt x="255" y="57"/>
                  </a:lnTo>
                  <a:lnTo>
                    <a:pt x="241" y="73"/>
                  </a:lnTo>
                  <a:lnTo>
                    <a:pt x="246" y="121"/>
                  </a:lnTo>
                  <a:lnTo>
                    <a:pt x="255" y="157"/>
                  </a:lnTo>
                  <a:lnTo>
                    <a:pt x="231" y="172"/>
                  </a:lnTo>
                  <a:lnTo>
                    <a:pt x="227" y="188"/>
                  </a:lnTo>
                  <a:lnTo>
                    <a:pt x="208" y="194"/>
                  </a:lnTo>
                  <a:lnTo>
                    <a:pt x="180" y="162"/>
                  </a:lnTo>
                  <a:lnTo>
                    <a:pt x="161" y="162"/>
                  </a:lnTo>
                  <a:lnTo>
                    <a:pt x="146" y="137"/>
                  </a:lnTo>
                  <a:lnTo>
                    <a:pt x="118" y="121"/>
                  </a:lnTo>
                  <a:lnTo>
                    <a:pt x="99" y="115"/>
                  </a:lnTo>
                  <a:lnTo>
                    <a:pt x="80" y="105"/>
                  </a:lnTo>
                  <a:lnTo>
                    <a:pt x="61" y="88"/>
                  </a:lnTo>
                  <a:lnTo>
                    <a:pt x="28" y="63"/>
                  </a:lnTo>
                  <a:lnTo>
                    <a:pt x="14" y="57"/>
                  </a:lnTo>
                  <a:lnTo>
                    <a:pt x="0" y="41"/>
                  </a:lnTo>
                  <a:lnTo>
                    <a:pt x="0" y="22"/>
                  </a:lnTo>
                  <a:lnTo>
                    <a:pt x="5" y="6"/>
                  </a:lnTo>
                  <a:lnTo>
                    <a:pt x="33" y="10"/>
                  </a:lnTo>
                  <a:lnTo>
                    <a:pt x="76" y="10"/>
                  </a:lnTo>
                  <a:lnTo>
                    <a:pt x="85" y="26"/>
                  </a:lnTo>
                  <a:lnTo>
                    <a:pt x="132" y="26"/>
                  </a:lnTo>
                  <a:lnTo>
                    <a:pt x="165" y="26"/>
                  </a:lnTo>
                  <a:lnTo>
                    <a:pt x="208" y="16"/>
                  </a:lnTo>
                  <a:lnTo>
                    <a:pt x="26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6" name="Freeform 547"/>
            <p:cNvSpPr>
              <a:spLocks noChangeAspect="1"/>
            </p:cNvSpPr>
            <p:nvPr/>
          </p:nvSpPr>
          <p:spPr bwMode="auto">
            <a:xfrm>
              <a:off x="2243131" y="4710790"/>
              <a:ext cx="631" cy="730"/>
            </a:xfrm>
            <a:custGeom>
              <a:avLst/>
              <a:gdLst>
                <a:gd name="T0" fmla="*/ 713 w 931"/>
                <a:gd name="T1" fmla="*/ 1163 h 1179"/>
                <a:gd name="T2" fmla="*/ 769 w 931"/>
                <a:gd name="T3" fmla="*/ 1052 h 1179"/>
                <a:gd name="T4" fmla="*/ 793 w 931"/>
                <a:gd name="T5" fmla="*/ 1015 h 1179"/>
                <a:gd name="T6" fmla="*/ 774 w 931"/>
                <a:gd name="T7" fmla="*/ 963 h 1179"/>
                <a:gd name="T8" fmla="*/ 751 w 931"/>
                <a:gd name="T9" fmla="*/ 957 h 1179"/>
                <a:gd name="T10" fmla="*/ 769 w 931"/>
                <a:gd name="T11" fmla="*/ 916 h 1179"/>
                <a:gd name="T12" fmla="*/ 798 w 931"/>
                <a:gd name="T13" fmla="*/ 857 h 1179"/>
                <a:gd name="T14" fmla="*/ 887 w 931"/>
                <a:gd name="T15" fmla="*/ 926 h 1179"/>
                <a:gd name="T16" fmla="*/ 924 w 931"/>
                <a:gd name="T17" fmla="*/ 926 h 1179"/>
                <a:gd name="T18" fmla="*/ 896 w 931"/>
                <a:gd name="T19" fmla="*/ 846 h 1179"/>
                <a:gd name="T20" fmla="*/ 868 w 931"/>
                <a:gd name="T21" fmla="*/ 842 h 1179"/>
                <a:gd name="T22" fmla="*/ 769 w 931"/>
                <a:gd name="T23" fmla="*/ 752 h 1179"/>
                <a:gd name="T24" fmla="*/ 708 w 931"/>
                <a:gd name="T25" fmla="*/ 704 h 1179"/>
                <a:gd name="T26" fmla="*/ 713 w 931"/>
                <a:gd name="T27" fmla="*/ 672 h 1179"/>
                <a:gd name="T28" fmla="*/ 620 w 931"/>
                <a:gd name="T29" fmla="*/ 624 h 1179"/>
                <a:gd name="T30" fmla="*/ 578 w 931"/>
                <a:gd name="T31" fmla="*/ 583 h 1179"/>
                <a:gd name="T32" fmla="*/ 479 w 931"/>
                <a:gd name="T33" fmla="*/ 416 h 1179"/>
                <a:gd name="T34" fmla="*/ 460 w 931"/>
                <a:gd name="T35" fmla="*/ 284 h 1179"/>
                <a:gd name="T36" fmla="*/ 432 w 931"/>
                <a:gd name="T37" fmla="*/ 232 h 1179"/>
                <a:gd name="T38" fmla="*/ 512 w 931"/>
                <a:gd name="T39" fmla="*/ 190 h 1179"/>
                <a:gd name="T40" fmla="*/ 549 w 931"/>
                <a:gd name="T41" fmla="*/ 99 h 1179"/>
                <a:gd name="T42" fmla="*/ 465 w 931"/>
                <a:gd name="T43" fmla="*/ 58 h 1179"/>
                <a:gd name="T44" fmla="*/ 451 w 931"/>
                <a:gd name="T45" fmla="*/ 21 h 1179"/>
                <a:gd name="T46" fmla="*/ 334 w 931"/>
                <a:gd name="T47" fmla="*/ 5 h 1179"/>
                <a:gd name="T48" fmla="*/ 278 w 931"/>
                <a:gd name="T49" fmla="*/ 74 h 1179"/>
                <a:gd name="T50" fmla="*/ 230 w 931"/>
                <a:gd name="T51" fmla="*/ 68 h 1179"/>
                <a:gd name="T52" fmla="*/ 169 w 931"/>
                <a:gd name="T53" fmla="*/ 89 h 1179"/>
                <a:gd name="T54" fmla="*/ 146 w 931"/>
                <a:gd name="T55" fmla="*/ 42 h 1179"/>
                <a:gd name="T56" fmla="*/ 113 w 931"/>
                <a:gd name="T57" fmla="*/ 84 h 1179"/>
                <a:gd name="T58" fmla="*/ 28 w 931"/>
                <a:gd name="T59" fmla="*/ 121 h 1179"/>
                <a:gd name="T60" fmla="*/ 9 w 931"/>
                <a:gd name="T61" fmla="*/ 195 h 1179"/>
                <a:gd name="T62" fmla="*/ 0 w 931"/>
                <a:gd name="T63" fmla="*/ 268 h 1179"/>
                <a:gd name="T64" fmla="*/ 38 w 931"/>
                <a:gd name="T65" fmla="*/ 296 h 1179"/>
                <a:gd name="T66" fmla="*/ 66 w 931"/>
                <a:gd name="T67" fmla="*/ 354 h 1179"/>
                <a:gd name="T68" fmla="*/ 155 w 931"/>
                <a:gd name="T69" fmla="*/ 300 h 1179"/>
                <a:gd name="T70" fmla="*/ 240 w 931"/>
                <a:gd name="T71" fmla="*/ 385 h 1179"/>
                <a:gd name="T72" fmla="*/ 278 w 931"/>
                <a:gd name="T73" fmla="*/ 500 h 1179"/>
                <a:gd name="T74" fmla="*/ 342 w 931"/>
                <a:gd name="T75" fmla="*/ 563 h 1179"/>
                <a:gd name="T76" fmla="*/ 427 w 931"/>
                <a:gd name="T77" fmla="*/ 678 h 1179"/>
                <a:gd name="T78" fmla="*/ 559 w 931"/>
                <a:gd name="T79" fmla="*/ 788 h 1179"/>
                <a:gd name="T80" fmla="*/ 601 w 931"/>
                <a:gd name="T81" fmla="*/ 820 h 1179"/>
                <a:gd name="T82" fmla="*/ 634 w 931"/>
                <a:gd name="T83" fmla="*/ 894 h 1179"/>
                <a:gd name="T84" fmla="*/ 686 w 931"/>
                <a:gd name="T85" fmla="*/ 916 h 1179"/>
                <a:gd name="T86" fmla="*/ 705 w 931"/>
                <a:gd name="T87" fmla="*/ 1010 h 1179"/>
                <a:gd name="T88" fmla="*/ 689 w 931"/>
                <a:gd name="T89" fmla="*/ 1079 h 1179"/>
                <a:gd name="T90" fmla="*/ 675 w 931"/>
                <a:gd name="T91" fmla="*/ 116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31" h="1179">
                  <a:moveTo>
                    <a:pt x="675" y="1163"/>
                  </a:moveTo>
                  <a:lnTo>
                    <a:pt x="689" y="1179"/>
                  </a:lnTo>
                  <a:lnTo>
                    <a:pt x="713" y="1163"/>
                  </a:lnTo>
                  <a:lnTo>
                    <a:pt x="741" y="1121"/>
                  </a:lnTo>
                  <a:lnTo>
                    <a:pt x="755" y="1058"/>
                  </a:lnTo>
                  <a:lnTo>
                    <a:pt x="769" y="1052"/>
                  </a:lnTo>
                  <a:lnTo>
                    <a:pt x="779" y="1062"/>
                  </a:lnTo>
                  <a:lnTo>
                    <a:pt x="798" y="1042"/>
                  </a:lnTo>
                  <a:lnTo>
                    <a:pt x="793" y="1015"/>
                  </a:lnTo>
                  <a:lnTo>
                    <a:pt x="802" y="994"/>
                  </a:lnTo>
                  <a:lnTo>
                    <a:pt x="798" y="984"/>
                  </a:lnTo>
                  <a:lnTo>
                    <a:pt x="774" y="963"/>
                  </a:lnTo>
                  <a:lnTo>
                    <a:pt x="765" y="963"/>
                  </a:lnTo>
                  <a:lnTo>
                    <a:pt x="769" y="951"/>
                  </a:lnTo>
                  <a:lnTo>
                    <a:pt x="751" y="957"/>
                  </a:lnTo>
                  <a:lnTo>
                    <a:pt x="741" y="947"/>
                  </a:lnTo>
                  <a:lnTo>
                    <a:pt x="741" y="936"/>
                  </a:lnTo>
                  <a:lnTo>
                    <a:pt x="769" y="916"/>
                  </a:lnTo>
                  <a:lnTo>
                    <a:pt x="783" y="894"/>
                  </a:lnTo>
                  <a:lnTo>
                    <a:pt x="783" y="862"/>
                  </a:lnTo>
                  <a:lnTo>
                    <a:pt x="798" y="857"/>
                  </a:lnTo>
                  <a:lnTo>
                    <a:pt x="845" y="883"/>
                  </a:lnTo>
                  <a:lnTo>
                    <a:pt x="863" y="889"/>
                  </a:lnTo>
                  <a:lnTo>
                    <a:pt x="887" y="926"/>
                  </a:lnTo>
                  <a:lnTo>
                    <a:pt x="896" y="947"/>
                  </a:lnTo>
                  <a:lnTo>
                    <a:pt x="910" y="947"/>
                  </a:lnTo>
                  <a:lnTo>
                    <a:pt x="924" y="926"/>
                  </a:lnTo>
                  <a:lnTo>
                    <a:pt x="931" y="904"/>
                  </a:lnTo>
                  <a:lnTo>
                    <a:pt x="915" y="867"/>
                  </a:lnTo>
                  <a:lnTo>
                    <a:pt x="896" y="846"/>
                  </a:lnTo>
                  <a:lnTo>
                    <a:pt x="878" y="846"/>
                  </a:lnTo>
                  <a:lnTo>
                    <a:pt x="878" y="842"/>
                  </a:lnTo>
                  <a:lnTo>
                    <a:pt x="868" y="842"/>
                  </a:lnTo>
                  <a:lnTo>
                    <a:pt x="821" y="788"/>
                  </a:lnTo>
                  <a:lnTo>
                    <a:pt x="798" y="793"/>
                  </a:lnTo>
                  <a:lnTo>
                    <a:pt x="769" y="752"/>
                  </a:lnTo>
                  <a:lnTo>
                    <a:pt x="751" y="746"/>
                  </a:lnTo>
                  <a:lnTo>
                    <a:pt x="722" y="715"/>
                  </a:lnTo>
                  <a:lnTo>
                    <a:pt x="708" y="704"/>
                  </a:lnTo>
                  <a:lnTo>
                    <a:pt x="719" y="694"/>
                  </a:lnTo>
                  <a:lnTo>
                    <a:pt x="732" y="688"/>
                  </a:lnTo>
                  <a:lnTo>
                    <a:pt x="713" y="672"/>
                  </a:lnTo>
                  <a:lnTo>
                    <a:pt x="689" y="682"/>
                  </a:lnTo>
                  <a:lnTo>
                    <a:pt x="672" y="672"/>
                  </a:lnTo>
                  <a:lnTo>
                    <a:pt x="620" y="624"/>
                  </a:lnTo>
                  <a:lnTo>
                    <a:pt x="615" y="604"/>
                  </a:lnTo>
                  <a:lnTo>
                    <a:pt x="596" y="598"/>
                  </a:lnTo>
                  <a:lnTo>
                    <a:pt x="578" y="583"/>
                  </a:lnTo>
                  <a:lnTo>
                    <a:pt x="530" y="469"/>
                  </a:lnTo>
                  <a:lnTo>
                    <a:pt x="516" y="453"/>
                  </a:lnTo>
                  <a:lnTo>
                    <a:pt x="479" y="416"/>
                  </a:lnTo>
                  <a:lnTo>
                    <a:pt x="436" y="342"/>
                  </a:lnTo>
                  <a:lnTo>
                    <a:pt x="436" y="300"/>
                  </a:lnTo>
                  <a:lnTo>
                    <a:pt x="460" y="284"/>
                  </a:lnTo>
                  <a:lnTo>
                    <a:pt x="460" y="263"/>
                  </a:lnTo>
                  <a:lnTo>
                    <a:pt x="441" y="243"/>
                  </a:lnTo>
                  <a:lnTo>
                    <a:pt x="432" y="232"/>
                  </a:lnTo>
                  <a:lnTo>
                    <a:pt x="436" y="216"/>
                  </a:lnTo>
                  <a:lnTo>
                    <a:pt x="455" y="206"/>
                  </a:lnTo>
                  <a:lnTo>
                    <a:pt x="512" y="190"/>
                  </a:lnTo>
                  <a:lnTo>
                    <a:pt x="535" y="173"/>
                  </a:lnTo>
                  <a:lnTo>
                    <a:pt x="554" y="153"/>
                  </a:lnTo>
                  <a:lnTo>
                    <a:pt x="549" y="99"/>
                  </a:lnTo>
                  <a:lnTo>
                    <a:pt x="554" y="79"/>
                  </a:lnTo>
                  <a:lnTo>
                    <a:pt x="526" y="74"/>
                  </a:lnTo>
                  <a:lnTo>
                    <a:pt x="465" y="58"/>
                  </a:lnTo>
                  <a:lnTo>
                    <a:pt x="455" y="42"/>
                  </a:lnTo>
                  <a:lnTo>
                    <a:pt x="451" y="37"/>
                  </a:lnTo>
                  <a:lnTo>
                    <a:pt x="451" y="21"/>
                  </a:lnTo>
                  <a:lnTo>
                    <a:pt x="446" y="5"/>
                  </a:lnTo>
                  <a:lnTo>
                    <a:pt x="413" y="0"/>
                  </a:lnTo>
                  <a:lnTo>
                    <a:pt x="334" y="5"/>
                  </a:lnTo>
                  <a:lnTo>
                    <a:pt x="325" y="27"/>
                  </a:lnTo>
                  <a:lnTo>
                    <a:pt x="296" y="31"/>
                  </a:lnTo>
                  <a:lnTo>
                    <a:pt x="278" y="74"/>
                  </a:lnTo>
                  <a:lnTo>
                    <a:pt x="278" y="89"/>
                  </a:lnTo>
                  <a:lnTo>
                    <a:pt x="259" y="74"/>
                  </a:lnTo>
                  <a:lnTo>
                    <a:pt x="230" y="68"/>
                  </a:lnTo>
                  <a:lnTo>
                    <a:pt x="212" y="79"/>
                  </a:lnTo>
                  <a:lnTo>
                    <a:pt x="198" y="111"/>
                  </a:lnTo>
                  <a:lnTo>
                    <a:pt x="169" y="89"/>
                  </a:lnTo>
                  <a:lnTo>
                    <a:pt x="174" y="58"/>
                  </a:lnTo>
                  <a:lnTo>
                    <a:pt x="165" y="37"/>
                  </a:lnTo>
                  <a:lnTo>
                    <a:pt x="146" y="42"/>
                  </a:lnTo>
                  <a:lnTo>
                    <a:pt x="141" y="68"/>
                  </a:lnTo>
                  <a:lnTo>
                    <a:pt x="127" y="84"/>
                  </a:lnTo>
                  <a:lnTo>
                    <a:pt x="113" y="84"/>
                  </a:lnTo>
                  <a:lnTo>
                    <a:pt x="47" y="74"/>
                  </a:lnTo>
                  <a:lnTo>
                    <a:pt x="25" y="95"/>
                  </a:lnTo>
                  <a:lnTo>
                    <a:pt x="28" y="121"/>
                  </a:lnTo>
                  <a:lnTo>
                    <a:pt x="33" y="142"/>
                  </a:lnTo>
                  <a:lnTo>
                    <a:pt x="0" y="173"/>
                  </a:lnTo>
                  <a:lnTo>
                    <a:pt x="9" y="195"/>
                  </a:lnTo>
                  <a:lnTo>
                    <a:pt x="19" y="206"/>
                  </a:lnTo>
                  <a:lnTo>
                    <a:pt x="0" y="232"/>
                  </a:lnTo>
                  <a:lnTo>
                    <a:pt x="0" y="268"/>
                  </a:lnTo>
                  <a:lnTo>
                    <a:pt x="9" y="284"/>
                  </a:lnTo>
                  <a:lnTo>
                    <a:pt x="28" y="284"/>
                  </a:lnTo>
                  <a:lnTo>
                    <a:pt x="38" y="296"/>
                  </a:lnTo>
                  <a:lnTo>
                    <a:pt x="47" y="321"/>
                  </a:lnTo>
                  <a:lnTo>
                    <a:pt x="47" y="348"/>
                  </a:lnTo>
                  <a:lnTo>
                    <a:pt x="66" y="354"/>
                  </a:lnTo>
                  <a:lnTo>
                    <a:pt x="80" y="348"/>
                  </a:lnTo>
                  <a:lnTo>
                    <a:pt x="132" y="290"/>
                  </a:lnTo>
                  <a:lnTo>
                    <a:pt x="155" y="300"/>
                  </a:lnTo>
                  <a:lnTo>
                    <a:pt x="202" y="327"/>
                  </a:lnTo>
                  <a:lnTo>
                    <a:pt x="235" y="354"/>
                  </a:lnTo>
                  <a:lnTo>
                    <a:pt x="240" y="385"/>
                  </a:lnTo>
                  <a:lnTo>
                    <a:pt x="259" y="406"/>
                  </a:lnTo>
                  <a:lnTo>
                    <a:pt x="268" y="443"/>
                  </a:lnTo>
                  <a:lnTo>
                    <a:pt x="278" y="500"/>
                  </a:lnTo>
                  <a:lnTo>
                    <a:pt x="292" y="527"/>
                  </a:lnTo>
                  <a:lnTo>
                    <a:pt x="309" y="549"/>
                  </a:lnTo>
                  <a:lnTo>
                    <a:pt x="342" y="563"/>
                  </a:lnTo>
                  <a:lnTo>
                    <a:pt x="372" y="614"/>
                  </a:lnTo>
                  <a:lnTo>
                    <a:pt x="399" y="657"/>
                  </a:lnTo>
                  <a:lnTo>
                    <a:pt x="427" y="678"/>
                  </a:lnTo>
                  <a:lnTo>
                    <a:pt x="479" y="746"/>
                  </a:lnTo>
                  <a:lnTo>
                    <a:pt x="516" y="746"/>
                  </a:lnTo>
                  <a:lnTo>
                    <a:pt x="559" y="788"/>
                  </a:lnTo>
                  <a:lnTo>
                    <a:pt x="559" y="830"/>
                  </a:lnTo>
                  <a:lnTo>
                    <a:pt x="573" y="842"/>
                  </a:lnTo>
                  <a:lnTo>
                    <a:pt x="601" y="820"/>
                  </a:lnTo>
                  <a:lnTo>
                    <a:pt x="606" y="842"/>
                  </a:lnTo>
                  <a:lnTo>
                    <a:pt x="606" y="867"/>
                  </a:lnTo>
                  <a:lnTo>
                    <a:pt x="634" y="894"/>
                  </a:lnTo>
                  <a:lnTo>
                    <a:pt x="643" y="910"/>
                  </a:lnTo>
                  <a:lnTo>
                    <a:pt x="681" y="899"/>
                  </a:lnTo>
                  <a:lnTo>
                    <a:pt x="686" y="916"/>
                  </a:lnTo>
                  <a:lnTo>
                    <a:pt x="681" y="951"/>
                  </a:lnTo>
                  <a:lnTo>
                    <a:pt x="700" y="984"/>
                  </a:lnTo>
                  <a:lnTo>
                    <a:pt x="705" y="1010"/>
                  </a:lnTo>
                  <a:lnTo>
                    <a:pt x="713" y="1037"/>
                  </a:lnTo>
                  <a:lnTo>
                    <a:pt x="708" y="1058"/>
                  </a:lnTo>
                  <a:lnTo>
                    <a:pt x="689" y="1079"/>
                  </a:lnTo>
                  <a:lnTo>
                    <a:pt x="686" y="1105"/>
                  </a:lnTo>
                  <a:lnTo>
                    <a:pt x="672" y="1136"/>
                  </a:lnTo>
                  <a:lnTo>
                    <a:pt x="675" y="116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grpSp>
        <p:nvGrpSpPr>
          <p:cNvPr id="34" name="GR"/>
          <p:cNvGrpSpPr>
            <a:grpSpLocks/>
          </p:cNvGrpSpPr>
          <p:nvPr/>
        </p:nvGrpSpPr>
        <p:grpSpPr bwMode="auto">
          <a:xfrm>
            <a:off x="6856601" y="5199139"/>
            <a:ext cx="1093780" cy="1031887"/>
            <a:chOff x="3816299" y="5517315"/>
            <a:chExt cx="501" cy="535"/>
          </a:xfrm>
          <a:solidFill>
            <a:srgbClr val="FAFAFA"/>
          </a:solidFill>
          <a:effectLst/>
        </p:grpSpPr>
        <p:sp>
          <p:nvSpPr>
            <p:cNvPr id="65" name="Freeform 536"/>
            <p:cNvSpPr>
              <a:spLocks noChangeAspect="1"/>
            </p:cNvSpPr>
            <p:nvPr/>
          </p:nvSpPr>
          <p:spPr bwMode="auto">
            <a:xfrm>
              <a:off x="3816585" y="5517458"/>
              <a:ext cx="26" cy="24"/>
            </a:xfrm>
            <a:custGeom>
              <a:avLst/>
              <a:gdLst>
                <a:gd name="T0" fmla="*/ 38 w 38"/>
                <a:gd name="T1" fmla="*/ 0 h 40"/>
                <a:gd name="T2" fmla="*/ 14 w 38"/>
                <a:gd name="T3" fmla="*/ 0 h 40"/>
                <a:gd name="T4" fmla="*/ 2 w 38"/>
                <a:gd name="T5" fmla="*/ 9 h 40"/>
                <a:gd name="T6" fmla="*/ 0 w 38"/>
                <a:gd name="T7" fmla="*/ 22 h 40"/>
                <a:gd name="T8" fmla="*/ 0 w 38"/>
                <a:gd name="T9" fmla="*/ 37 h 40"/>
                <a:gd name="T10" fmla="*/ 11 w 38"/>
                <a:gd name="T11" fmla="*/ 40 h 40"/>
                <a:gd name="T12" fmla="*/ 33 w 38"/>
                <a:gd name="T13" fmla="*/ 25 h 40"/>
                <a:gd name="T14" fmla="*/ 38 w 38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40">
                  <a:moveTo>
                    <a:pt x="38" y="0"/>
                  </a:moveTo>
                  <a:lnTo>
                    <a:pt x="14" y="0"/>
                  </a:lnTo>
                  <a:lnTo>
                    <a:pt x="2" y="9"/>
                  </a:lnTo>
                  <a:lnTo>
                    <a:pt x="0" y="22"/>
                  </a:lnTo>
                  <a:lnTo>
                    <a:pt x="0" y="37"/>
                  </a:lnTo>
                  <a:lnTo>
                    <a:pt x="11" y="40"/>
                  </a:lnTo>
                  <a:lnTo>
                    <a:pt x="33" y="25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66" name="Freeform 537"/>
            <p:cNvSpPr>
              <a:spLocks noChangeAspect="1"/>
            </p:cNvSpPr>
            <p:nvPr/>
          </p:nvSpPr>
          <p:spPr bwMode="auto">
            <a:xfrm>
              <a:off x="3816633" y="5517499"/>
              <a:ext cx="45" cy="33"/>
            </a:xfrm>
            <a:custGeom>
              <a:avLst/>
              <a:gdLst>
                <a:gd name="T0" fmla="*/ 35 w 66"/>
                <a:gd name="T1" fmla="*/ 0 h 52"/>
                <a:gd name="T2" fmla="*/ 66 w 66"/>
                <a:gd name="T3" fmla="*/ 37 h 52"/>
                <a:gd name="T4" fmla="*/ 60 w 66"/>
                <a:gd name="T5" fmla="*/ 47 h 52"/>
                <a:gd name="T6" fmla="*/ 44 w 66"/>
                <a:gd name="T7" fmla="*/ 52 h 52"/>
                <a:gd name="T8" fmla="*/ 41 w 66"/>
                <a:gd name="T9" fmla="*/ 40 h 52"/>
                <a:gd name="T10" fmla="*/ 35 w 66"/>
                <a:gd name="T11" fmla="*/ 34 h 52"/>
                <a:gd name="T12" fmla="*/ 25 w 66"/>
                <a:gd name="T13" fmla="*/ 40 h 52"/>
                <a:gd name="T14" fmla="*/ 14 w 66"/>
                <a:gd name="T15" fmla="*/ 31 h 52"/>
                <a:gd name="T16" fmla="*/ 9 w 66"/>
                <a:gd name="T17" fmla="*/ 24 h 52"/>
                <a:gd name="T18" fmla="*/ 16 w 66"/>
                <a:gd name="T19" fmla="*/ 18 h 52"/>
                <a:gd name="T20" fmla="*/ 2 w 66"/>
                <a:gd name="T21" fmla="*/ 27 h 52"/>
                <a:gd name="T22" fmla="*/ 0 w 66"/>
                <a:gd name="T23" fmla="*/ 18 h 52"/>
                <a:gd name="T24" fmla="*/ 19 w 66"/>
                <a:gd name="T25" fmla="*/ 10 h 52"/>
                <a:gd name="T26" fmla="*/ 35 w 66"/>
                <a:gd name="T2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52">
                  <a:moveTo>
                    <a:pt x="35" y="0"/>
                  </a:moveTo>
                  <a:lnTo>
                    <a:pt x="66" y="37"/>
                  </a:lnTo>
                  <a:lnTo>
                    <a:pt x="60" y="47"/>
                  </a:lnTo>
                  <a:lnTo>
                    <a:pt x="44" y="52"/>
                  </a:lnTo>
                  <a:lnTo>
                    <a:pt x="41" y="40"/>
                  </a:lnTo>
                  <a:lnTo>
                    <a:pt x="35" y="34"/>
                  </a:lnTo>
                  <a:lnTo>
                    <a:pt x="25" y="40"/>
                  </a:lnTo>
                  <a:lnTo>
                    <a:pt x="14" y="31"/>
                  </a:lnTo>
                  <a:lnTo>
                    <a:pt x="9" y="24"/>
                  </a:lnTo>
                  <a:lnTo>
                    <a:pt x="16" y="18"/>
                  </a:lnTo>
                  <a:lnTo>
                    <a:pt x="2" y="27"/>
                  </a:lnTo>
                  <a:lnTo>
                    <a:pt x="0" y="18"/>
                  </a:lnTo>
                  <a:lnTo>
                    <a:pt x="19" y="1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67" name="Freeform 538"/>
            <p:cNvSpPr>
              <a:spLocks noChangeAspect="1"/>
            </p:cNvSpPr>
            <p:nvPr/>
          </p:nvSpPr>
          <p:spPr bwMode="auto">
            <a:xfrm>
              <a:off x="3816309" y="5517596"/>
              <a:ext cx="21" cy="22"/>
            </a:xfrm>
            <a:custGeom>
              <a:avLst/>
              <a:gdLst>
                <a:gd name="T0" fmla="*/ 22 w 30"/>
                <a:gd name="T1" fmla="*/ 0 h 36"/>
                <a:gd name="T2" fmla="*/ 30 w 30"/>
                <a:gd name="T3" fmla="*/ 10 h 36"/>
                <a:gd name="T4" fmla="*/ 27 w 30"/>
                <a:gd name="T5" fmla="*/ 23 h 36"/>
                <a:gd name="T6" fmla="*/ 30 w 30"/>
                <a:gd name="T7" fmla="*/ 33 h 36"/>
                <a:gd name="T8" fmla="*/ 22 w 30"/>
                <a:gd name="T9" fmla="*/ 36 h 36"/>
                <a:gd name="T10" fmla="*/ 8 w 30"/>
                <a:gd name="T11" fmla="*/ 33 h 36"/>
                <a:gd name="T12" fmla="*/ 0 w 30"/>
                <a:gd name="T13" fmla="*/ 20 h 36"/>
                <a:gd name="T14" fmla="*/ 22 w 30"/>
                <a:gd name="T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6">
                  <a:moveTo>
                    <a:pt x="22" y="0"/>
                  </a:moveTo>
                  <a:lnTo>
                    <a:pt x="30" y="10"/>
                  </a:lnTo>
                  <a:lnTo>
                    <a:pt x="27" y="23"/>
                  </a:lnTo>
                  <a:lnTo>
                    <a:pt x="30" y="33"/>
                  </a:lnTo>
                  <a:lnTo>
                    <a:pt x="22" y="36"/>
                  </a:lnTo>
                  <a:lnTo>
                    <a:pt x="8" y="33"/>
                  </a:lnTo>
                  <a:lnTo>
                    <a:pt x="0" y="2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68" name="Freeform 539"/>
            <p:cNvSpPr>
              <a:spLocks noChangeAspect="1"/>
            </p:cNvSpPr>
            <p:nvPr/>
          </p:nvSpPr>
          <p:spPr bwMode="auto">
            <a:xfrm>
              <a:off x="3816484" y="5517548"/>
              <a:ext cx="91" cy="76"/>
            </a:xfrm>
            <a:custGeom>
              <a:avLst/>
              <a:gdLst>
                <a:gd name="T0" fmla="*/ 11 w 134"/>
                <a:gd name="T1" fmla="*/ 0 h 124"/>
                <a:gd name="T2" fmla="*/ 0 w 134"/>
                <a:gd name="T3" fmla="*/ 10 h 124"/>
                <a:gd name="T4" fmla="*/ 14 w 134"/>
                <a:gd name="T5" fmla="*/ 37 h 124"/>
                <a:gd name="T6" fmla="*/ 30 w 134"/>
                <a:gd name="T7" fmla="*/ 43 h 124"/>
                <a:gd name="T8" fmla="*/ 49 w 134"/>
                <a:gd name="T9" fmla="*/ 65 h 124"/>
                <a:gd name="T10" fmla="*/ 66 w 134"/>
                <a:gd name="T11" fmla="*/ 77 h 124"/>
                <a:gd name="T12" fmla="*/ 93 w 134"/>
                <a:gd name="T13" fmla="*/ 100 h 124"/>
                <a:gd name="T14" fmla="*/ 109 w 134"/>
                <a:gd name="T15" fmla="*/ 108 h 124"/>
                <a:gd name="T16" fmla="*/ 129 w 134"/>
                <a:gd name="T17" fmla="*/ 124 h 124"/>
                <a:gd name="T18" fmla="*/ 134 w 134"/>
                <a:gd name="T19" fmla="*/ 115 h 124"/>
                <a:gd name="T20" fmla="*/ 93 w 134"/>
                <a:gd name="T21" fmla="*/ 80 h 124"/>
                <a:gd name="T22" fmla="*/ 90 w 134"/>
                <a:gd name="T23" fmla="*/ 63 h 124"/>
                <a:gd name="T24" fmla="*/ 85 w 134"/>
                <a:gd name="T25" fmla="*/ 47 h 124"/>
                <a:gd name="T26" fmla="*/ 68 w 134"/>
                <a:gd name="T27" fmla="*/ 28 h 124"/>
                <a:gd name="T28" fmla="*/ 63 w 134"/>
                <a:gd name="T29" fmla="*/ 31 h 124"/>
                <a:gd name="T30" fmla="*/ 41 w 134"/>
                <a:gd name="T31" fmla="*/ 13 h 124"/>
                <a:gd name="T32" fmla="*/ 28 w 134"/>
                <a:gd name="T33" fmla="*/ 6 h 124"/>
                <a:gd name="T34" fmla="*/ 11 w 134"/>
                <a:gd name="T35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4" h="124">
                  <a:moveTo>
                    <a:pt x="11" y="0"/>
                  </a:moveTo>
                  <a:lnTo>
                    <a:pt x="0" y="10"/>
                  </a:lnTo>
                  <a:lnTo>
                    <a:pt x="14" y="37"/>
                  </a:lnTo>
                  <a:lnTo>
                    <a:pt x="30" y="43"/>
                  </a:lnTo>
                  <a:lnTo>
                    <a:pt x="49" y="65"/>
                  </a:lnTo>
                  <a:lnTo>
                    <a:pt x="66" y="77"/>
                  </a:lnTo>
                  <a:lnTo>
                    <a:pt x="93" y="100"/>
                  </a:lnTo>
                  <a:lnTo>
                    <a:pt x="109" y="108"/>
                  </a:lnTo>
                  <a:lnTo>
                    <a:pt x="129" y="124"/>
                  </a:lnTo>
                  <a:lnTo>
                    <a:pt x="134" y="115"/>
                  </a:lnTo>
                  <a:lnTo>
                    <a:pt x="93" y="80"/>
                  </a:lnTo>
                  <a:lnTo>
                    <a:pt x="90" y="63"/>
                  </a:lnTo>
                  <a:lnTo>
                    <a:pt x="85" y="47"/>
                  </a:lnTo>
                  <a:lnTo>
                    <a:pt x="68" y="28"/>
                  </a:lnTo>
                  <a:lnTo>
                    <a:pt x="63" y="31"/>
                  </a:lnTo>
                  <a:lnTo>
                    <a:pt x="41" y="13"/>
                  </a:lnTo>
                  <a:lnTo>
                    <a:pt x="28" y="6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69" name="Freeform 540"/>
            <p:cNvSpPr>
              <a:spLocks noChangeAspect="1"/>
            </p:cNvSpPr>
            <p:nvPr/>
          </p:nvSpPr>
          <p:spPr bwMode="auto">
            <a:xfrm>
              <a:off x="3816760" y="5517688"/>
              <a:ext cx="36" cy="20"/>
            </a:xfrm>
            <a:custGeom>
              <a:avLst/>
              <a:gdLst>
                <a:gd name="T0" fmla="*/ 52 w 52"/>
                <a:gd name="T1" fmla="*/ 8 h 31"/>
                <a:gd name="T2" fmla="*/ 28 w 52"/>
                <a:gd name="T3" fmla="*/ 31 h 31"/>
                <a:gd name="T4" fmla="*/ 12 w 52"/>
                <a:gd name="T5" fmla="*/ 31 h 31"/>
                <a:gd name="T6" fmla="*/ 0 w 52"/>
                <a:gd name="T7" fmla="*/ 21 h 31"/>
                <a:gd name="T8" fmla="*/ 8 w 52"/>
                <a:gd name="T9" fmla="*/ 2 h 31"/>
                <a:gd name="T10" fmla="*/ 33 w 52"/>
                <a:gd name="T11" fmla="*/ 0 h 31"/>
                <a:gd name="T12" fmla="*/ 52 w 52"/>
                <a:gd name="T13" fmla="*/ 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31">
                  <a:moveTo>
                    <a:pt x="52" y="8"/>
                  </a:moveTo>
                  <a:lnTo>
                    <a:pt x="28" y="31"/>
                  </a:lnTo>
                  <a:lnTo>
                    <a:pt x="12" y="31"/>
                  </a:lnTo>
                  <a:lnTo>
                    <a:pt x="0" y="21"/>
                  </a:lnTo>
                  <a:lnTo>
                    <a:pt x="8" y="2"/>
                  </a:lnTo>
                  <a:lnTo>
                    <a:pt x="33" y="0"/>
                  </a:lnTo>
                  <a:lnTo>
                    <a:pt x="52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0" name="Freeform 541"/>
            <p:cNvSpPr>
              <a:spLocks noChangeAspect="1"/>
            </p:cNvSpPr>
            <p:nvPr/>
          </p:nvSpPr>
          <p:spPr bwMode="auto">
            <a:xfrm>
              <a:off x="3816767" y="5517732"/>
              <a:ext cx="33" cy="30"/>
            </a:xfrm>
            <a:custGeom>
              <a:avLst/>
              <a:gdLst>
                <a:gd name="T0" fmla="*/ 53 w 53"/>
                <a:gd name="T1" fmla="*/ 0 h 47"/>
                <a:gd name="T2" fmla="*/ 53 w 53"/>
                <a:gd name="T3" fmla="*/ 15 h 47"/>
                <a:gd name="T4" fmla="*/ 20 w 53"/>
                <a:gd name="T5" fmla="*/ 40 h 47"/>
                <a:gd name="T6" fmla="*/ 6 w 53"/>
                <a:gd name="T7" fmla="*/ 47 h 47"/>
                <a:gd name="T8" fmla="*/ 0 w 53"/>
                <a:gd name="T9" fmla="*/ 44 h 47"/>
                <a:gd name="T10" fmla="*/ 5 w 53"/>
                <a:gd name="T11" fmla="*/ 27 h 47"/>
                <a:gd name="T12" fmla="*/ 28 w 53"/>
                <a:gd name="T13" fmla="*/ 8 h 47"/>
                <a:gd name="T14" fmla="*/ 53 w 53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47">
                  <a:moveTo>
                    <a:pt x="53" y="0"/>
                  </a:moveTo>
                  <a:lnTo>
                    <a:pt x="53" y="15"/>
                  </a:lnTo>
                  <a:lnTo>
                    <a:pt x="20" y="40"/>
                  </a:lnTo>
                  <a:lnTo>
                    <a:pt x="6" y="47"/>
                  </a:lnTo>
                  <a:lnTo>
                    <a:pt x="0" y="44"/>
                  </a:lnTo>
                  <a:lnTo>
                    <a:pt x="5" y="27"/>
                  </a:lnTo>
                  <a:lnTo>
                    <a:pt x="28" y="8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1" name="Freeform 542"/>
            <p:cNvSpPr>
              <a:spLocks noChangeAspect="1"/>
            </p:cNvSpPr>
            <p:nvPr/>
          </p:nvSpPr>
          <p:spPr bwMode="auto">
            <a:xfrm>
              <a:off x="3816352" y="5517605"/>
              <a:ext cx="158" cy="142"/>
            </a:xfrm>
            <a:custGeom>
              <a:avLst/>
              <a:gdLst>
                <a:gd name="T0" fmla="*/ 33 w 233"/>
                <a:gd name="T1" fmla="*/ 10 h 231"/>
                <a:gd name="T2" fmla="*/ 21 w 233"/>
                <a:gd name="T3" fmla="*/ 16 h 231"/>
                <a:gd name="T4" fmla="*/ 25 w 233"/>
                <a:gd name="T5" fmla="*/ 29 h 231"/>
                <a:gd name="T6" fmla="*/ 14 w 233"/>
                <a:gd name="T7" fmla="*/ 45 h 231"/>
                <a:gd name="T8" fmla="*/ 5 w 233"/>
                <a:gd name="T9" fmla="*/ 43 h 231"/>
                <a:gd name="T10" fmla="*/ 0 w 233"/>
                <a:gd name="T11" fmla="*/ 50 h 231"/>
                <a:gd name="T12" fmla="*/ 2 w 233"/>
                <a:gd name="T13" fmla="*/ 66 h 231"/>
                <a:gd name="T14" fmla="*/ 40 w 233"/>
                <a:gd name="T15" fmla="*/ 82 h 231"/>
                <a:gd name="T16" fmla="*/ 49 w 233"/>
                <a:gd name="T17" fmla="*/ 117 h 231"/>
                <a:gd name="T18" fmla="*/ 60 w 233"/>
                <a:gd name="T19" fmla="*/ 161 h 231"/>
                <a:gd name="T20" fmla="*/ 74 w 233"/>
                <a:gd name="T21" fmla="*/ 185 h 231"/>
                <a:gd name="T22" fmla="*/ 91 w 233"/>
                <a:gd name="T23" fmla="*/ 170 h 231"/>
                <a:gd name="T24" fmla="*/ 112 w 233"/>
                <a:gd name="T25" fmla="*/ 201 h 231"/>
                <a:gd name="T26" fmla="*/ 134 w 233"/>
                <a:gd name="T27" fmla="*/ 231 h 231"/>
                <a:gd name="T28" fmla="*/ 143 w 233"/>
                <a:gd name="T29" fmla="*/ 208 h 231"/>
                <a:gd name="T30" fmla="*/ 136 w 233"/>
                <a:gd name="T31" fmla="*/ 192 h 231"/>
                <a:gd name="T32" fmla="*/ 145 w 233"/>
                <a:gd name="T33" fmla="*/ 185 h 231"/>
                <a:gd name="T34" fmla="*/ 178 w 233"/>
                <a:gd name="T35" fmla="*/ 214 h 231"/>
                <a:gd name="T36" fmla="*/ 188 w 233"/>
                <a:gd name="T37" fmla="*/ 205 h 231"/>
                <a:gd name="T38" fmla="*/ 191 w 233"/>
                <a:gd name="T39" fmla="*/ 195 h 231"/>
                <a:gd name="T40" fmla="*/ 174 w 233"/>
                <a:gd name="T41" fmla="*/ 158 h 231"/>
                <a:gd name="T42" fmla="*/ 174 w 233"/>
                <a:gd name="T43" fmla="*/ 151 h 231"/>
                <a:gd name="T44" fmla="*/ 159 w 233"/>
                <a:gd name="T45" fmla="*/ 121 h 231"/>
                <a:gd name="T46" fmla="*/ 153 w 233"/>
                <a:gd name="T47" fmla="*/ 100 h 231"/>
                <a:gd name="T48" fmla="*/ 159 w 233"/>
                <a:gd name="T49" fmla="*/ 99 h 231"/>
                <a:gd name="T50" fmla="*/ 178 w 233"/>
                <a:gd name="T51" fmla="*/ 103 h 231"/>
                <a:gd name="T52" fmla="*/ 200 w 233"/>
                <a:gd name="T53" fmla="*/ 124 h 231"/>
                <a:gd name="T54" fmla="*/ 211 w 233"/>
                <a:gd name="T55" fmla="*/ 109 h 231"/>
                <a:gd name="T56" fmla="*/ 230 w 233"/>
                <a:gd name="T57" fmla="*/ 111 h 231"/>
                <a:gd name="T58" fmla="*/ 233 w 233"/>
                <a:gd name="T59" fmla="*/ 106 h 231"/>
                <a:gd name="T60" fmla="*/ 209 w 233"/>
                <a:gd name="T61" fmla="*/ 72 h 231"/>
                <a:gd name="T62" fmla="*/ 191 w 233"/>
                <a:gd name="T63" fmla="*/ 74 h 231"/>
                <a:gd name="T64" fmla="*/ 186 w 233"/>
                <a:gd name="T65" fmla="*/ 63 h 231"/>
                <a:gd name="T66" fmla="*/ 174 w 233"/>
                <a:gd name="T67" fmla="*/ 37 h 231"/>
                <a:gd name="T68" fmla="*/ 164 w 233"/>
                <a:gd name="T69" fmla="*/ 47 h 231"/>
                <a:gd name="T70" fmla="*/ 141 w 233"/>
                <a:gd name="T71" fmla="*/ 37 h 231"/>
                <a:gd name="T72" fmla="*/ 126 w 233"/>
                <a:gd name="T73" fmla="*/ 10 h 231"/>
                <a:gd name="T74" fmla="*/ 98 w 233"/>
                <a:gd name="T75" fmla="*/ 13 h 231"/>
                <a:gd name="T76" fmla="*/ 77 w 233"/>
                <a:gd name="T77" fmla="*/ 16 h 231"/>
                <a:gd name="T78" fmla="*/ 63 w 233"/>
                <a:gd name="T79" fmla="*/ 0 h 231"/>
                <a:gd name="T80" fmla="*/ 52 w 233"/>
                <a:gd name="T81" fmla="*/ 9 h 231"/>
                <a:gd name="T82" fmla="*/ 33 w 233"/>
                <a:gd name="T83" fmla="*/ 1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3" h="231">
                  <a:moveTo>
                    <a:pt x="33" y="10"/>
                  </a:moveTo>
                  <a:lnTo>
                    <a:pt x="21" y="16"/>
                  </a:lnTo>
                  <a:lnTo>
                    <a:pt x="25" y="29"/>
                  </a:lnTo>
                  <a:lnTo>
                    <a:pt x="14" y="45"/>
                  </a:lnTo>
                  <a:lnTo>
                    <a:pt x="5" y="43"/>
                  </a:lnTo>
                  <a:lnTo>
                    <a:pt x="0" y="50"/>
                  </a:lnTo>
                  <a:lnTo>
                    <a:pt x="2" y="66"/>
                  </a:lnTo>
                  <a:lnTo>
                    <a:pt x="40" y="82"/>
                  </a:lnTo>
                  <a:lnTo>
                    <a:pt x="49" y="117"/>
                  </a:lnTo>
                  <a:lnTo>
                    <a:pt x="60" y="161"/>
                  </a:lnTo>
                  <a:lnTo>
                    <a:pt x="74" y="185"/>
                  </a:lnTo>
                  <a:lnTo>
                    <a:pt x="91" y="170"/>
                  </a:lnTo>
                  <a:lnTo>
                    <a:pt x="112" y="201"/>
                  </a:lnTo>
                  <a:lnTo>
                    <a:pt x="134" y="231"/>
                  </a:lnTo>
                  <a:lnTo>
                    <a:pt x="143" y="208"/>
                  </a:lnTo>
                  <a:lnTo>
                    <a:pt x="136" y="192"/>
                  </a:lnTo>
                  <a:lnTo>
                    <a:pt x="145" y="185"/>
                  </a:lnTo>
                  <a:lnTo>
                    <a:pt x="178" y="214"/>
                  </a:lnTo>
                  <a:lnTo>
                    <a:pt x="188" y="205"/>
                  </a:lnTo>
                  <a:lnTo>
                    <a:pt x="191" y="195"/>
                  </a:lnTo>
                  <a:lnTo>
                    <a:pt x="174" y="158"/>
                  </a:lnTo>
                  <a:lnTo>
                    <a:pt x="174" y="151"/>
                  </a:lnTo>
                  <a:lnTo>
                    <a:pt x="159" y="121"/>
                  </a:lnTo>
                  <a:lnTo>
                    <a:pt x="153" y="100"/>
                  </a:lnTo>
                  <a:lnTo>
                    <a:pt x="159" y="99"/>
                  </a:lnTo>
                  <a:lnTo>
                    <a:pt x="178" y="103"/>
                  </a:lnTo>
                  <a:lnTo>
                    <a:pt x="200" y="124"/>
                  </a:lnTo>
                  <a:lnTo>
                    <a:pt x="211" y="109"/>
                  </a:lnTo>
                  <a:lnTo>
                    <a:pt x="230" y="111"/>
                  </a:lnTo>
                  <a:lnTo>
                    <a:pt x="233" y="106"/>
                  </a:lnTo>
                  <a:lnTo>
                    <a:pt x="209" y="72"/>
                  </a:lnTo>
                  <a:lnTo>
                    <a:pt x="191" y="74"/>
                  </a:lnTo>
                  <a:lnTo>
                    <a:pt x="186" y="63"/>
                  </a:lnTo>
                  <a:lnTo>
                    <a:pt x="174" y="37"/>
                  </a:lnTo>
                  <a:lnTo>
                    <a:pt x="164" y="47"/>
                  </a:lnTo>
                  <a:lnTo>
                    <a:pt x="141" y="37"/>
                  </a:lnTo>
                  <a:lnTo>
                    <a:pt x="126" y="10"/>
                  </a:lnTo>
                  <a:lnTo>
                    <a:pt x="98" y="13"/>
                  </a:lnTo>
                  <a:lnTo>
                    <a:pt x="77" y="16"/>
                  </a:lnTo>
                  <a:lnTo>
                    <a:pt x="63" y="0"/>
                  </a:lnTo>
                  <a:lnTo>
                    <a:pt x="52" y="9"/>
                  </a:lnTo>
                  <a:lnTo>
                    <a:pt x="33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2" name="Freeform 543"/>
            <p:cNvSpPr>
              <a:spLocks noChangeAspect="1"/>
            </p:cNvSpPr>
            <p:nvPr/>
          </p:nvSpPr>
          <p:spPr bwMode="auto">
            <a:xfrm>
              <a:off x="3816299" y="5517315"/>
              <a:ext cx="370" cy="338"/>
            </a:xfrm>
            <a:custGeom>
              <a:avLst/>
              <a:gdLst>
                <a:gd name="T0" fmla="*/ 99 w 543"/>
                <a:gd name="T1" fmla="*/ 145 h 549"/>
                <a:gd name="T2" fmla="*/ 70 w 543"/>
                <a:gd name="T3" fmla="*/ 238 h 549"/>
                <a:gd name="T4" fmla="*/ 56 w 543"/>
                <a:gd name="T5" fmla="*/ 259 h 549"/>
                <a:gd name="T6" fmla="*/ 30 w 543"/>
                <a:gd name="T7" fmla="*/ 285 h 549"/>
                <a:gd name="T8" fmla="*/ 0 w 543"/>
                <a:gd name="T9" fmla="*/ 290 h 549"/>
                <a:gd name="T10" fmla="*/ 39 w 543"/>
                <a:gd name="T11" fmla="*/ 370 h 549"/>
                <a:gd name="T12" fmla="*/ 72 w 543"/>
                <a:gd name="T13" fmla="*/ 370 h 549"/>
                <a:gd name="T14" fmla="*/ 61 w 543"/>
                <a:gd name="T15" fmla="*/ 395 h 549"/>
                <a:gd name="T16" fmla="*/ 72 w 543"/>
                <a:gd name="T17" fmla="*/ 438 h 549"/>
                <a:gd name="T18" fmla="*/ 96 w 543"/>
                <a:gd name="T19" fmla="*/ 469 h 549"/>
                <a:gd name="T20" fmla="*/ 115 w 543"/>
                <a:gd name="T21" fmla="*/ 451 h 549"/>
                <a:gd name="T22" fmla="*/ 136 w 543"/>
                <a:gd name="T23" fmla="*/ 454 h 549"/>
                <a:gd name="T24" fmla="*/ 201 w 543"/>
                <a:gd name="T25" fmla="*/ 462 h 549"/>
                <a:gd name="T26" fmla="*/ 241 w 543"/>
                <a:gd name="T27" fmla="*/ 485 h 549"/>
                <a:gd name="T28" fmla="*/ 262 w 543"/>
                <a:gd name="T29" fmla="*/ 515 h 549"/>
                <a:gd name="T30" fmla="*/ 290 w 543"/>
                <a:gd name="T31" fmla="*/ 502 h 549"/>
                <a:gd name="T32" fmla="*/ 342 w 543"/>
                <a:gd name="T33" fmla="*/ 549 h 549"/>
                <a:gd name="T34" fmla="*/ 351 w 543"/>
                <a:gd name="T35" fmla="*/ 522 h 549"/>
                <a:gd name="T36" fmla="*/ 350 w 543"/>
                <a:gd name="T37" fmla="*/ 478 h 549"/>
                <a:gd name="T38" fmla="*/ 328 w 543"/>
                <a:gd name="T39" fmla="*/ 459 h 549"/>
                <a:gd name="T40" fmla="*/ 272 w 543"/>
                <a:gd name="T41" fmla="*/ 420 h 549"/>
                <a:gd name="T42" fmla="*/ 239 w 543"/>
                <a:gd name="T43" fmla="*/ 407 h 549"/>
                <a:gd name="T44" fmla="*/ 227 w 543"/>
                <a:gd name="T45" fmla="*/ 388 h 549"/>
                <a:gd name="T46" fmla="*/ 246 w 543"/>
                <a:gd name="T47" fmla="*/ 367 h 549"/>
                <a:gd name="T48" fmla="*/ 232 w 543"/>
                <a:gd name="T49" fmla="*/ 336 h 549"/>
                <a:gd name="T50" fmla="*/ 256 w 543"/>
                <a:gd name="T51" fmla="*/ 349 h 549"/>
                <a:gd name="T52" fmla="*/ 272 w 543"/>
                <a:gd name="T53" fmla="*/ 339 h 549"/>
                <a:gd name="T54" fmla="*/ 241 w 543"/>
                <a:gd name="T55" fmla="*/ 287 h 549"/>
                <a:gd name="T56" fmla="*/ 215 w 543"/>
                <a:gd name="T57" fmla="*/ 228 h 549"/>
                <a:gd name="T58" fmla="*/ 209 w 543"/>
                <a:gd name="T59" fmla="*/ 191 h 549"/>
                <a:gd name="T60" fmla="*/ 223 w 543"/>
                <a:gd name="T61" fmla="*/ 166 h 549"/>
                <a:gd name="T62" fmla="*/ 234 w 543"/>
                <a:gd name="T63" fmla="*/ 198 h 549"/>
                <a:gd name="T64" fmla="*/ 241 w 543"/>
                <a:gd name="T65" fmla="*/ 209 h 549"/>
                <a:gd name="T66" fmla="*/ 288 w 543"/>
                <a:gd name="T67" fmla="*/ 250 h 549"/>
                <a:gd name="T68" fmla="*/ 293 w 543"/>
                <a:gd name="T69" fmla="*/ 222 h 549"/>
                <a:gd name="T70" fmla="*/ 326 w 543"/>
                <a:gd name="T71" fmla="*/ 250 h 549"/>
                <a:gd name="T72" fmla="*/ 312 w 543"/>
                <a:gd name="T73" fmla="*/ 216 h 549"/>
                <a:gd name="T74" fmla="*/ 326 w 543"/>
                <a:gd name="T75" fmla="*/ 201 h 549"/>
                <a:gd name="T76" fmla="*/ 364 w 543"/>
                <a:gd name="T77" fmla="*/ 211 h 549"/>
                <a:gd name="T78" fmla="*/ 347 w 543"/>
                <a:gd name="T79" fmla="*/ 185 h 549"/>
                <a:gd name="T80" fmla="*/ 312 w 543"/>
                <a:gd name="T81" fmla="*/ 161 h 549"/>
                <a:gd name="T82" fmla="*/ 314 w 543"/>
                <a:gd name="T83" fmla="*/ 139 h 549"/>
                <a:gd name="T84" fmla="*/ 377 w 543"/>
                <a:gd name="T85" fmla="*/ 124 h 549"/>
                <a:gd name="T86" fmla="*/ 442 w 543"/>
                <a:gd name="T87" fmla="*/ 117 h 549"/>
                <a:gd name="T88" fmla="*/ 478 w 543"/>
                <a:gd name="T89" fmla="*/ 124 h 549"/>
                <a:gd name="T90" fmla="*/ 513 w 543"/>
                <a:gd name="T91" fmla="*/ 108 h 549"/>
                <a:gd name="T92" fmla="*/ 541 w 543"/>
                <a:gd name="T93" fmla="*/ 68 h 549"/>
                <a:gd name="T94" fmla="*/ 541 w 543"/>
                <a:gd name="T95" fmla="*/ 9 h 549"/>
                <a:gd name="T96" fmla="*/ 516 w 543"/>
                <a:gd name="T97" fmla="*/ 0 h 549"/>
                <a:gd name="T98" fmla="*/ 508 w 543"/>
                <a:gd name="T99" fmla="*/ 28 h 549"/>
                <a:gd name="T100" fmla="*/ 491 w 543"/>
                <a:gd name="T101" fmla="*/ 50 h 549"/>
                <a:gd name="T102" fmla="*/ 469 w 543"/>
                <a:gd name="T103" fmla="*/ 64 h 549"/>
                <a:gd name="T104" fmla="*/ 427 w 543"/>
                <a:gd name="T105" fmla="*/ 47 h 549"/>
                <a:gd name="T106" fmla="*/ 386 w 543"/>
                <a:gd name="T107" fmla="*/ 28 h 549"/>
                <a:gd name="T108" fmla="*/ 342 w 543"/>
                <a:gd name="T109" fmla="*/ 64 h 549"/>
                <a:gd name="T110" fmla="*/ 293 w 543"/>
                <a:gd name="T111" fmla="*/ 80 h 549"/>
                <a:gd name="T112" fmla="*/ 256 w 543"/>
                <a:gd name="T113" fmla="*/ 87 h 549"/>
                <a:gd name="T114" fmla="*/ 232 w 543"/>
                <a:gd name="T115" fmla="*/ 111 h 549"/>
                <a:gd name="T116" fmla="*/ 194 w 543"/>
                <a:gd name="T117" fmla="*/ 117 h 549"/>
                <a:gd name="T118" fmla="*/ 160 w 543"/>
                <a:gd name="T119" fmla="*/ 138 h 549"/>
                <a:gd name="T120" fmla="*/ 124 w 543"/>
                <a:gd name="T121" fmla="*/ 1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3" h="549">
                  <a:moveTo>
                    <a:pt x="110" y="135"/>
                  </a:moveTo>
                  <a:lnTo>
                    <a:pt x="99" y="145"/>
                  </a:lnTo>
                  <a:lnTo>
                    <a:pt x="86" y="192"/>
                  </a:lnTo>
                  <a:lnTo>
                    <a:pt x="70" y="238"/>
                  </a:lnTo>
                  <a:lnTo>
                    <a:pt x="63" y="243"/>
                  </a:lnTo>
                  <a:lnTo>
                    <a:pt x="56" y="259"/>
                  </a:lnTo>
                  <a:lnTo>
                    <a:pt x="47" y="275"/>
                  </a:lnTo>
                  <a:lnTo>
                    <a:pt x="30" y="285"/>
                  </a:lnTo>
                  <a:lnTo>
                    <a:pt x="17" y="290"/>
                  </a:lnTo>
                  <a:lnTo>
                    <a:pt x="0" y="290"/>
                  </a:lnTo>
                  <a:lnTo>
                    <a:pt x="22" y="343"/>
                  </a:lnTo>
                  <a:lnTo>
                    <a:pt x="39" y="370"/>
                  </a:lnTo>
                  <a:lnTo>
                    <a:pt x="56" y="370"/>
                  </a:lnTo>
                  <a:lnTo>
                    <a:pt x="72" y="370"/>
                  </a:lnTo>
                  <a:lnTo>
                    <a:pt x="77" y="383"/>
                  </a:lnTo>
                  <a:lnTo>
                    <a:pt x="61" y="395"/>
                  </a:lnTo>
                  <a:lnTo>
                    <a:pt x="61" y="413"/>
                  </a:lnTo>
                  <a:lnTo>
                    <a:pt x="72" y="438"/>
                  </a:lnTo>
                  <a:lnTo>
                    <a:pt x="86" y="459"/>
                  </a:lnTo>
                  <a:lnTo>
                    <a:pt x="96" y="469"/>
                  </a:lnTo>
                  <a:lnTo>
                    <a:pt x="101" y="454"/>
                  </a:lnTo>
                  <a:lnTo>
                    <a:pt x="115" y="451"/>
                  </a:lnTo>
                  <a:lnTo>
                    <a:pt x="132" y="467"/>
                  </a:lnTo>
                  <a:lnTo>
                    <a:pt x="136" y="454"/>
                  </a:lnTo>
                  <a:lnTo>
                    <a:pt x="162" y="457"/>
                  </a:lnTo>
                  <a:lnTo>
                    <a:pt x="201" y="462"/>
                  </a:lnTo>
                  <a:lnTo>
                    <a:pt x="229" y="472"/>
                  </a:lnTo>
                  <a:lnTo>
                    <a:pt x="241" y="485"/>
                  </a:lnTo>
                  <a:lnTo>
                    <a:pt x="253" y="504"/>
                  </a:lnTo>
                  <a:lnTo>
                    <a:pt x="262" y="515"/>
                  </a:lnTo>
                  <a:lnTo>
                    <a:pt x="274" y="504"/>
                  </a:lnTo>
                  <a:lnTo>
                    <a:pt x="290" y="502"/>
                  </a:lnTo>
                  <a:lnTo>
                    <a:pt x="314" y="521"/>
                  </a:lnTo>
                  <a:lnTo>
                    <a:pt x="342" y="549"/>
                  </a:lnTo>
                  <a:lnTo>
                    <a:pt x="350" y="543"/>
                  </a:lnTo>
                  <a:lnTo>
                    <a:pt x="351" y="522"/>
                  </a:lnTo>
                  <a:lnTo>
                    <a:pt x="351" y="499"/>
                  </a:lnTo>
                  <a:lnTo>
                    <a:pt x="350" y="478"/>
                  </a:lnTo>
                  <a:lnTo>
                    <a:pt x="337" y="454"/>
                  </a:lnTo>
                  <a:lnTo>
                    <a:pt x="328" y="459"/>
                  </a:lnTo>
                  <a:lnTo>
                    <a:pt x="307" y="448"/>
                  </a:lnTo>
                  <a:lnTo>
                    <a:pt x="272" y="420"/>
                  </a:lnTo>
                  <a:lnTo>
                    <a:pt x="262" y="410"/>
                  </a:lnTo>
                  <a:lnTo>
                    <a:pt x="239" y="407"/>
                  </a:lnTo>
                  <a:lnTo>
                    <a:pt x="227" y="398"/>
                  </a:lnTo>
                  <a:lnTo>
                    <a:pt x="227" y="388"/>
                  </a:lnTo>
                  <a:lnTo>
                    <a:pt x="241" y="373"/>
                  </a:lnTo>
                  <a:lnTo>
                    <a:pt x="246" y="367"/>
                  </a:lnTo>
                  <a:lnTo>
                    <a:pt x="237" y="354"/>
                  </a:lnTo>
                  <a:lnTo>
                    <a:pt x="232" y="336"/>
                  </a:lnTo>
                  <a:lnTo>
                    <a:pt x="237" y="327"/>
                  </a:lnTo>
                  <a:lnTo>
                    <a:pt x="256" y="349"/>
                  </a:lnTo>
                  <a:lnTo>
                    <a:pt x="272" y="357"/>
                  </a:lnTo>
                  <a:lnTo>
                    <a:pt x="272" y="339"/>
                  </a:lnTo>
                  <a:lnTo>
                    <a:pt x="262" y="317"/>
                  </a:lnTo>
                  <a:lnTo>
                    <a:pt x="241" y="287"/>
                  </a:lnTo>
                  <a:lnTo>
                    <a:pt x="218" y="248"/>
                  </a:lnTo>
                  <a:lnTo>
                    <a:pt x="215" y="228"/>
                  </a:lnTo>
                  <a:lnTo>
                    <a:pt x="213" y="209"/>
                  </a:lnTo>
                  <a:lnTo>
                    <a:pt x="209" y="191"/>
                  </a:lnTo>
                  <a:lnTo>
                    <a:pt x="206" y="172"/>
                  </a:lnTo>
                  <a:lnTo>
                    <a:pt x="223" y="166"/>
                  </a:lnTo>
                  <a:lnTo>
                    <a:pt x="220" y="179"/>
                  </a:lnTo>
                  <a:lnTo>
                    <a:pt x="234" y="198"/>
                  </a:lnTo>
                  <a:lnTo>
                    <a:pt x="243" y="198"/>
                  </a:lnTo>
                  <a:lnTo>
                    <a:pt x="241" y="209"/>
                  </a:lnTo>
                  <a:lnTo>
                    <a:pt x="286" y="259"/>
                  </a:lnTo>
                  <a:lnTo>
                    <a:pt x="288" y="250"/>
                  </a:lnTo>
                  <a:lnTo>
                    <a:pt x="279" y="228"/>
                  </a:lnTo>
                  <a:lnTo>
                    <a:pt x="293" y="222"/>
                  </a:lnTo>
                  <a:lnTo>
                    <a:pt x="314" y="232"/>
                  </a:lnTo>
                  <a:lnTo>
                    <a:pt x="326" y="250"/>
                  </a:lnTo>
                  <a:lnTo>
                    <a:pt x="328" y="238"/>
                  </a:lnTo>
                  <a:lnTo>
                    <a:pt x="312" y="216"/>
                  </a:lnTo>
                  <a:lnTo>
                    <a:pt x="314" y="206"/>
                  </a:lnTo>
                  <a:lnTo>
                    <a:pt x="326" y="201"/>
                  </a:lnTo>
                  <a:lnTo>
                    <a:pt x="356" y="216"/>
                  </a:lnTo>
                  <a:lnTo>
                    <a:pt x="364" y="211"/>
                  </a:lnTo>
                  <a:lnTo>
                    <a:pt x="361" y="195"/>
                  </a:lnTo>
                  <a:lnTo>
                    <a:pt x="347" y="185"/>
                  </a:lnTo>
                  <a:lnTo>
                    <a:pt x="326" y="174"/>
                  </a:lnTo>
                  <a:lnTo>
                    <a:pt x="312" y="161"/>
                  </a:lnTo>
                  <a:lnTo>
                    <a:pt x="309" y="151"/>
                  </a:lnTo>
                  <a:lnTo>
                    <a:pt x="314" y="139"/>
                  </a:lnTo>
                  <a:lnTo>
                    <a:pt x="345" y="135"/>
                  </a:lnTo>
                  <a:lnTo>
                    <a:pt x="377" y="124"/>
                  </a:lnTo>
                  <a:lnTo>
                    <a:pt x="400" y="127"/>
                  </a:lnTo>
                  <a:lnTo>
                    <a:pt x="442" y="117"/>
                  </a:lnTo>
                  <a:lnTo>
                    <a:pt x="450" y="111"/>
                  </a:lnTo>
                  <a:lnTo>
                    <a:pt x="478" y="124"/>
                  </a:lnTo>
                  <a:lnTo>
                    <a:pt x="502" y="138"/>
                  </a:lnTo>
                  <a:lnTo>
                    <a:pt x="513" y="108"/>
                  </a:lnTo>
                  <a:lnTo>
                    <a:pt x="534" y="77"/>
                  </a:lnTo>
                  <a:lnTo>
                    <a:pt x="541" y="68"/>
                  </a:lnTo>
                  <a:lnTo>
                    <a:pt x="543" y="13"/>
                  </a:lnTo>
                  <a:lnTo>
                    <a:pt x="541" y="9"/>
                  </a:lnTo>
                  <a:lnTo>
                    <a:pt x="529" y="0"/>
                  </a:lnTo>
                  <a:lnTo>
                    <a:pt x="516" y="0"/>
                  </a:lnTo>
                  <a:lnTo>
                    <a:pt x="508" y="9"/>
                  </a:lnTo>
                  <a:lnTo>
                    <a:pt x="508" y="28"/>
                  </a:lnTo>
                  <a:lnTo>
                    <a:pt x="510" y="46"/>
                  </a:lnTo>
                  <a:lnTo>
                    <a:pt x="491" y="50"/>
                  </a:lnTo>
                  <a:lnTo>
                    <a:pt x="478" y="61"/>
                  </a:lnTo>
                  <a:lnTo>
                    <a:pt x="469" y="64"/>
                  </a:lnTo>
                  <a:lnTo>
                    <a:pt x="438" y="56"/>
                  </a:lnTo>
                  <a:lnTo>
                    <a:pt x="427" y="47"/>
                  </a:lnTo>
                  <a:lnTo>
                    <a:pt x="410" y="58"/>
                  </a:lnTo>
                  <a:lnTo>
                    <a:pt x="386" y="28"/>
                  </a:lnTo>
                  <a:lnTo>
                    <a:pt x="361" y="50"/>
                  </a:lnTo>
                  <a:lnTo>
                    <a:pt x="342" y="64"/>
                  </a:lnTo>
                  <a:lnTo>
                    <a:pt x="323" y="74"/>
                  </a:lnTo>
                  <a:lnTo>
                    <a:pt x="293" y="80"/>
                  </a:lnTo>
                  <a:lnTo>
                    <a:pt x="272" y="87"/>
                  </a:lnTo>
                  <a:lnTo>
                    <a:pt x="256" y="87"/>
                  </a:lnTo>
                  <a:lnTo>
                    <a:pt x="248" y="90"/>
                  </a:lnTo>
                  <a:lnTo>
                    <a:pt x="232" y="111"/>
                  </a:lnTo>
                  <a:lnTo>
                    <a:pt x="218" y="111"/>
                  </a:lnTo>
                  <a:lnTo>
                    <a:pt x="194" y="117"/>
                  </a:lnTo>
                  <a:lnTo>
                    <a:pt x="171" y="114"/>
                  </a:lnTo>
                  <a:lnTo>
                    <a:pt x="160" y="138"/>
                  </a:lnTo>
                  <a:lnTo>
                    <a:pt x="141" y="139"/>
                  </a:lnTo>
                  <a:lnTo>
                    <a:pt x="124" y="138"/>
                  </a:lnTo>
                  <a:lnTo>
                    <a:pt x="110" y="13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73" name="Freeform 544"/>
            <p:cNvSpPr>
              <a:spLocks noChangeAspect="1"/>
            </p:cNvSpPr>
            <p:nvPr/>
          </p:nvSpPr>
          <p:spPr bwMode="auto">
            <a:xfrm>
              <a:off x="3816513" y="5517804"/>
              <a:ext cx="170" cy="46"/>
            </a:xfrm>
            <a:custGeom>
              <a:avLst/>
              <a:gdLst>
                <a:gd name="T0" fmla="*/ 52 w 253"/>
                <a:gd name="T1" fmla="*/ 16 h 77"/>
                <a:gd name="T2" fmla="*/ 71 w 253"/>
                <a:gd name="T3" fmla="*/ 6 h 77"/>
                <a:gd name="T4" fmla="*/ 80 w 253"/>
                <a:gd name="T5" fmla="*/ 16 h 77"/>
                <a:gd name="T6" fmla="*/ 88 w 253"/>
                <a:gd name="T7" fmla="*/ 18 h 77"/>
                <a:gd name="T8" fmla="*/ 101 w 253"/>
                <a:gd name="T9" fmla="*/ 10 h 77"/>
                <a:gd name="T10" fmla="*/ 110 w 253"/>
                <a:gd name="T11" fmla="*/ 6 h 77"/>
                <a:gd name="T12" fmla="*/ 151 w 253"/>
                <a:gd name="T13" fmla="*/ 10 h 77"/>
                <a:gd name="T14" fmla="*/ 190 w 253"/>
                <a:gd name="T15" fmla="*/ 8 h 77"/>
                <a:gd name="T16" fmla="*/ 202 w 253"/>
                <a:gd name="T17" fmla="*/ 21 h 77"/>
                <a:gd name="T18" fmla="*/ 202 w 253"/>
                <a:gd name="T19" fmla="*/ 28 h 77"/>
                <a:gd name="T20" fmla="*/ 229 w 253"/>
                <a:gd name="T21" fmla="*/ 24 h 77"/>
                <a:gd name="T22" fmla="*/ 245 w 253"/>
                <a:gd name="T23" fmla="*/ 27 h 77"/>
                <a:gd name="T24" fmla="*/ 253 w 253"/>
                <a:gd name="T25" fmla="*/ 37 h 77"/>
                <a:gd name="T26" fmla="*/ 245 w 253"/>
                <a:gd name="T27" fmla="*/ 50 h 77"/>
                <a:gd name="T28" fmla="*/ 220 w 253"/>
                <a:gd name="T29" fmla="*/ 48 h 77"/>
                <a:gd name="T30" fmla="*/ 204 w 253"/>
                <a:gd name="T31" fmla="*/ 58 h 77"/>
                <a:gd name="T32" fmla="*/ 176 w 253"/>
                <a:gd name="T33" fmla="*/ 58 h 77"/>
                <a:gd name="T34" fmla="*/ 148 w 253"/>
                <a:gd name="T35" fmla="*/ 71 h 77"/>
                <a:gd name="T36" fmla="*/ 124 w 253"/>
                <a:gd name="T37" fmla="*/ 77 h 77"/>
                <a:gd name="T38" fmla="*/ 105 w 253"/>
                <a:gd name="T39" fmla="*/ 64 h 77"/>
                <a:gd name="T40" fmla="*/ 80 w 253"/>
                <a:gd name="T41" fmla="*/ 48 h 77"/>
                <a:gd name="T42" fmla="*/ 55 w 253"/>
                <a:gd name="T43" fmla="*/ 48 h 77"/>
                <a:gd name="T44" fmla="*/ 22 w 253"/>
                <a:gd name="T45" fmla="*/ 40 h 77"/>
                <a:gd name="T46" fmla="*/ 9 w 253"/>
                <a:gd name="T47" fmla="*/ 28 h 77"/>
                <a:gd name="T48" fmla="*/ 0 w 253"/>
                <a:gd name="T49" fmla="*/ 8 h 77"/>
                <a:gd name="T50" fmla="*/ 5 w 253"/>
                <a:gd name="T51" fmla="*/ 0 h 77"/>
                <a:gd name="T52" fmla="*/ 33 w 253"/>
                <a:gd name="T53" fmla="*/ 6 h 77"/>
                <a:gd name="T54" fmla="*/ 52 w 253"/>
                <a:gd name="T55" fmla="*/ 1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3" h="77">
                  <a:moveTo>
                    <a:pt x="52" y="16"/>
                  </a:moveTo>
                  <a:lnTo>
                    <a:pt x="71" y="6"/>
                  </a:lnTo>
                  <a:lnTo>
                    <a:pt x="80" y="16"/>
                  </a:lnTo>
                  <a:lnTo>
                    <a:pt x="88" y="18"/>
                  </a:lnTo>
                  <a:lnTo>
                    <a:pt x="101" y="10"/>
                  </a:lnTo>
                  <a:lnTo>
                    <a:pt x="110" y="6"/>
                  </a:lnTo>
                  <a:lnTo>
                    <a:pt x="151" y="10"/>
                  </a:lnTo>
                  <a:lnTo>
                    <a:pt x="190" y="8"/>
                  </a:lnTo>
                  <a:lnTo>
                    <a:pt x="202" y="21"/>
                  </a:lnTo>
                  <a:lnTo>
                    <a:pt x="202" y="28"/>
                  </a:lnTo>
                  <a:lnTo>
                    <a:pt x="229" y="24"/>
                  </a:lnTo>
                  <a:lnTo>
                    <a:pt x="245" y="27"/>
                  </a:lnTo>
                  <a:lnTo>
                    <a:pt x="253" y="37"/>
                  </a:lnTo>
                  <a:lnTo>
                    <a:pt x="245" y="50"/>
                  </a:lnTo>
                  <a:lnTo>
                    <a:pt x="220" y="48"/>
                  </a:lnTo>
                  <a:lnTo>
                    <a:pt x="204" y="58"/>
                  </a:lnTo>
                  <a:lnTo>
                    <a:pt x="176" y="58"/>
                  </a:lnTo>
                  <a:lnTo>
                    <a:pt x="148" y="71"/>
                  </a:lnTo>
                  <a:lnTo>
                    <a:pt x="124" y="77"/>
                  </a:lnTo>
                  <a:lnTo>
                    <a:pt x="105" y="64"/>
                  </a:lnTo>
                  <a:lnTo>
                    <a:pt x="80" y="48"/>
                  </a:lnTo>
                  <a:lnTo>
                    <a:pt x="55" y="48"/>
                  </a:lnTo>
                  <a:lnTo>
                    <a:pt x="22" y="40"/>
                  </a:lnTo>
                  <a:lnTo>
                    <a:pt x="9" y="28"/>
                  </a:lnTo>
                  <a:lnTo>
                    <a:pt x="0" y="8"/>
                  </a:lnTo>
                  <a:lnTo>
                    <a:pt x="5" y="0"/>
                  </a:lnTo>
                  <a:lnTo>
                    <a:pt x="33" y="6"/>
                  </a:lnTo>
                  <a:lnTo>
                    <a:pt x="52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sp>
        <p:nvSpPr>
          <p:cNvPr id="35" name="HU"/>
          <p:cNvSpPr>
            <a:spLocks noChangeAspect="1"/>
          </p:cNvSpPr>
          <p:nvPr/>
        </p:nvSpPr>
        <p:spPr bwMode="auto">
          <a:xfrm>
            <a:off x="6411913" y="4203700"/>
            <a:ext cx="782637" cy="431800"/>
          </a:xfrm>
          <a:custGeom>
            <a:avLst/>
            <a:gdLst>
              <a:gd name="T0" fmla="*/ 3 w 532"/>
              <a:gd name="T1" fmla="*/ 229 h 361"/>
              <a:gd name="T2" fmla="*/ 19 w 532"/>
              <a:gd name="T3" fmla="*/ 245 h 361"/>
              <a:gd name="T4" fmla="*/ 17 w 532"/>
              <a:gd name="T5" fmla="*/ 253 h 361"/>
              <a:gd name="T6" fmla="*/ 22 w 532"/>
              <a:gd name="T7" fmla="*/ 269 h 361"/>
              <a:gd name="T8" fmla="*/ 36 w 532"/>
              <a:gd name="T9" fmla="*/ 269 h 361"/>
              <a:gd name="T10" fmla="*/ 89 w 532"/>
              <a:gd name="T11" fmla="*/ 327 h 361"/>
              <a:gd name="T12" fmla="*/ 105 w 532"/>
              <a:gd name="T13" fmla="*/ 330 h 361"/>
              <a:gd name="T14" fmla="*/ 148 w 532"/>
              <a:gd name="T15" fmla="*/ 361 h 361"/>
              <a:gd name="T16" fmla="*/ 169 w 532"/>
              <a:gd name="T17" fmla="*/ 343 h 361"/>
              <a:gd name="T18" fmla="*/ 199 w 532"/>
              <a:gd name="T19" fmla="*/ 346 h 361"/>
              <a:gd name="T20" fmla="*/ 209 w 532"/>
              <a:gd name="T21" fmla="*/ 353 h 361"/>
              <a:gd name="T22" fmla="*/ 232 w 532"/>
              <a:gd name="T23" fmla="*/ 343 h 361"/>
              <a:gd name="T24" fmla="*/ 279 w 532"/>
              <a:gd name="T25" fmla="*/ 321 h 361"/>
              <a:gd name="T26" fmla="*/ 333 w 532"/>
              <a:gd name="T27" fmla="*/ 311 h 361"/>
              <a:gd name="T28" fmla="*/ 356 w 532"/>
              <a:gd name="T29" fmla="*/ 316 h 361"/>
              <a:gd name="T30" fmla="*/ 364 w 532"/>
              <a:gd name="T31" fmla="*/ 330 h 361"/>
              <a:gd name="T32" fmla="*/ 383 w 532"/>
              <a:gd name="T33" fmla="*/ 306 h 361"/>
              <a:gd name="T34" fmla="*/ 408 w 532"/>
              <a:gd name="T35" fmla="*/ 296 h 361"/>
              <a:gd name="T36" fmla="*/ 432 w 532"/>
              <a:gd name="T37" fmla="*/ 292 h 361"/>
              <a:gd name="T38" fmla="*/ 474 w 532"/>
              <a:gd name="T39" fmla="*/ 245 h 361"/>
              <a:gd name="T40" fmla="*/ 485 w 532"/>
              <a:gd name="T41" fmla="*/ 216 h 361"/>
              <a:gd name="T42" fmla="*/ 490 w 532"/>
              <a:gd name="T43" fmla="*/ 161 h 361"/>
              <a:gd name="T44" fmla="*/ 495 w 532"/>
              <a:gd name="T45" fmla="*/ 115 h 361"/>
              <a:gd name="T46" fmla="*/ 512 w 532"/>
              <a:gd name="T47" fmla="*/ 114 h 361"/>
              <a:gd name="T48" fmla="*/ 525 w 532"/>
              <a:gd name="T49" fmla="*/ 97 h 361"/>
              <a:gd name="T50" fmla="*/ 532 w 532"/>
              <a:gd name="T51" fmla="*/ 84 h 361"/>
              <a:gd name="T52" fmla="*/ 516 w 532"/>
              <a:gd name="T53" fmla="*/ 71 h 361"/>
              <a:gd name="T54" fmla="*/ 507 w 532"/>
              <a:gd name="T55" fmla="*/ 77 h 361"/>
              <a:gd name="T56" fmla="*/ 483 w 532"/>
              <a:gd name="T57" fmla="*/ 71 h 361"/>
              <a:gd name="T58" fmla="*/ 469 w 532"/>
              <a:gd name="T59" fmla="*/ 50 h 361"/>
              <a:gd name="T60" fmla="*/ 455 w 532"/>
              <a:gd name="T61" fmla="*/ 21 h 361"/>
              <a:gd name="T62" fmla="*/ 439 w 532"/>
              <a:gd name="T63" fmla="*/ 21 h 361"/>
              <a:gd name="T64" fmla="*/ 413 w 532"/>
              <a:gd name="T65" fmla="*/ 0 h 361"/>
              <a:gd name="T66" fmla="*/ 399 w 532"/>
              <a:gd name="T67" fmla="*/ 3 h 361"/>
              <a:gd name="T68" fmla="*/ 347 w 532"/>
              <a:gd name="T69" fmla="*/ 10 h 361"/>
              <a:gd name="T70" fmla="*/ 337 w 532"/>
              <a:gd name="T71" fmla="*/ 27 h 361"/>
              <a:gd name="T72" fmla="*/ 323 w 532"/>
              <a:gd name="T73" fmla="*/ 47 h 361"/>
              <a:gd name="T74" fmla="*/ 304 w 532"/>
              <a:gd name="T75" fmla="*/ 58 h 361"/>
              <a:gd name="T76" fmla="*/ 287 w 532"/>
              <a:gd name="T77" fmla="*/ 63 h 361"/>
              <a:gd name="T78" fmla="*/ 274 w 532"/>
              <a:gd name="T79" fmla="*/ 58 h 361"/>
              <a:gd name="T80" fmla="*/ 262 w 532"/>
              <a:gd name="T81" fmla="*/ 50 h 361"/>
              <a:gd name="T82" fmla="*/ 254 w 532"/>
              <a:gd name="T83" fmla="*/ 47 h 361"/>
              <a:gd name="T84" fmla="*/ 237 w 532"/>
              <a:gd name="T85" fmla="*/ 55 h 361"/>
              <a:gd name="T86" fmla="*/ 216 w 532"/>
              <a:gd name="T87" fmla="*/ 68 h 361"/>
              <a:gd name="T88" fmla="*/ 171 w 532"/>
              <a:gd name="T89" fmla="*/ 90 h 361"/>
              <a:gd name="T90" fmla="*/ 152 w 532"/>
              <a:gd name="T91" fmla="*/ 92 h 361"/>
              <a:gd name="T92" fmla="*/ 105 w 532"/>
              <a:gd name="T93" fmla="*/ 90 h 361"/>
              <a:gd name="T94" fmla="*/ 99 w 532"/>
              <a:gd name="T95" fmla="*/ 87 h 361"/>
              <a:gd name="T96" fmla="*/ 86 w 532"/>
              <a:gd name="T97" fmla="*/ 65 h 361"/>
              <a:gd name="T98" fmla="*/ 71 w 532"/>
              <a:gd name="T99" fmla="*/ 55 h 361"/>
              <a:gd name="T100" fmla="*/ 66 w 532"/>
              <a:gd name="T101" fmla="*/ 63 h 361"/>
              <a:gd name="T102" fmla="*/ 64 w 532"/>
              <a:gd name="T103" fmla="*/ 84 h 361"/>
              <a:gd name="T104" fmla="*/ 55 w 532"/>
              <a:gd name="T105" fmla="*/ 105 h 361"/>
              <a:gd name="T106" fmla="*/ 38 w 532"/>
              <a:gd name="T107" fmla="*/ 105 h 361"/>
              <a:gd name="T108" fmla="*/ 33 w 532"/>
              <a:gd name="T109" fmla="*/ 111 h 361"/>
              <a:gd name="T110" fmla="*/ 42 w 532"/>
              <a:gd name="T111" fmla="*/ 132 h 361"/>
              <a:gd name="T112" fmla="*/ 40 w 532"/>
              <a:gd name="T113" fmla="*/ 154 h 361"/>
              <a:gd name="T114" fmla="*/ 28 w 532"/>
              <a:gd name="T115" fmla="*/ 173 h 361"/>
              <a:gd name="T116" fmla="*/ 19 w 532"/>
              <a:gd name="T117" fmla="*/ 182 h 361"/>
              <a:gd name="T118" fmla="*/ 5 w 532"/>
              <a:gd name="T119" fmla="*/ 189 h 361"/>
              <a:gd name="T120" fmla="*/ 0 w 532"/>
              <a:gd name="T121" fmla="*/ 206 h 361"/>
              <a:gd name="T122" fmla="*/ 3 w 532"/>
              <a:gd name="T123" fmla="*/ 229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2" h="361">
                <a:moveTo>
                  <a:pt x="3" y="229"/>
                </a:moveTo>
                <a:lnTo>
                  <a:pt x="19" y="245"/>
                </a:lnTo>
                <a:lnTo>
                  <a:pt x="17" y="253"/>
                </a:lnTo>
                <a:lnTo>
                  <a:pt x="22" y="269"/>
                </a:lnTo>
                <a:lnTo>
                  <a:pt x="36" y="269"/>
                </a:lnTo>
                <a:lnTo>
                  <a:pt x="89" y="327"/>
                </a:lnTo>
                <a:lnTo>
                  <a:pt x="105" y="330"/>
                </a:lnTo>
                <a:lnTo>
                  <a:pt x="148" y="361"/>
                </a:lnTo>
                <a:lnTo>
                  <a:pt x="169" y="343"/>
                </a:lnTo>
                <a:lnTo>
                  <a:pt x="199" y="346"/>
                </a:lnTo>
                <a:lnTo>
                  <a:pt x="209" y="353"/>
                </a:lnTo>
                <a:lnTo>
                  <a:pt x="232" y="343"/>
                </a:lnTo>
                <a:lnTo>
                  <a:pt x="279" y="321"/>
                </a:lnTo>
                <a:lnTo>
                  <a:pt x="333" y="311"/>
                </a:lnTo>
                <a:lnTo>
                  <a:pt x="356" y="316"/>
                </a:lnTo>
                <a:lnTo>
                  <a:pt x="364" y="330"/>
                </a:lnTo>
                <a:lnTo>
                  <a:pt x="383" y="306"/>
                </a:lnTo>
                <a:lnTo>
                  <a:pt x="408" y="296"/>
                </a:lnTo>
                <a:lnTo>
                  <a:pt x="432" y="292"/>
                </a:lnTo>
                <a:lnTo>
                  <a:pt x="474" y="245"/>
                </a:lnTo>
                <a:lnTo>
                  <a:pt x="485" y="216"/>
                </a:lnTo>
                <a:lnTo>
                  <a:pt x="490" y="161"/>
                </a:lnTo>
                <a:lnTo>
                  <a:pt x="495" y="115"/>
                </a:lnTo>
                <a:lnTo>
                  <a:pt x="512" y="114"/>
                </a:lnTo>
                <a:lnTo>
                  <a:pt x="525" y="97"/>
                </a:lnTo>
                <a:lnTo>
                  <a:pt x="532" y="84"/>
                </a:lnTo>
                <a:lnTo>
                  <a:pt x="516" y="71"/>
                </a:lnTo>
                <a:lnTo>
                  <a:pt x="507" y="77"/>
                </a:lnTo>
                <a:lnTo>
                  <a:pt x="483" y="71"/>
                </a:lnTo>
                <a:lnTo>
                  <a:pt x="469" y="50"/>
                </a:lnTo>
                <a:lnTo>
                  <a:pt x="455" y="21"/>
                </a:lnTo>
                <a:lnTo>
                  <a:pt x="439" y="21"/>
                </a:lnTo>
                <a:lnTo>
                  <a:pt x="413" y="0"/>
                </a:lnTo>
                <a:lnTo>
                  <a:pt x="399" y="3"/>
                </a:lnTo>
                <a:lnTo>
                  <a:pt x="347" y="10"/>
                </a:lnTo>
                <a:lnTo>
                  <a:pt x="337" y="27"/>
                </a:lnTo>
                <a:lnTo>
                  <a:pt x="323" y="47"/>
                </a:lnTo>
                <a:lnTo>
                  <a:pt x="304" y="58"/>
                </a:lnTo>
                <a:lnTo>
                  <a:pt x="287" y="63"/>
                </a:lnTo>
                <a:lnTo>
                  <a:pt x="274" y="58"/>
                </a:lnTo>
                <a:lnTo>
                  <a:pt x="262" y="50"/>
                </a:lnTo>
                <a:lnTo>
                  <a:pt x="254" y="47"/>
                </a:lnTo>
                <a:lnTo>
                  <a:pt x="237" y="55"/>
                </a:lnTo>
                <a:lnTo>
                  <a:pt x="216" y="68"/>
                </a:lnTo>
                <a:lnTo>
                  <a:pt x="171" y="90"/>
                </a:lnTo>
                <a:lnTo>
                  <a:pt x="152" y="92"/>
                </a:lnTo>
                <a:lnTo>
                  <a:pt x="105" y="90"/>
                </a:lnTo>
                <a:lnTo>
                  <a:pt x="99" y="87"/>
                </a:lnTo>
                <a:lnTo>
                  <a:pt x="86" y="65"/>
                </a:lnTo>
                <a:lnTo>
                  <a:pt x="71" y="55"/>
                </a:lnTo>
                <a:lnTo>
                  <a:pt x="66" y="63"/>
                </a:lnTo>
                <a:lnTo>
                  <a:pt x="64" y="84"/>
                </a:lnTo>
                <a:lnTo>
                  <a:pt x="55" y="105"/>
                </a:lnTo>
                <a:lnTo>
                  <a:pt x="38" y="105"/>
                </a:lnTo>
                <a:lnTo>
                  <a:pt x="33" y="111"/>
                </a:lnTo>
                <a:lnTo>
                  <a:pt x="42" y="132"/>
                </a:lnTo>
                <a:lnTo>
                  <a:pt x="40" y="154"/>
                </a:lnTo>
                <a:lnTo>
                  <a:pt x="28" y="173"/>
                </a:lnTo>
                <a:lnTo>
                  <a:pt x="19" y="182"/>
                </a:lnTo>
                <a:lnTo>
                  <a:pt x="5" y="189"/>
                </a:lnTo>
                <a:lnTo>
                  <a:pt x="0" y="206"/>
                </a:lnTo>
                <a:lnTo>
                  <a:pt x="3" y="229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36" name="RO"/>
          <p:cNvSpPr>
            <a:spLocks noChangeAspect="1"/>
          </p:cNvSpPr>
          <p:nvPr/>
        </p:nvSpPr>
        <p:spPr bwMode="auto">
          <a:xfrm>
            <a:off x="6938963" y="4241800"/>
            <a:ext cx="1028700" cy="677863"/>
          </a:xfrm>
          <a:custGeom>
            <a:avLst/>
            <a:gdLst>
              <a:gd name="T0" fmla="*/ 155 w 696"/>
              <a:gd name="T1" fmla="*/ 65 h 572"/>
              <a:gd name="T2" fmla="*/ 129 w 696"/>
              <a:gd name="T3" fmla="*/ 81 h 572"/>
              <a:gd name="T4" fmla="*/ 121 w 696"/>
              <a:gd name="T5" fmla="*/ 185 h 572"/>
              <a:gd name="T6" fmla="*/ 79 w 696"/>
              <a:gd name="T7" fmla="*/ 240 h 572"/>
              <a:gd name="T8" fmla="*/ 24 w 696"/>
              <a:gd name="T9" fmla="*/ 269 h 572"/>
              <a:gd name="T10" fmla="*/ 0 w 696"/>
              <a:gd name="T11" fmla="*/ 306 h 572"/>
              <a:gd name="T12" fmla="*/ 22 w 696"/>
              <a:gd name="T13" fmla="*/ 337 h 572"/>
              <a:gd name="T14" fmla="*/ 22 w 696"/>
              <a:gd name="T15" fmla="*/ 367 h 572"/>
              <a:gd name="T16" fmla="*/ 52 w 696"/>
              <a:gd name="T17" fmla="*/ 374 h 572"/>
              <a:gd name="T18" fmla="*/ 66 w 696"/>
              <a:gd name="T19" fmla="*/ 420 h 572"/>
              <a:gd name="T20" fmla="*/ 75 w 696"/>
              <a:gd name="T21" fmla="*/ 461 h 572"/>
              <a:gd name="T22" fmla="*/ 97 w 696"/>
              <a:gd name="T23" fmla="*/ 461 h 572"/>
              <a:gd name="T24" fmla="*/ 132 w 696"/>
              <a:gd name="T25" fmla="*/ 464 h 572"/>
              <a:gd name="T26" fmla="*/ 132 w 696"/>
              <a:gd name="T27" fmla="*/ 488 h 572"/>
              <a:gd name="T28" fmla="*/ 155 w 696"/>
              <a:gd name="T29" fmla="*/ 509 h 572"/>
              <a:gd name="T30" fmla="*/ 155 w 696"/>
              <a:gd name="T31" fmla="*/ 538 h 572"/>
              <a:gd name="T32" fmla="*/ 203 w 696"/>
              <a:gd name="T33" fmla="*/ 551 h 572"/>
              <a:gd name="T34" fmla="*/ 270 w 696"/>
              <a:gd name="T35" fmla="*/ 572 h 572"/>
              <a:gd name="T36" fmla="*/ 319 w 696"/>
              <a:gd name="T37" fmla="*/ 556 h 572"/>
              <a:gd name="T38" fmla="*/ 376 w 696"/>
              <a:gd name="T39" fmla="*/ 562 h 572"/>
              <a:gd name="T40" fmla="*/ 409 w 696"/>
              <a:gd name="T41" fmla="*/ 541 h 572"/>
              <a:gd name="T42" fmla="*/ 503 w 696"/>
              <a:gd name="T43" fmla="*/ 492 h 572"/>
              <a:gd name="T44" fmla="*/ 558 w 696"/>
              <a:gd name="T45" fmla="*/ 498 h 572"/>
              <a:gd name="T46" fmla="*/ 599 w 696"/>
              <a:gd name="T47" fmla="*/ 506 h 572"/>
              <a:gd name="T48" fmla="*/ 625 w 696"/>
              <a:gd name="T49" fmla="*/ 482 h 572"/>
              <a:gd name="T50" fmla="*/ 627 w 696"/>
              <a:gd name="T51" fmla="*/ 401 h 572"/>
              <a:gd name="T52" fmla="*/ 651 w 696"/>
              <a:gd name="T53" fmla="*/ 374 h 572"/>
              <a:gd name="T54" fmla="*/ 674 w 696"/>
              <a:gd name="T55" fmla="*/ 374 h 572"/>
              <a:gd name="T56" fmla="*/ 679 w 696"/>
              <a:gd name="T57" fmla="*/ 353 h 572"/>
              <a:gd name="T58" fmla="*/ 696 w 696"/>
              <a:gd name="T59" fmla="*/ 334 h 572"/>
              <a:gd name="T60" fmla="*/ 660 w 696"/>
              <a:gd name="T61" fmla="*/ 322 h 572"/>
              <a:gd name="T62" fmla="*/ 618 w 696"/>
              <a:gd name="T63" fmla="*/ 331 h 572"/>
              <a:gd name="T64" fmla="*/ 578 w 696"/>
              <a:gd name="T65" fmla="*/ 322 h 572"/>
              <a:gd name="T66" fmla="*/ 571 w 696"/>
              <a:gd name="T67" fmla="*/ 285 h 572"/>
              <a:gd name="T68" fmla="*/ 558 w 696"/>
              <a:gd name="T69" fmla="*/ 248 h 572"/>
              <a:gd name="T70" fmla="*/ 550 w 696"/>
              <a:gd name="T71" fmla="*/ 211 h 572"/>
              <a:gd name="T72" fmla="*/ 552 w 696"/>
              <a:gd name="T73" fmla="*/ 176 h 572"/>
              <a:gd name="T74" fmla="*/ 522 w 696"/>
              <a:gd name="T75" fmla="*/ 124 h 572"/>
              <a:gd name="T76" fmla="*/ 512 w 696"/>
              <a:gd name="T77" fmla="*/ 87 h 572"/>
              <a:gd name="T78" fmla="*/ 482 w 696"/>
              <a:gd name="T79" fmla="*/ 58 h 572"/>
              <a:gd name="T80" fmla="*/ 461 w 696"/>
              <a:gd name="T81" fmla="*/ 13 h 572"/>
              <a:gd name="T82" fmla="*/ 440 w 696"/>
              <a:gd name="T83" fmla="*/ 0 h 572"/>
              <a:gd name="T84" fmla="*/ 416 w 696"/>
              <a:gd name="T85" fmla="*/ 19 h 572"/>
              <a:gd name="T86" fmla="*/ 388 w 696"/>
              <a:gd name="T87" fmla="*/ 21 h 572"/>
              <a:gd name="T88" fmla="*/ 364 w 696"/>
              <a:gd name="T89" fmla="*/ 37 h 572"/>
              <a:gd name="T90" fmla="*/ 327 w 696"/>
              <a:gd name="T91" fmla="*/ 43 h 572"/>
              <a:gd name="T92" fmla="*/ 297 w 696"/>
              <a:gd name="T93" fmla="*/ 19 h 572"/>
              <a:gd name="T94" fmla="*/ 259 w 696"/>
              <a:gd name="T95" fmla="*/ 34 h 572"/>
              <a:gd name="T96" fmla="*/ 228 w 696"/>
              <a:gd name="T97" fmla="*/ 31 h 572"/>
              <a:gd name="T98" fmla="*/ 190 w 696"/>
              <a:gd name="T99" fmla="*/ 29 h 572"/>
              <a:gd name="T100" fmla="*/ 171 w 696"/>
              <a:gd name="T101" fmla="*/ 40 h 572"/>
              <a:gd name="T102" fmla="*/ 162 w 696"/>
              <a:gd name="T103" fmla="*/ 44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6" h="572">
                <a:moveTo>
                  <a:pt x="167" y="50"/>
                </a:moveTo>
                <a:lnTo>
                  <a:pt x="155" y="65"/>
                </a:lnTo>
                <a:lnTo>
                  <a:pt x="146" y="77"/>
                </a:lnTo>
                <a:lnTo>
                  <a:pt x="129" y="81"/>
                </a:lnTo>
                <a:lnTo>
                  <a:pt x="122" y="169"/>
                </a:lnTo>
                <a:lnTo>
                  <a:pt x="121" y="185"/>
                </a:lnTo>
                <a:lnTo>
                  <a:pt x="102" y="219"/>
                </a:lnTo>
                <a:lnTo>
                  <a:pt x="79" y="240"/>
                </a:lnTo>
                <a:lnTo>
                  <a:pt x="64" y="259"/>
                </a:lnTo>
                <a:lnTo>
                  <a:pt x="24" y="269"/>
                </a:lnTo>
                <a:lnTo>
                  <a:pt x="4" y="289"/>
                </a:lnTo>
                <a:lnTo>
                  <a:pt x="0" y="306"/>
                </a:lnTo>
                <a:lnTo>
                  <a:pt x="14" y="319"/>
                </a:lnTo>
                <a:lnTo>
                  <a:pt x="22" y="337"/>
                </a:lnTo>
                <a:lnTo>
                  <a:pt x="19" y="350"/>
                </a:lnTo>
                <a:lnTo>
                  <a:pt x="22" y="367"/>
                </a:lnTo>
                <a:lnTo>
                  <a:pt x="33" y="374"/>
                </a:lnTo>
                <a:lnTo>
                  <a:pt x="52" y="374"/>
                </a:lnTo>
                <a:lnTo>
                  <a:pt x="59" y="390"/>
                </a:lnTo>
                <a:lnTo>
                  <a:pt x="66" y="420"/>
                </a:lnTo>
                <a:lnTo>
                  <a:pt x="69" y="442"/>
                </a:lnTo>
                <a:lnTo>
                  <a:pt x="75" y="461"/>
                </a:lnTo>
                <a:lnTo>
                  <a:pt x="88" y="467"/>
                </a:lnTo>
                <a:lnTo>
                  <a:pt x="97" y="461"/>
                </a:lnTo>
                <a:lnTo>
                  <a:pt x="113" y="448"/>
                </a:lnTo>
                <a:lnTo>
                  <a:pt x="132" y="464"/>
                </a:lnTo>
                <a:lnTo>
                  <a:pt x="129" y="479"/>
                </a:lnTo>
                <a:lnTo>
                  <a:pt x="132" y="488"/>
                </a:lnTo>
                <a:lnTo>
                  <a:pt x="141" y="492"/>
                </a:lnTo>
                <a:lnTo>
                  <a:pt x="155" y="509"/>
                </a:lnTo>
                <a:lnTo>
                  <a:pt x="151" y="528"/>
                </a:lnTo>
                <a:lnTo>
                  <a:pt x="155" y="538"/>
                </a:lnTo>
                <a:lnTo>
                  <a:pt x="176" y="538"/>
                </a:lnTo>
                <a:lnTo>
                  <a:pt x="203" y="551"/>
                </a:lnTo>
                <a:lnTo>
                  <a:pt x="251" y="572"/>
                </a:lnTo>
                <a:lnTo>
                  <a:pt x="270" y="572"/>
                </a:lnTo>
                <a:lnTo>
                  <a:pt x="297" y="566"/>
                </a:lnTo>
                <a:lnTo>
                  <a:pt x="319" y="556"/>
                </a:lnTo>
                <a:lnTo>
                  <a:pt x="357" y="563"/>
                </a:lnTo>
                <a:lnTo>
                  <a:pt x="376" y="562"/>
                </a:lnTo>
                <a:lnTo>
                  <a:pt x="385" y="559"/>
                </a:lnTo>
                <a:lnTo>
                  <a:pt x="409" y="541"/>
                </a:lnTo>
                <a:lnTo>
                  <a:pt x="463" y="506"/>
                </a:lnTo>
                <a:lnTo>
                  <a:pt x="503" y="492"/>
                </a:lnTo>
                <a:lnTo>
                  <a:pt x="525" y="491"/>
                </a:lnTo>
                <a:lnTo>
                  <a:pt x="558" y="498"/>
                </a:lnTo>
                <a:lnTo>
                  <a:pt x="585" y="501"/>
                </a:lnTo>
                <a:lnTo>
                  <a:pt x="599" y="506"/>
                </a:lnTo>
                <a:lnTo>
                  <a:pt x="621" y="504"/>
                </a:lnTo>
                <a:lnTo>
                  <a:pt x="625" y="482"/>
                </a:lnTo>
                <a:lnTo>
                  <a:pt x="625" y="442"/>
                </a:lnTo>
                <a:lnTo>
                  <a:pt x="627" y="401"/>
                </a:lnTo>
                <a:lnTo>
                  <a:pt x="639" y="380"/>
                </a:lnTo>
                <a:lnTo>
                  <a:pt x="651" y="374"/>
                </a:lnTo>
                <a:lnTo>
                  <a:pt x="663" y="383"/>
                </a:lnTo>
                <a:lnTo>
                  <a:pt x="674" y="374"/>
                </a:lnTo>
                <a:lnTo>
                  <a:pt x="682" y="364"/>
                </a:lnTo>
                <a:lnTo>
                  <a:pt x="679" y="353"/>
                </a:lnTo>
                <a:lnTo>
                  <a:pt x="693" y="349"/>
                </a:lnTo>
                <a:lnTo>
                  <a:pt x="696" y="334"/>
                </a:lnTo>
                <a:lnTo>
                  <a:pt x="682" y="327"/>
                </a:lnTo>
                <a:lnTo>
                  <a:pt x="660" y="322"/>
                </a:lnTo>
                <a:lnTo>
                  <a:pt x="644" y="327"/>
                </a:lnTo>
                <a:lnTo>
                  <a:pt x="618" y="331"/>
                </a:lnTo>
                <a:lnTo>
                  <a:pt x="594" y="331"/>
                </a:lnTo>
                <a:lnTo>
                  <a:pt x="578" y="322"/>
                </a:lnTo>
                <a:lnTo>
                  <a:pt x="571" y="306"/>
                </a:lnTo>
                <a:lnTo>
                  <a:pt x="571" y="285"/>
                </a:lnTo>
                <a:lnTo>
                  <a:pt x="569" y="263"/>
                </a:lnTo>
                <a:lnTo>
                  <a:pt x="558" y="248"/>
                </a:lnTo>
                <a:lnTo>
                  <a:pt x="550" y="232"/>
                </a:lnTo>
                <a:lnTo>
                  <a:pt x="550" y="211"/>
                </a:lnTo>
                <a:lnTo>
                  <a:pt x="552" y="189"/>
                </a:lnTo>
                <a:lnTo>
                  <a:pt x="552" y="176"/>
                </a:lnTo>
                <a:lnTo>
                  <a:pt x="541" y="145"/>
                </a:lnTo>
                <a:lnTo>
                  <a:pt x="522" y="124"/>
                </a:lnTo>
                <a:lnTo>
                  <a:pt x="514" y="102"/>
                </a:lnTo>
                <a:lnTo>
                  <a:pt x="512" y="87"/>
                </a:lnTo>
                <a:lnTo>
                  <a:pt x="508" y="80"/>
                </a:lnTo>
                <a:lnTo>
                  <a:pt x="482" y="58"/>
                </a:lnTo>
                <a:lnTo>
                  <a:pt x="473" y="40"/>
                </a:lnTo>
                <a:lnTo>
                  <a:pt x="461" y="13"/>
                </a:lnTo>
                <a:lnTo>
                  <a:pt x="451" y="3"/>
                </a:lnTo>
                <a:lnTo>
                  <a:pt x="440" y="0"/>
                </a:lnTo>
                <a:lnTo>
                  <a:pt x="428" y="6"/>
                </a:lnTo>
                <a:lnTo>
                  <a:pt x="416" y="19"/>
                </a:lnTo>
                <a:lnTo>
                  <a:pt x="409" y="21"/>
                </a:lnTo>
                <a:lnTo>
                  <a:pt x="388" y="21"/>
                </a:lnTo>
                <a:lnTo>
                  <a:pt x="374" y="24"/>
                </a:lnTo>
                <a:lnTo>
                  <a:pt x="364" y="37"/>
                </a:lnTo>
                <a:lnTo>
                  <a:pt x="346" y="44"/>
                </a:lnTo>
                <a:lnTo>
                  <a:pt x="327" y="43"/>
                </a:lnTo>
                <a:lnTo>
                  <a:pt x="317" y="31"/>
                </a:lnTo>
                <a:lnTo>
                  <a:pt x="297" y="19"/>
                </a:lnTo>
                <a:lnTo>
                  <a:pt x="280" y="24"/>
                </a:lnTo>
                <a:lnTo>
                  <a:pt x="259" y="34"/>
                </a:lnTo>
                <a:lnTo>
                  <a:pt x="242" y="37"/>
                </a:lnTo>
                <a:lnTo>
                  <a:pt x="228" y="31"/>
                </a:lnTo>
                <a:lnTo>
                  <a:pt x="212" y="21"/>
                </a:lnTo>
                <a:lnTo>
                  <a:pt x="190" y="29"/>
                </a:lnTo>
                <a:lnTo>
                  <a:pt x="176" y="37"/>
                </a:lnTo>
                <a:lnTo>
                  <a:pt x="171" y="40"/>
                </a:lnTo>
                <a:lnTo>
                  <a:pt x="167" y="43"/>
                </a:lnTo>
                <a:lnTo>
                  <a:pt x="162" y="44"/>
                </a:lnTo>
                <a:lnTo>
                  <a:pt x="167" y="50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37" name="LT"/>
          <p:cNvSpPr>
            <a:spLocks noChangeAspect="1"/>
          </p:cNvSpPr>
          <p:nvPr/>
        </p:nvSpPr>
        <p:spPr bwMode="auto">
          <a:xfrm>
            <a:off x="6938963" y="3040063"/>
            <a:ext cx="538162" cy="381000"/>
          </a:xfrm>
          <a:custGeom>
            <a:avLst/>
            <a:gdLst>
              <a:gd name="T0" fmla="*/ 3 w 364"/>
              <a:gd name="T1" fmla="*/ 34 h 318"/>
              <a:gd name="T2" fmla="*/ 0 w 364"/>
              <a:gd name="T3" fmla="*/ 44 h 318"/>
              <a:gd name="T4" fmla="*/ 6 w 364"/>
              <a:gd name="T5" fmla="*/ 81 h 318"/>
              <a:gd name="T6" fmla="*/ 22 w 364"/>
              <a:gd name="T7" fmla="*/ 136 h 318"/>
              <a:gd name="T8" fmla="*/ 36 w 364"/>
              <a:gd name="T9" fmla="*/ 152 h 318"/>
              <a:gd name="T10" fmla="*/ 69 w 364"/>
              <a:gd name="T11" fmla="*/ 166 h 318"/>
              <a:gd name="T12" fmla="*/ 83 w 364"/>
              <a:gd name="T13" fmla="*/ 170 h 318"/>
              <a:gd name="T14" fmla="*/ 85 w 364"/>
              <a:gd name="T15" fmla="*/ 189 h 318"/>
              <a:gd name="T16" fmla="*/ 85 w 364"/>
              <a:gd name="T17" fmla="*/ 220 h 318"/>
              <a:gd name="T18" fmla="*/ 118 w 364"/>
              <a:gd name="T19" fmla="*/ 257 h 318"/>
              <a:gd name="T20" fmla="*/ 138 w 364"/>
              <a:gd name="T21" fmla="*/ 268 h 318"/>
              <a:gd name="T22" fmla="*/ 149 w 364"/>
              <a:gd name="T23" fmla="*/ 274 h 318"/>
              <a:gd name="T24" fmla="*/ 176 w 364"/>
              <a:gd name="T25" fmla="*/ 312 h 318"/>
              <a:gd name="T26" fmla="*/ 185 w 364"/>
              <a:gd name="T27" fmla="*/ 305 h 318"/>
              <a:gd name="T28" fmla="*/ 204 w 364"/>
              <a:gd name="T29" fmla="*/ 303 h 318"/>
              <a:gd name="T30" fmla="*/ 226 w 364"/>
              <a:gd name="T31" fmla="*/ 318 h 318"/>
              <a:gd name="T32" fmla="*/ 242 w 364"/>
              <a:gd name="T33" fmla="*/ 308 h 318"/>
              <a:gd name="T34" fmla="*/ 265 w 364"/>
              <a:gd name="T35" fmla="*/ 278 h 318"/>
              <a:gd name="T36" fmla="*/ 282 w 364"/>
              <a:gd name="T37" fmla="*/ 268 h 318"/>
              <a:gd name="T38" fmla="*/ 298 w 364"/>
              <a:gd name="T39" fmla="*/ 276 h 318"/>
              <a:gd name="T40" fmla="*/ 308 w 364"/>
              <a:gd name="T41" fmla="*/ 271 h 318"/>
              <a:gd name="T42" fmla="*/ 309 w 364"/>
              <a:gd name="T43" fmla="*/ 260 h 318"/>
              <a:gd name="T44" fmla="*/ 312 w 364"/>
              <a:gd name="T45" fmla="*/ 200 h 318"/>
              <a:gd name="T46" fmla="*/ 322 w 364"/>
              <a:gd name="T47" fmla="*/ 182 h 318"/>
              <a:gd name="T48" fmla="*/ 322 w 364"/>
              <a:gd name="T49" fmla="*/ 155 h 318"/>
              <a:gd name="T50" fmla="*/ 326 w 364"/>
              <a:gd name="T51" fmla="*/ 145 h 318"/>
              <a:gd name="T52" fmla="*/ 345 w 364"/>
              <a:gd name="T53" fmla="*/ 129 h 318"/>
              <a:gd name="T54" fmla="*/ 364 w 364"/>
              <a:gd name="T55" fmla="*/ 126 h 318"/>
              <a:gd name="T56" fmla="*/ 364 w 364"/>
              <a:gd name="T57" fmla="*/ 96 h 318"/>
              <a:gd name="T58" fmla="*/ 359 w 364"/>
              <a:gd name="T59" fmla="*/ 74 h 318"/>
              <a:gd name="T60" fmla="*/ 345 w 364"/>
              <a:gd name="T61" fmla="*/ 65 h 318"/>
              <a:gd name="T62" fmla="*/ 339 w 364"/>
              <a:gd name="T63" fmla="*/ 68 h 318"/>
              <a:gd name="T64" fmla="*/ 315 w 364"/>
              <a:gd name="T65" fmla="*/ 44 h 318"/>
              <a:gd name="T66" fmla="*/ 301 w 364"/>
              <a:gd name="T67" fmla="*/ 27 h 318"/>
              <a:gd name="T68" fmla="*/ 284 w 364"/>
              <a:gd name="T69" fmla="*/ 27 h 318"/>
              <a:gd name="T70" fmla="*/ 251 w 364"/>
              <a:gd name="T71" fmla="*/ 27 h 318"/>
              <a:gd name="T72" fmla="*/ 245 w 364"/>
              <a:gd name="T73" fmla="*/ 21 h 318"/>
              <a:gd name="T74" fmla="*/ 237 w 364"/>
              <a:gd name="T75" fmla="*/ 2 h 318"/>
              <a:gd name="T76" fmla="*/ 228 w 364"/>
              <a:gd name="T77" fmla="*/ 0 h 318"/>
              <a:gd name="T78" fmla="*/ 199 w 364"/>
              <a:gd name="T79" fmla="*/ 0 h 318"/>
              <a:gd name="T80" fmla="*/ 188 w 364"/>
              <a:gd name="T81" fmla="*/ 15 h 318"/>
              <a:gd name="T82" fmla="*/ 176 w 364"/>
              <a:gd name="T83" fmla="*/ 12 h 318"/>
              <a:gd name="T84" fmla="*/ 157 w 364"/>
              <a:gd name="T85" fmla="*/ 8 h 318"/>
              <a:gd name="T86" fmla="*/ 149 w 364"/>
              <a:gd name="T87" fmla="*/ 5 h 318"/>
              <a:gd name="T88" fmla="*/ 135 w 364"/>
              <a:gd name="T89" fmla="*/ 10 h 318"/>
              <a:gd name="T90" fmla="*/ 125 w 364"/>
              <a:gd name="T91" fmla="*/ 18 h 318"/>
              <a:gd name="T92" fmla="*/ 106 w 364"/>
              <a:gd name="T93" fmla="*/ 10 h 318"/>
              <a:gd name="T94" fmla="*/ 66 w 364"/>
              <a:gd name="T95" fmla="*/ 2 h 318"/>
              <a:gd name="T96" fmla="*/ 56 w 364"/>
              <a:gd name="T97" fmla="*/ 0 h 318"/>
              <a:gd name="T98" fmla="*/ 45 w 364"/>
              <a:gd name="T99" fmla="*/ 10 h 318"/>
              <a:gd name="T100" fmla="*/ 26 w 364"/>
              <a:gd name="T101" fmla="*/ 24 h 318"/>
              <a:gd name="T102" fmla="*/ 3 w 364"/>
              <a:gd name="T103" fmla="*/ 34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4" h="318">
                <a:moveTo>
                  <a:pt x="3" y="34"/>
                </a:moveTo>
                <a:lnTo>
                  <a:pt x="0" y="44"/>
                </a:lnTo>
                <a:lnTo>
                  <a:pt x="6" y="81"/>
                </a:lnTo>
                <a:lnTo>
                  <a:pt x="22" y="136"/>
                </a:lnTo>
                <a:lnTo>
                  <a:pt x="36" y="152"/>
                </a:lnTo>
                <a:lnTo>
                  <a:pt x="69" y="166"/>
                </a:lnTo>
                <a:lnTo>
                  <a:pt x="83" y="170"/>
                </a:lnTo>
                <a:lnTo>
                  <a:pt x="85" y="189"/>
                </a:lnTo>
                <a:lnTo>
                  <a:pt x="85" y="220"/>
                </a:lnTo>
                <a:lnTo>
                  <a:pt x="118" y="257"/>
                </a:lnTo>
                <a:lnTo>
                  <a:pt x="138" y="268"/>
                </a:lnTo>
                <a:lnTo>
                  <a:pt x="149" y="274"/>
                </a:lnTo>
                <a:lnTo>
                  <a:pt x="176" y="312"/>
                </a:lnTo>
                <a:lnTo>
                  <a:pt x="185" y="305"/>
                </a:lnTo>
                <a:lnTo>
                  <a:pt x="204" y="303"/>
                </a:lnTo>
                <a:lnTo>
                  <a:pt x="226" y="318"/>
                </a:lnTo>
                <a:lnTo>
                  <a:pt x="242" y="308"/>
                </a:lnTo>
                <a:lnTo>
                  <a:pt x="265" y="278"/>
                </a:lnTo>
                <a:lnTo>
                  <a:pt x="282" y="268"/>
                </a:lnTo>
                <a:lnTo>
                  <a:pt x="298" y="276"/>
                </a:lnTo>
                <a:lnTo>
                  <a:pt x="308" y="271"/>
                </a:lnTo>
                <a:lnTo>
                  <a:pt x="309" y="260"/>
                </a:lnTo>
                <a:lnTo>
                  <a:pt x="312" y="200"/>
                </a:lnTo>
                <a:lnTo>
                  <a:pt x="322" y="182"/>
                </a:lnTo>
                <a:lnTo>
                  <a:pt x="322" y="155"/>
                </a:lnTo>
                <a:lnTo>
                  <a:pt x="326" y="145"/>
                </a:lnTo>
                <a:lnTo>
                  <a:pt x="345" y="129"/>
                </a:lnTo>
                <a:lnTo>
                  <a:pt x="364" y="126"/>
                </a:lnTo>
                <a:lnTo>
                  <a:pt x="364" y="96"/>
                </a:lnTo>
                <a:lnTo>
                  <a:pt x="359" y="74"/>
                </a:lnTo>
                <a:lnTo>
                  <a:pt x="345" y="65"/>
                </a:lnTo>
                <a:lnTo>
                  <a:pt x="339" y="68"/>
                </a:lnTo>
                <a:lnTo>
                  <a:pt x="315" y="44"/>
                </a:lnTo>
                <a:lnTo>
                  <a:pt x="301" y="27"/>
                </a:lnTo>
                <a:lnTo>
                  <a:pt x="284" y="27"/>
                </a:lnTo>
                <a:lnTo>
                  <a:pt x="251" y="27"/>
                </a:lnTo>
                <a:lnTo>
                  <a:pt x="245" y="21"/>
                </a:lnTo>
                <a:lnTo>
                  <a:pt x="237" y="2"/>
                </a:lnTo>
                <a:lnTo>
                  <a:pt x="228" y="0"/>
                </a:lnTo>
                <a:lnTo>
                  <a:pt x="199" y="0"/>
                </a:lnTo>
                <a:lnTo>
                  <a:pt x="188" y="15"/>
                </a:lnTo>
                <a:lnTo>
                  <a:pt x="176" y="12"/>
                </a:lnTo>
                <a:lnTo>
                  <a:pt x="157" y="8"/>
                </a:lnTo>
                <a:lnTo>
                  <a:pt x="149" y="5"/>
                </a:lnTo>
                <a:lnTo>
                  <a:pt x="135" y="10"/>
                </a:lnTo>
                <a:lnTo>
                  <a:pt x="125" y="18"/>
                </a:lnTo>
                <a:lnTo>
                  <a:pt x="106" y="10"/>
                </a:lnTo>
                <a:lnTo>
                  <a:pt x="66" y="2"/>
                </a:lnTo>
                <a:lnTo>
                  <a:pt x="56" y="0"/>
                </a:lnTo>
                <a:lnTo>
                  <a:pt x="45" y="10"/>
                </a:lnTo>
                <a:lnTo>
                  <a:pt x="26" y="24"/>
                </a:lnTo>
                <a:lnTo>
                  <a:pt x="3" y="34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grpSp>
        <p:nvGrpSpPr>
          <p:cNvPr id="38" name="EE"/>
          <p:cNvGrpSpPr>
            <a:grpSpLocks/>
          </p:cNvGrpSpPr>
          <p:nvPr/>
        </p:nvGrpSpPr>
        <p:grpSpPr bwMode="auto">
          <a:xfrm>
            <a:off x="6978582" y="2528348"/>
            <a:ext cx="541339" cy="327025"/>
            <a:chOff x="3930663" y="2840721"/>
            <a:chExt cx="247" cy="169"/>
          </a:xfrm>
          <a:solidFill>
            <a:srgbClr val="FAFAFA"/>
          </a:solidFill>
          <a:effectLst/>
        </p:grpSpPr>
        <p:sp>
          <p:nvSpPr>
            <p:cNvPr id="62" name="Freeform 533" descr="80%"/>
            <p:cNvSpPr>
              <a:spLocks noChangeAspect="1"/>
            </p:cNvSpPr>
            <p:nvPr/>
          </p:nvSpPr>
          <p:spPr bwMode="auto">
            <a:xfrm>
              <a:off x="3930673" y="2840778"/>
              <a:ext cx="38" cy="31"/>
            </a:xfrm>
            <a:custGeom>
              <a:avLst/>
              <a:gdLst>
                <a:gd name="T0" fmla="*/ 33 w 56"/>
                <a:gd name="T1" fmla="*/ 0 h 52"/>
                <a:gd name="T2" fmla="*/ 7 w 56"/>
                <a:gd name="T3" fmla="*/ 18 h 52"/>
                <a:gd name="T4" fmla="*/ 0 w 56"/>
                <a:gd name="T5" fmla="*/ 28 h 52"/>
                <a:gd name="T6" fmla="*/ 16 w 56"/>
                <a:gd name="T7" fmla="*/ 34 h 52"/>
                <a:gd name="T8" fmla="*/ 30 w 56"/>
                <a:gd name="T9" fmla="*/ 52 h 52"/>
                <a:gd name="T10" fmla="*/ 42 w 56"/>
                <a:gd name="T11" fmla="*/ 40 h 52"/>
                <a:gd name="T12" fmla="*/ 56 w 56"/>
                <a:gd name="T13" fmla="*/ 28 h 52"/>
                <a:gd name="T14" fmla="*/ 44 w 56"/>
                <a:gd name="T15" fmla="*/ 15 h 52"/>
                <a:gd name="T16" fmla="*/ 33 w 56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52">
                  <a:moveTo>
                    <a:pt x="33" y="0"/>
                  </a:moveTo>
                  <a:lnTo>
                    <a:pt x="7" y="18"/>
                  </a:lnTo>
                  <a:lnTo>
                    <a:pt x="0" y="28"/>
                  </a:lnTo>
                  <a:lnTo>
                    <a:pt x="16" y="34"/>
                  </a:lnTo>
                  <a:lnTo>
                    <a:pt x="30" y="52"/>
                  </a:lnTo>
                  <a:lnTo>
                    <a:pt x="42" y="40"/>
                  </a:lnTo>
                  <a:lnTo>
                    <a:pt x="56" y="28"/>
                  </a:lnTo>
                  <a:lnTo>
                    <a:pt x="44" y="15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63" name="Freeform 534" descr="80%"/>
            <p:cNvSpPr>
              <a:spLocks noChangeAspect="1"/>
            </p:cNvSpPr>
            <p:nvPr/>
          </p:nvSpPr>
          <p:spPr bwMode="auto">
            <a:xfrm>
              <a:off x="3930663" y="2840819"/>
              <a:ext cx="55" cy="59"/>
            </a:xfrm>
            <a:custGeom>
              <a:avLst/>
              <a:gdLst>
                <a:gd name="T0" fmla="*/ 69 w 83"/>
                <a:gd name="T1" fmla="*/ 0 h 95"/>
                <a:gd name="T2" fmla="*/ 41 w 83"/>
                <a:gd name="T3" fmla="*/ 6 h 95"/>
                <a:gd name="T4" fmla="*/ 31 w 83"/>
                <a:gd name="T5" fmla="*/ 0 h 95"/>
                <a:gd name="T6" fmla="*/ 14 w 83"/>
                <a:gd name="T7" fmla="*/ 24 h 95"/>
                <a:gd name="T8" fmla="*/ 8 w 83"/>
                <a:gd name="T9" fmla="*/ 18 h 95"/>
                <a:gd name="T10" fmla="*/ 0 w 83"/>
                <a:gd name="T11" fmla="*/ 34 h 95"/>
                <a:gd name="T12" fmla="*/ 9 w 83"/>
                <a:gd name="T13" fmla="*/ 43 h 95"/>
                <a:gd name="T14" fmla="*/ 9 w 83"/>
                <a:gd name="T15" fmla="*/ 82 h 95"/>
                <a:gd name="T16" fmla="*/ 17 w 83"/>
                <a:gd name="T17" fmla="*/ 95 h 95"/>
                <a:gd name="T18" fmla="*/ 59 w 83"/>
                <a:gd name="T19" fmla="*/ 43 h 95"/>
                <a:gd name="T20" fmla="*/ 75 w 83"/>
                <a:gd name="T21" fmla="*/ 43 h 95"/>
                <a:gd name="T22" fmla="*/ 83 w 83"/>
                <a:gd name="T23" fmla="*/ 28 h 95"/>
                <a:gd name="T24" fmla="*/ 80 w 83"/>
                <a:gd name="T25" fmla="*/ 21 h 95"/>
                <a:gd name="T26" fmla="*/ 69 w 83"/>
                <a:gd name="T2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95">
                  <a:moveTo>
                    <a:pt x="69" y="0"/>
                  </a:moveTo>
                  <a:lnTo>
                    <a:pt x="41" y="6"/>
                  </a:lnTo>
                  <a:lnTo>
                    <a:pt x="31" y="0"/>
                  </a:lnTo>
                  <a:lnTo>
                    <a:pt x="14" y="24"/>
                  </a:lnTo>
                  <a:lnTo>
                    <a:pt x="8" y="18"/>
                  </a:lnTo>
                  <a:lnTo>
                    <a:pt x="0" y="34"/>
                  </a:lnTo>
                  <a:lnTo>
                    <a:pt x="9" y="43"/>
                  </a:lnTo>
                  <a:lnTo>
                    <a:pt x="9" y="82"/>
                  </a:lnTo>
                  <a:lnTo>
                    <a:pt x="17" y="95"/>
                  </a:lnTo>
                  <a:lnTo>
                    <a:pt x="59" y="43"/>
                  </a:lnTo>
                  <a:lnTo>
                    <a:pt x="75" y="43"/>
                  </a:lnTo>
                  <a:lnTo>
                    <a:pt x="83" y="28"/>
                  </a:lnTo>
                  <a:lnTo>
                    <a:pt x="80" y="21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64" name="Freeform 535" descr="80%"/>
            <p:cNvSpPr>
              <a:spLocks noChangeAspect="1"/>
            </p:cNvSpPr>
            <p:nvPr/>
          </p:nvSpPr>
          <p:spPr bwMode="auto">
            <a:xfrm>
              <a:off x="3930728" y="2840721"/>
              <a:ext cx="182" cy="169"/>
            </a:xfrm>
            <a:custGeom>
              <a:avLst/>
              <a:gdLst>
                <a:gd name="T0" fmla="*/ 262 w 271"/>
                <a:gd name="T1" fmla="*/ 256 h 272"/>
                <a:gd name="T2" fmla="*/ 260 w 271"/>
                <a:gd name="T3" fmla="*/ 241 h 272"/>
                <a:gd name="T4" fmla="*/ 269 w 271"/>
                <a:gd name="T5" fmla="*/ 226 h 272"/>
                <a:gd name="T6" fmla="*/ 269 w 271"/>
                <a:gd name="T7" fmla="*/ 206 h 272"/>
                <a:gd name="T8" fmla="*/ 250 w 271"/>
                <a:gd name="T9" fmla="*/ 191 h 272"/>
                <a:gd name="T10" fmla="*/ 243 w 271"/>
                <a:gd name="T11" fmla="*/ 182 h 272"/>
                <a:gd name="T12" fmla="*/ 238 w 271"/>
                <a:gd name="T13" fmla="*/ 155 h 272"/>
                <a:gd name="T14" fmla="*/ 227 w 271"/>
                <a:gd name="T15" fmla="*/ 132 h 272"/>
                <a:gd name="T16" fmla="*/ 214 w 271"/>
                <a:gd name="T17" fmla="*/ 114 h 272"/>
                <a:gd name="T18" fmla="*/ 214 w 271"/>
                <a:gd name="T19" fmla="*/ 98 h 272"/>
                <a:gd name="T20" fmla="*/ 222 w 271"/>
                <a:gd name="T21" fmla="*/ 87 h 272"/>
                <a:gd name="T22" fmla="*/ 252 w 271"/>
                <a:gd name="T23" fmla="*/ 90 h 272"/>
                <a:gd name="T24" fmla="*/ 264 w 271"/>
                <a:gd name="T25" fmla="*/ 74 h 272"/>
                <a:gd name="T26" fmla="*/ 271 w 271"/>
                <a:gd name="T27" fmla="*/ 34 h 272"/>
                <a:gd name="T28" fmla="*/ 269 w 271"/>
                <a:gd name="T29" fmla="*/ 21 h 272"/>
                <a:gd name="T30" fmla="*/ 255 w 271"/>
                <a:gd name="T31" fmla="*/ 19 h 272"/>
                <a:gd name="T32" fmla="*/ 230 w 271"/>
                <a:gd name="T33" fmla="*/ 21 h 272"/>
                <a:gd name="T34" fmla="*/ 194 w 271"/>
                <a:gd name="T35" fmla="*/ 21 h 272"/>
                <a:gd name="T36" fmla="*/ 167 w 271"/>
                <a:gd name="T37" fmla="*/ 9 h 272"/>
                <a:gd name="T38" fmla="*/ 148 w 271"/>
                <a:gd name="T39" fmla="*/ 3 h 272"/>
                <a:gd name="T40" fmla="*/ 132 w 271"/>
                <a:gd name="T41" fmla="*/ 0 h 272"/>
                <a:gd name="T42" fmla="*/ 116 w 271"/>
                <a:gd name="T43" fmla="*/ 24 h 272"/>
                <a:gd name="T44" fmla="*/ 97 w 271"/>
                <a:gd name="T45" fmla="*/ 40 h 272"/>
                <a:gd name="T46" fmla="*/ 69 w 271"/>
                <a:gd name="T47" fmla="*/ 37 h 272"/>
                <a:gd name="T48" fmla="*/ 52 w 271"/>
                <a:gd name="T49" fmla="*/ 50 h 272"/>
                <a:gd name="T50" fmla="*/ 26 w 271"/>
                <a:gd name="T51" fmla="*/ 80 h 272"/>
                <a:gd name="T52" fmla="*/ 5 w 271"/>
                <a:gd name="T53" fmla="*/ 98 h 272"/>
                <a:gd name="T54" fmla="*/ 0 w 271"/>
                <a:gd name="T55" fmla="*/ 111 h 272"/>
                <a:gd name="T56" fmla="*/ 12 w 271"/>
                <a:gd name="T57" fmla="*/ 135 h 272"/>
                <a:gd name="T58" fmla="*/ 24 w 271"/>
                <a:gd name="T59" fmla="*/ 167 h 272"/>
                <a:gd name="T60" fmla="*/ 38 w 271"/>
                <a:gd name="T61" fmla="*/ 185 h 272"/>
                <a:gd name="T62" fmla="*/ 52 w 271"/>
                <a:gd name="T63" fmla="*/ 179 h 272"/>
                <a:gd name="T64" fmla="*/ 76 w 271"/>
                <a:gd name="T65" fmla="*/ 169 h 272"/>
                <a:gd name="T66" fmla="*/ 74 w 271"/>
                <a:gd name="T67" fmla="*/ 195 h 272"/>
                <a:gd name="T68" fmla="*/ 66 w 271"/>
                <a:gd name="T69" fmla="*/ 226 h 272"/>
                <a:gd name="T70" fmla="*/ 69 w 271"/>
                <a:gd name="T71" fmla="*/ 232 h 272"/>
                <a:gd name="T72" fmla="*/ 80 w 271"/>
                <a:gd name="T73" fmla="*/ 232 h 272"/>
                <a:gd name="T74" fmla="*/ 97 w 271"/>
                <a:gd name="T75" fmla="*/ 226 h 272"/>
                <a:gd name="T76" fmla="*/ 132 w 271"/>
                <a:gd name="T77" fmla="*/ 231 h 272"/>
                <a:gd name="T78" fmla="*/ 142 w 271"/>
                <a:gd name="T79" fmla="*/ 245 h 272"/>
                <a:gd name="T80" fmla="*/ 162 w 271"/>
                <a:gd name="T81" fmla="*/ 253 h 272"/>
                <a:gd name="T82" fmla="*/ 179 w 271"/>
                <a:gd name="T83" fmla="*/ 272 h 272"/>
                <a:gd name="T84" fmla="*/ 190 w 271"/>
                <a:gd name="T85" fmla="*/ 269 h 272"/>
                <a:gd name="T86" fmla="*/ 212 w 271"/>
                <a:gd name="T87" fmla="*/ 256 h 272"/>
                <a:gd name="T88" fmla="*/ 233 w 271"/>
                <a:gd name="T89" fmla="*/ 253 h 272"/>
                <a:gd name="T90" fmla="*/ 262 w 271"/>
                <a:gd name="T91" fmla="*/ 25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1" h="272">
                  <a:moveTo>
                    <a:pt x="262" y="256"/>
                  </a:moveTo>
                  <a:lnTo>
                    <a:pt x="260" y="241"/>
                  </a:lnTo>
                  <a:lnTo>
                    <a:pt x="269" y="226"/>
                  </a:lnTo>
                  <a:lnTo>
                    <a:pt x="269" y="206"/>
                  </a:lnTo>
                  <a:lnTo>
                    <a:pt x="250" y="191"/>
                  </a:lnTo>
                  <a:lnTo>
                    <a:pt x="243" y="182"/>
                  </a:lnTo>
                  <a:lnTo>
                    <a:pt x="238" y="155"/>
                  </a:lnTo>
                  <a:lnTo>
                    <a:pt x="227" y="132"/>
                  </a:lnTo>
                  <a:lnTo>
                    <a:pt x="214" y="114"/>
                  </a:lnTo>
                  <a:lnTo>
                    <a:pt x="214" y="98"/>
                  </a:lnTo>
                  <a:lnTo>
                    <a:pt x="222" y="87"/>
                  </a:lnTo>
                  <a:lnTo>
                    <a:pt x="252" y="90"/>
                  </a:lnTo>
                  <a:lnTo>
                    <a:pt x="264" y="74"/>
                  </a:lnTo>
                  <a:lnTo>
                    <a:pt x="271" y="34"/>
                  </a:lnTo>
                  <a:lnTo>
                    <a:pt x="269" y="21"/>
                  </a:lnTo>
                  <a:lnTo>
                    <a:pt x="255" y="19"/>
                  </a:lnTo>
                  <a:lnTo>
                    <a:pt x="230" y="21"/>
                  </a:lnTo>
                  <a:lnTo>
                    <a:pt x="194" y="21"/>
                  </a:lnTo>
                  <a:lnTo>
                    <a:pt x="167" y="9"/>
                  </a:lnTo>
                  <a:lnTo>
                    <a:pt x="148" y="3"/>
                  </a:lnTo>
                  <a:lnTo>
                    <a:pt x="132" y="0"/>
                  </a:lnTo>
                  <a:lnTo>
                    <a:pt x="116" y="24"/>
                  </a:lnTo>
                  <a:lnTo>
                    <a:pt x="97" y="40"/>
                  </a:lnTo>
                  <a:lnTo>
                    <a:pt x="69" y="37"/>
                  </a:lnTo>
                  <a:lnTo>
                    <a:pt x="52" y="50"/>
                  </a:lnTo>
                  <a:lnTo>
                    <a:pt x="26" y="80"/>
                  </a:lnTo>
                  <a:lnTo>
                    <a:pt x="5" y="98"/>
                  </a:lnTo>
                  <a:lnTo>
                    <a:pt x="0" y="111"/>
                  </a:lnTo>
                  <a:lnTo>
                    <a:pt x="12" y="135"/>
                  </a:lnTo>
                  <a:lnTo>
                    <a:pt x="24" y="167"/>
                  </a:lnTo>
                  <a:lnTo>
                    <a:pt x="38" y="185"/>
                  </a:lnTo>
                  <a:lnTo>
                    <a:pt x="52" y="179"/>
                  </a:lnTo>
                  <a:lnTo>
                    <a:pt x="76" y="169"/>
                  </a:lnTo>
                  <a:lnTo>
                    <a:pt x="74" y="195"/>
                  </a:lnTo>
                  <a:lnTo>
                    <a:pt x="66" y="226"/>
                  </a:lnTo>
                  <a:lnTo>
                    <a:pt x="69" y="232"/>
                  </a:lnTo>
                  <a:lnTo>
                    <a:pt x="80" y="232"/>
                  </a:lnTo>
                  <a:lnTo>
                    <a:pt x="97" y="226"/>
                  </a:lnTo>
                  <a:lnTo>
                    <a:pt x="132" y="231"/>
                  </a:lnTo>
                  <a:lnTo>
                    <a:pt x="142" y="245"/>
                  </a:lnTo>
                  <a:lnTo>
                    <a:pt x="162" y="253"/>
                  </a:lnTo>
                  <a:lnTo>
                    <a:pt x="179" y="272"/>
                  </a:lnTo>
                  <a:lnTo>
                    <a:pt x="190" y="269"/>
                  </a:lnTo>
                  <a:lnTo>
                    <a:pt x="212" y="256"/>
                  </a:lnTo>
                  <a:lnTo>
                    <a:pt x="233" y="253"/>
                  </a:lnTo>
                  <a:lnTo>
                    <a:pt x="262" y="25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sp>
        <p:nvSpPr>
          <p:cNvPr id="39" name="LV"/>
          <p:cNvSpPr>
            <a:spLocks noChangeAspect="1"/>
          </p:cNvSpPr>
          <p:nvPr/>
        </p:nvSpPr>
        <p:spPr bwMode="auto">
          <a:xfrm>
            <a:off x="6916738" y="2794000"/>
            <a:ext cx="695325" cy="327025"/>
          </a:xfrm>
          <a:custGeom>
            <a:avLst/>
            <a:gdLst>
              <a:gd name="T0" fmla="*/ 115 w 468"/>
              <a:gd name="T1" fmla="*/ 93 h 275"/>
              <a:gd name="T2" fmla="*/ 105 w 468"/>
              <a:gd name="T3" fmla="*/ 56 h 275"/>
              <a:gd name="T4" fmla="*/ 74 w 468"/>
              <a:gd name="T5" fmla="*/ 37 h 275"/>
              <a:gd name="T6" fmla="*/ 41 w 468"/>
              <a:gd name="T7" fmla="*/ 66 h 275"/>
              <a:gd name="T8" fmla="*/ 21 w 468"/>
              <a:gd name="T9" fmla="*/ 127 h 275"/>
              <a:gd name="T10" fmla="*/ 16 w 468"/>
              <a:gd name="T11" fmla="*/ 148 h 275"/>
              <a:gd name="T12" fmla="*/ 0 w 468"/>
              <a:gd name="T13" fmla="*/ 170 h 275"/>
              <a:gd name="T14" fmla="*/ 5 w 468"/>
              <a:gd name="T15" fmla="*/ 212 h 275"/>
              <a:gd name="T16" fmla="*/ 19 w 468"/>
              <a:gd name="T17" fmla="*/ 241 h 275"/>
              <a:gd name="T18" fmla="*/ 60 w 468"/>
              <a:gd name="T19" fmla="*/ 217 h 275"/>
              <a:gd name="T20" fmla="*/ 88 w 468"/>
              <a:gd name="T21" fmla="*/ 212 h 275"/>
              <a:gd name="T22" fmla="*/ 124 w 468"/>
              <a:gd name="T23" fmla="*/ 222 h 275"/>
              <a:gd name="T24" fmla="*/ 159 w 468"/>
              <a:gd name="T25" fmla="*/ 212 h 275"/>
              <a:gd name="T26" fmla="*/ 182 w 468"/>
              <a:gd name="T27" fmla="*/ 219 h 275"/>
              <a:gd name="T28" fmla="*/ 212 w 468"/>
              <a:gd name="T29" fmla="*/ 212 h 275"/>
              <a:gd name="T30" fmla="*/ 248 w 468"/>
              <a:gd name="T31" fmla="*/ 209 h 275"/>
              <a:gd name="T32" fmla="*/ 283 w 468"/>
              <a:gd name="T33" fmla="*/ 235 h 275"/>
              <a:gd name="T34" fmla="*/ 330 w 468"/>
              <a:gd name="T35" fmla="*/ 258 h 275"/>
              <a:gd name="T36" fmla="*/ 358 w 468"/>
              <a:gd name="T37" fmla="*/ 275 h 275"/>
              <a:gd name="T38" fmla="*/ 400 w 468"/>
              <a:gd name="T39" fmla="*/ 262 h 275"/>
              <a:gd name="T40" fmla="*/ 421 w 468"/>
              <a:gd name="T41" fmla="*/ 238 h 275"/>
              <a:gd name="T42" fmla="*/ 461 w 468"/>
              <a:gd name="T43" fmla="*/ 191 h 275"/>
              <a:gd name="T44" fmla="*/ 463 w 468"/>
              <a:gd name="T45" fmla="*/ 130 h 275"/>
              <a:gd name="T46" fmla="*/ 430 w 468"/>
              <a:gd name="T47" fmla="*/ 98 h 275"/>
              <a:gd name="T48" fmla="*/ 412 w 468"/>
              <a:gd name="T49" fmla="*/ 47 h 275"/>
              <a:gd name="T50" fmla="*/ 382 w 468"/>
              <a:gd name="T51" fmla="*/ 27 h 275"/>
              <a:gd name="T52" fmla="*/ 328 w 468"/>
              <a:gd name="T53" fmla="*/ 43 h 275"/>
              <a:gd name="T54" fmla="*/ 297 w 468"/>
              <a:gd name="T55" fmla="*/ 27 h 275"/>
              <a:gd name="T56" fmla="*/ 269 w 468"/>
              <a:gd name="T57" fmla="*/ 6 h 275"/>
              <a:gd name="T58" fmla="*/ 241 w 468"/>
              <a:gd name="T59" fmla="*/ 0 h 275"/>
              <a:gd name="T60" fmla="*/ 211 w 468"/>
              <a:gd name="T61" fmla="*/ 6 h 275"/>
              <a:gd name="T62" fmla="*/ 196 w 468"/>
              <a:gd name="T63" fmla="*/ 27 h 275"/>
              <a:gd name="T64" fmla="*/ 201 w 468"/>
              <a:gd name="T65" fmla="*/ 87 h 275"/>
              <a:gd name="T66" fmla="*/ 182 w 468"/>
              <a:gd name="T67" fmla="*/ 121 h 275"/>
              <a:gd name="T68" fmla="*/ 162 w 468"/>
              <a:gd name="T69" fmla="*/ 120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68" h="275">
                <a:moveTo>
                  <a:pt x="138" y="108"/>
                </a:moveTo>
                <a:lnTo>
                  <a:pt x="115" y="93"/>
                </a:lnTo>
                <a:lnTo>
                  <a:pt x="110" y="74"/>
                </a:lnTo>
                <a:lnTo>
                  <a:pt x="105" y="56"/>
                </a:lnTo>
                <a:lnTo>
                  <a:pt x="93" y="37"/>
                </a:lnTo>
                <a:lnTo>
                  <a:pt x="74" y="37"/>
                </a:lnTo>
                <a:lnTo>
                  <a:pt x="60" y="46"/>
                </a:lnTo>
                <a:lnTo>
                  <a:pt x="41" y="66"/>
                </a:lnTo>
                <a:lnTo>
                  <a:pt x="19" y="114"/>
                </a:lnTo>
                <a:lnTo>
                  <a:pt x="21" y="127"/>
                </a:lnTo>
                <a:lnTo>
                  <a:pt x="21" y="140"/>
                </a:lnTo>
                <a:lnTo>
                  <a:pt x="16" y="148"/>
                </a:lnTo>
                <a:lnTo>
                  <a:pt x="7" y="158"/>
                </a:lnTo>
                <a:lnTo>
                  <a:pt x="0" y="170"/>
                </a:lnTo>
                <a:lnTo>
                  <a:pt x="5" y="182"/>
                </a:lnTo>
                <a:lnTo>
                  <a:pt x="5" y="212"/>
                </a:lnTo>
                <a:lnTo>
                  <a:pt x="8" y="235"/>
                </a:lnTo>
                <a:lnTo>
                  <a:pt x="19" y="241"/>
                </a:lnTo>
                <a:lnTo>
                  <a:pt x="38" y="232"/>
                </a:lnTo>
                <a:lnTo>
                  <a:pt x="60" y="217"/>
                </a:lnTo>
                <a:lnTo>
                  <a:pt x="70" y="207"/>
                </a:lnTo>
                <a:lnTo>
                  <a:pt x="88" y="212"/>
                </a:lnTo>
                <a:lnTo>
                  <a:pt x="107" y="217"/>
                </a:lnTo>
                <a:lnTo>
                  <a:pt x="124" y="222"/>
                </a:lnTo>
                <a:lnTo>
                  <a:pt x="135" y="228"/>
                </a:lnTo>
                <a:lnTo>
                  <a:pt x="159" y="212"/>
                </a:lnTo>
                <a:lnTo>
                  <a:pt x="170" y="212"/>
                </a:lnTo>
                <a:lnTo>
                  <a:pt x="182" y="219"/>
                </a:lnTo>
                <a:lnTo>
                  <a:pt x="198" y="225"/>
                </a:lnTo>
                <a:lnTo>
                  <a:pt x="212" y="212"/>
                </a:lnTo>
                <a:lnTo>
                  <a:pt x="234" y="207"/>
                </a:lnTo>
                <a:lnTo>
                  <a:pt x="248" y="209"/>
                </a:lnTo>
                <a:lnTo>
                  <a:pt x="259" y="232"/>
                </a:lnTo>
                <a:lnTo>
                  <a:pt x="283" y="235"/>
                </a:lnTo>
                <a:lnTo>
                  <a:pt x="311" y="232"/>
                </a:lnTo>
                <a:lnTo>
                  <a:pt x="330" y="258"/>
                </a:lnTo>
                <a:lnTo>
                  <a:pt x="344" y="272"/>
                </a:lnTo>
                <a:lnTo>
                  <a:pt x="358" y="275"/>
                </a:lnTo>
                <a:lnTo>
                  <a:pt x="379" y="265"/>
                </a:lnTo>
                <a:lnTo>
                  <a:pt x="400" y="262"/>
                </a:lnTo>
                <a:lnTo>
                  <a:pt x="414" y="251"/>
                </a:lnTo>
                <a:lnTo>
                  <a:pt x="421" y="238"/>
                </a:lnTo>
                <a:lnTo>
                  <a:pt x="447" y="207"/>
                </a:lnTo>
                <a:lnTo>
                  <a:pt x="461" y="191"/>
                </a:lnTo>
                <a:lnTo>
                  <a:pt x="468" y="167"/>
                </a:lnTo>
                <a:lnTo>
                  <a:pt x="463" y="130"/>
                </a:lnTo>
                <a:lnTo>
                  <a:pt x="452" y="121"/>
                </a:lnTo>
                <a:lnTo>
                  <a:pt x="430" y="98"/>
                </a:lnTo>
                <a:lnTo>
                  <a:pt x="421" y="74"/>
                </a:lnTo>
                <a:lnTo>
                  <a:pt x="412" y="47"/>
                </a:lnTo>
                <a:lnTo>
                  <a:pt x="393" y="29"/>
                </a:lnTo>
                <a:lnTo>
                  <a:pt x="382" y="27"/>
                </a:lnTo>
                <a:lnTo>
                  <a:pt x="344" y="29"/>
                </a:lnTo>
                <a:lnTo>
                  <a:pt x="328" y="43"/>
                </a:lnTo>
                <a:lnTo>
                  <a:pt x="316" y="47"/>
                </a:lnTo>
                <a:lnTo>
                  <a:pt x="297" y="27"/>
                </a:lnTo>
                <a:lnTo>
                  <a:pt x="281" y="19"/>
                </a:lnTo>
                <a:lnTo>
                  <a:pt x="269" y="6"/>
                </a:lnTo>
                <a:lnTo>
                  <a:pt x="262" y="3"/>
                </a:lnTo>
                <a:lnTo>
                  <a:pt x="241" y="0"/>
                </a:lnTo>
                <a:lnTo>
                  <a:pt x="225" y="6"/>
                </a:lnTo>
                <a:lnTo>
                  <a:pt x="211" y="6"/>
                </a:lnTo>
                <a:lnTo>
                  <a:pt x="203" y="13"/>
                </a:lnTo>
                <a:lnTo>
                  <a:pt x="196" y="27"/>
                </a:lnTo>
                <a:lnTo>
                  <a:pt x="196" y="56"/>
                </a:lnTo>
                <a:lnTo>
                  <a:pt x="201" y="87"/>
                </a:lnTo>
                <a:lnTo>
                  <a:pt x="201" y="101"/>
                </a:lnTo>
                <a:lnTo>
                  <a:pt x="182" y="121"/>
                </a:lnTo>
                <a:lnTo>
                  <a:pt x="170" y="133"/>
                </a:lnTo>
                <a:lnTo>
                  <a:pt x="162" y="120"/>
                </a:lnTo>
                <a:lnTo>
                  <a:pt x="138" y="108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40" name="SK"/>
          <p:cNvSpPr>
            <a:spLocks noChangeAspect="1"/>
          </p:cNvSpPr>
          <p:nvPr/>
        </p:nvSpPr>
        <p:spPr bwMode="auto">
          <a:xfrm>
            <a:off x="6489700" y="4046538"/>
            <a:ext cx="658813" cy="266700"/>
          </a:xfrm>
          <a:custGeom>
            <a:avLst/>
            <a:gdLst>
              <a:gd name="T0" fmla="*/ 151 w 445"/>
              <a:gd name="T1" fmla="*/ 11 h 222"/>
              <a:gd name="T2" fmla="*/ 167 w 445"/>
              <a:gd name="T3" fmla="*/ 0 h 222"/>
              <a:gd name="T4" fmla="*/ 184 w 445"/>
              <a:gd name="T5" fmla="*/ 0 h 222"/>
              <a:gd name="T6" fmla="*/ 192 w 445"/>
              <a:gd name="T7" fmla="*/ 16 h 222"/>
              <a:gd name="T8" fmla="*/ 208 w 445"/>
              <a:gd name="T9" fmla="*/ 3 h 222"/>
              <a:gd name="T10" fmla="*/ 225 w 445"/>
              <a:gd name="T11" fmla="*/ 9 h 222"/>
              <a:gd name="T12" fmla="*/ 250 w 445"/>
              <a:gd name="T13" fmla="*/ 37 h 222"/>
              <a:gd name="T14" fmla="*/ 278 w 445"/>
              <a:gd name="T15" fmla="*/ 50 h 222"/>
              <a:gd name="T16" fmla="*/ 288 w 445"/>
              <a:gd name="T17" fmla="*/ 53 h 222"/>
              <a:gd name="T18" fmla="*/ 302 w 445"/>
              <a:gd name="T19" fmla="*/ 40 h 222"/>
              <a:gd name="T20" fmla="*/ 316 w 445"/>
              <a:gd name="T21" fmla="*/ 34 h 222"/>
              <a:gd name="T22" fmla="*/ 354 w 445"/>
              <a:gd name="T23" fmla="*/ 46 h 222"/>
              <a:gd name="T24" fmla="*/ 405 w 445"/>
              <a:gd name="T25" fmla="*/ 58 h 222"/>
              <a:gd name="T26" fmla="*/ 445 w 445"/>
              <a:gd name="T27" fmla="*/ 71 h 222"/>
              <a:gd name="T28" fmla="*/ 431 w 445"/>
              <a:gd name="T29" fmla="*/ 90 h 222"/>
              <a:gd name="T30" fmla="*/ 405 w 445"/>
              <a:gd name="T31" fmla="*/ 120 h 222"/>
              <a:gd name="T32" fmla="*/ 398 w 445"/>
              <a:gd name="T33" fmla="*/ 129 h 222"/>
              <a:gd name="T34" fmla="*/ 401 w 445"/>
              <a:gd name="T35" fmla="*/ 151 h 222"/>
              <a:gd name="T36" fmla="*/ 382 w 445"/>
              <a:gd name="T37" fmla="*/ 151 h 222"/>
              <a:gd name="T38" fmla="*/ 363 w 445"/>
              <a:gd name="T39" fmla="*/ 135 h 222"/>
              <a:gd name="T40" fmla="*/ 344 w 445"/>
              <a:gd name="T41" fmla="*/ 129 h 222"/>
              <a:gd name="T42" fmla="*/ 295 w 445"/>
              <a:gd name="T43" fmla="*/ 142 h 222"/>
              <a:gd name="T44" fmla="*/ 282 w 445"/>
              <a:gd name="T45" fmla="*/ 155 h 222"/>
              <a:gd name="T46" fmla="*/ 268 w 445"/>
              <a:gd name="T47" fmla="*/ 175 h 222"/>
              <a:gd name="T48" fmla="*/ 241 w 445"/>
              <a:gd name="T49" fmla="*/ 194 h 222"/>
              <a:gd name="T50" fmla="*/ 226 w 445"/>
              <a:gd name="T51" fmla="*/ 194 h 222"/>
              <a:gd name="T52" fmla="*/ 210 w 445"/>
              <a:gd name="T53" fmla="*/ 178 h 222"/>
              <a:gd name="T54" fmla="*/ 196 w 445"/>
              <a:gd name="T55" fmla="*/ 178 h 222"/>
              <a:gd name="T56" fmla="*/ 145 w 445"/>
              <a:gd name="T57" fmla="*/ 205 h 222"/>
              <a:gd name="T58" fmla="*/ 121 w 445"/>
              <a:gd name="T59" fmla="*/ 219 h 222"/>
              <a:gd name="T60" fmla="*/ 103 w 445"/>
              <a:gd name="T61" fmla="*/ 222 h 222"/>
              <a:gd name="T62" fmla="*/ 63 w 445"/>
              <a:gd name="T63" fmla="*/ 219 h 222"/>
              <a:gd name="T64" fmla="*/ 46 w 445"/>
              <a:gd name="T65" fmla="*/ 219 h 222"/>
              <a:gd name="T66" fmla="*/ 34 w 445"/>
              <a:gd name="T67" fmla="*/ 198 h 222"/>
              <a:gd name="T68" fmla="*/ 27 w 445"/>
              <a:gd name="T69" fmla="*/ 191 h 222"/>
              <a:gd name="T70" fmla="*/ 13 w 445"/>
              <a:gd name="T71" fmla="*/ 182 h 222"/>
              <a:gd name="T72" fmla="*/ 6 w 445"/>
              <a:gd name="T73" fmla="*/ 172 h 222"/>
              <a:gd name="T74" fmla="*/ 0 w 445"/>
              <a:gd name="T75" fmla="*/ 151 h 222"/>
              <a:gd name="T76" fmla="*/ 0 w 445"/>
              <a:gd name="T77" fmla="*/ 127 h 222"/>
              <a:gd name="T78" fmla="*/ 43 w 445"/>
              <a:gd name="T79" fmla="*/ 107 h 222"/>
              <a:gd name="T80" fmla="*/ 91 w 445"/>
              <a:gd name="T81" fmla="*/ 107 h 222"/>
              <a:gd name="T82" fmla="*/ 120 w 445"/>
              <a:gd name="T83" fmla="*/ 77 h 222"/>
              <a:gd name="T84" fmla="*/ 124 w 445"/>
              <a:gd name="T85" fmla="*/ 26 h 222"/>
              <a:gd name="T86" fmla="*/ 151 w 445"/>
              <a:gd name="T87" fmla="*/ 11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45" h="222">
                <a:moveTo>
                  <a:pt x="151" y="11"/>
                </a:moveTo>
                <a:lnTo>
                  <a:pt x="167" y="0"/>
                </a:lnTo>
                <a:lnTo>
                  <a:pt x="184" y="0"/>
                </a:lnTo>
                <a:lnTo>
                  <a:pt x="192" y="16"/>
                </a:lnTo>
                <a:lnTo>
                  <a:pt x="208" y="3"/>
                </a:lnTo>
                <a:lnTo>
                  <a:pt x="225" y="9"/>
                </a:lnTo>
                <a:lnTo>
                  <a:pt x="250" y="37"/>
                </a:lnTo>
                <a:lnTo>
                  <a:pt x="278" y="50"/>
                </a:lnTo>
                <a:lnTo>
                  <a:pt x="288" y="53"/>
                </a:lnTo>
                <a:lnTo>
                  <a:pt x="302" y="40"/>
                </a:lnTo>
                <a:lnTo>
                  <a:pt x="316" y="34"/>
                </a:lnTo>
                <a:lnTo>
                  <a:pt x="354" y="46"/>
                </a:lnTo>
                <a:lnTo>
                  <a:pt x="405" y="58"/>
                </a:lnTo>
                <a:lnTo>
                  <a:pt x="445" y="71"/>
                </a:lnTo>
                <a:lnTo>
                  <a:pt x="431" y="90"/>
                </a:lnTo>
                <a:lnTo>
                  <a:pt x="405" y="120"/>
                </a:lnTo>
                <a:lnTo>
                  <a:pt x="398" y="129"/>
                </a:lnTo>
                <a:lnTo>
                  <a:pt x="401" y="151"/>
                </a:lnTo>
                <a:lnTo>
                  <a:pt x="382" y="151"/>
                </a:lnTo>
                <a:lnTo>
                  <a:pt x="363" y="135"/>
                </a:lnTo>
                <a:lnTo>
                  <a:pt x="344" y="129"/>
                </a:lnTo>
                <a:lnTo>
                  <a:pt x="295" y="142"/>
                </a:lnTo>
                <a:lnTo>
                  <a:pt x="282" y="155"/>
                </a:lnTo>
                <a:lnTo>
                  <a:pt x="268" y="175"/>
                </a:lnTo>
                <a:lnTo>
                  <a:pt x="241" y="194"/>
                </a:lnTo>
                <a:lnTo>
                  <a:pt x="226" y="194"/>
                </a:lnTo>
                <a:lnTo>
                  <a:pt x="210" y="178"/>
                </a:lnTo>
                <a:lnTo>
                  <a:pt x="196" y="178"/>
                </a:lnTo>
                <a:lnTo>
                  <a:pt x="145" y="205"/>
                </a:lnTo>
                <a:lnTo>
                  <a:pt x="121" y="219"/>
                </a:lnTo>
                <a:lnTo>
                  <a:pt x="103" y="222"/>
                </a:lnTo>
                <a:lnTo>
                  <a:pt x="63" y="219"/>
                </a:lnTo>
                <a:lnTo>
                  <a:pt x="46" y="219"/>
                </a:lnTo>
                <a:lnTo>
                  <a:pt x="34" y="198"/>
                </a:lnTo>
                <a:lnTo>
                  <a:pt x="27" y="191"/>
                </a:lnTo>
                <a:lnTo>
                  <a:pt x="13" y="182"/>
                </a:lnTo>
                <a:lnTo>
                  <a:pt x="6" y="172"/>
                </a:lnTo>
                <a:lnTo>
                  <a:pt x="0" y="151"/>
                </a:lnTo>
                <a:lnTo>
                  <a:pt x="0" y="127"/>
                </a:lnTo>
                <a:lnTo>
                  <a:pt x="43" y="107"/>
                </a:lnTo>
                <a:lnTo>
                  <a:pt x="91" y="107"/>
                </a:lnTo>
                <a:lnTo>
                  <a:pt x="120" y="77"/>
                </a:lnTo>
                <a:lnTo>
                  <a:pt x="124" y="26"/>
                </a:lnTo>
                <a:lnTo>
                  <a:pt x="151" y="11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41" name="xb"/>
          <p:cNvSpPr>
            <a:spLocks noChangeAspect="1"/>
          </p:cNvSpPr>
          <p:nvPr/>
        </p:nvSpPr>
        <p:spPr bwMode="auto">
          <a:xfrm>
            <a:off x="7581900" y="4206875"/>
            <a:ext cx="442913" cy="439738"/>
          </a:xfrm>
          <a:custGeom>
            <a:avLst/>
            <a:gdLst>
              <a:gd name="T0" fmla="*/ 153 w 285"/>
              <a:gd name="T1" fmla="*/ 355 h 355"/>
              <a:gd name="T2" fmla="*/ 136 w 285"/>
              <a:gd name="T3" fmla="*/ 335 h 355"/>
              <a:gd name="T4" fmla="*/ 133 w 285"/>
              <a:gd name="T5" fmla="*/ 288 h 355"/>
              <a:gd name="T6" fmla="*/ 115 w 285"/>
              <a:gd name="T7" fmla="*/ 254 h 355"/>
              <a:gd name="T8" fmla="*/ 114 w 285"/>
              <a:gd name="T9" fmla="*/ 224 h 355"/>
              <a:gd name="T10" fmla="*/ 119 w 285"/>
              <a:gd name="T11" fmla="*/ 202 h 355"/>
              <a:gd name="T12" fmla="*/ 104 w 285"/>
              <a:gd name="T13" fmla="*/ 171 h 355"/>
              <a:gd name="T14" fmla="*/ 85 w 285"/>
              <a:gd name="T15" fmla="*/ 147 h 355"/>
              <a:gd name="T16" fmla="*/ 77 w 285"/>
              <a:gd name="T17" fmla="*/ 121 h 355"/>
              <a:gd name="T18" fmla="*/ 73 w 285"/>
              <a:gd name="T19" fmla="*/ 104 h 355"/>
              <a:gd name="T20" fmla="*/ 50 w 285"/>
              <a:gd name="T21" fmla="*/ 87 h 355"/>
              <a:gd name="T22" fmla="*/ 38 w 285"/>
              <a:gd name="T23" fmla="*/ 64 h 355"/>
              <a:gd name="T24" fmla="*/ 24 w 285"/>
              <a:gd name="T25" fmla="*/ 39 h 355"/>
              <a:gd name="T26" fmla="*/ 0 w 285"/>
              <a:gd name="T27" fmla="*/ 22 h 355"/>
              <a:gd name="T28" fmla="*/ 38 w 285"/>
              <a:gd name="T29" fmla="*/ 0 h 355"/>
              <a:gd name="T30" fmla="*/ 68 w 285"/>
              <a:gd name="T31" fmla="*/ 5 h 355"/>
              <a:gd name="T32" fmla="*/ 87 w 285"/>
              <a:gd name="T33" fmla="*/ 9 h 355"/>
              <a:gd name="T34" fmla="*/ 136 w 285"/>
              <a:gd name="T35" fmla="*/ 49 h 355"/>
              <a:gd name="T36" fmla="*/ 148 w 285"/>
              <a:gd name="T37" fmla="*/ 56 h 355"/>
              <a:gd name="T38" fmla="*/ 183 w 285"/>
              <a:gd name="T39" fmla="*/ 64 h 355"/>
              <a:gd name="T40" fmla="*/ 205 w 285"/>
              <a:gd name="T41" fmla="*/ 99 h 355"/>
              <a:gd name="T42" fmla="*/ 195 w 285"/>
              <a:gd name="T43" fmla="*/ 124 h 355"/>
              <a:gd name="T44" fmla="*/ 209 w 285"/>
              <a:gd name="T45" fmla="*/ 158 h 355"/>
              <a:gd name="T46" fmla="*/ 243 w 285"/>
              <a:gd name="T47" fmla="*/ 184 h 355"/>
              <a:gd name="T48" fmla="*/ 256 w 285"/>
              <a:gd name="T49" fmla="*/ 205 h 355"/>
              <a:gd name="T50" fmla="*/ 277 w 285"/>
              <a:gd name="T51" fmla="*/ 214 h 355"/>
              <a:gd name="T52" fmla="*/ 285 w 285"/>
              <a:gd name="T53" fmla="*/ 215 h 355"/>
              <a:gd name="T54" fmla="*/ 271 w 285"/>
              <a:gd name="T55" fmla="*/ 227 h 355"/>
              <a:gd name="T56" fmla="*/ 235 w 285"/>
              <a:gd name="T57" fmla="*/ 227 h 355"/>
              <a:gd name="T58" fmla="*/ 205 w 285"/>
              <a:gd name="T59" fmla="*/ 224 h 355"/>
              <a:gd name="T60" fmla="*/ 191 w 285"/>
              <a:gd name="T61" fmla="*/ 231 h 355"/>
              <a:gd name="T62" fmla="*/ 195 w 285"/>
              <a:gd name="T63" fmla="*/ 269 h 355"/>
              <a:gd name="T64" fmla="*/ 190 w 285"/>
              <a:gd name="T65" fmla="*/ 299 h 355"/>
              <a:gd name="T66" fmla="*/ 159 w 285"/>
              <a:gd name="T67" fmla="*/ 335 h 355"/>
              <a:gd name="T68" fmla="*/ 153 w 285"/>
              <a:gd name="T69" fmla="*/ 355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5" h="355">
                <a:moveTo>
                  <a:pt x="153" y="355"/>
                </a:moveTo>
                <a:lnTo>
                  <a:pt x="136" y="335"/>
                </a:lnTo>
                <a:lnTo>
                  <a:pt x="133" y="288"/>
                </a:lnTo>
                <a:lnTo>
                  <a:pt x="115" y="254"/>
                </a:lnTo>
                <a:lnTo>
                  <a:pt x="114" y="224"/>
                </a:lnTo>
                <a:lnTo>
                  <a:pt x="119" y="202"/>
                </a:lnTo>
                <a:lnTo>
                  <a:pt x="104" y="171"/>
                </a:lnTo>
                <a:lnTo>
                  <a:pt x="85" y="147"/>
                </a:lnTo>
                <a:lnTo>
                  <a:pt x="77" y="121"/>
                </a:lnTo>
                <a:lnTo>
                  <a:pt x="73" y="104"/>
                </a:lnTo>
                <a:lnTo>
                  <a:pt x="50" y="87"/>
                </a:lnTo>
                <a:lnTo>
                  <a:pt x="38" y="64"/>
                </a:lnTo>
                <a:lnTo>
                  <a:pt x="24" y="39"/>
                </a:lnTo>
                <a:lnTo>
                  <a:pt x="0" y="22"/>
                </a:lnTo>
                <a:lnTo>
                  <a:pt x="38" y="0"/>
                </a:lnTo>
                <a:lnTo>
                  <a:pt x="68" y="5"/>
                </a:lnTo>
                <a:lnTo>
                  <a:pt x="87" y="9"/>
                </a:lnTo>
                <a:lnTo>
                  <a:pt x="136" y="49"/>
                </a:lnTo>
                <a:lnTo>
                  <a:pt x="148" y="56"/>
                </a:lnTo>
                <a:lnTo>
                  <a:pt x="183" y="64"/>
                </a:lnTo>
                <a:lnTo>
                  <a:pt x="205" y="99"/>
                </a:lnTo>
                <a:lnTo>
                  <a:pt x="195" y="124"/>
                </a:lnTo>
                <a:lnTo>
                  <a:pt x="209" y="158"/>
                </a:lnTo>
                <a:lnTo>
                  <a:pt x="243" y="184"/>
                </a:lnTo>
                <a:lnTo>
                  <a:pt x="256" y="205"/>
                </a:lnTo>
                <a:lnTo>
                  <a:pt x="277" y="214"/>
                </a:lnTo>
                <a:lnTo>
                  <a:pt x="285" y="215"/>
                </a:lnTo>
                <a:lnTo>
                  <a:pt x="271" y="227"/>
                </a:lnTo>
                <a:lnTo>
                  <a:pt x="235" y="227"/>
                </a:lnTo>
                <a:lnTo>
                  <a:pt x="205" y="224"/>
                </a:lnTo>
                <a:lnTo>
                  <a:pt x="191" y="231"/>
                </a:lnTo>
                <a:lnTo>
                  <a:pt x="195" y="269"/>
                </a:lnTo>
                <a:lnTo>
                  <a:pt x="190" y="299"/>
                </a:lnTo>
                <a:lnTo>
                  <a:pt x="159" y="335"/>
                </a:lnTo>
                <a:lnTo>
                  <a:pt x="153" y="355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grpSp>
        <p:nvGrpSpPr>
          <p:cNvPr id="42" name="xx"/>
          <p:cNvGrpSpPr/>
          <p:nvPr/>
        </p:nvGrpSpPr>
        <p:grpSpPr>
          <a:xfrm>
            <a:off x="5729208" y="2794006"/>
            <a:ext cx="272411" cy="405364"/>
            <a:chOff x="2681289" y="3112181"/>
            <a:chExt cx="272411" cy="405364"/>
          </a:xfrm>
          <a:solidFill>
            <a:srgbClr val="FAFAFA"/>
          </a:solidFill>
          <a:effectLst/>
        </p:grpSpPr>
        <p:sp>
          <p:nvSpPr>
            <p:cNvPr id="60" name="Freeform 531"/>
            <p:cNvSpPr>
              <a:spLocks noChangeAspect="1"/>
            </p:cNvSpPr>
            <p:nvPr/>
          </p:nvSpPr>
          <p:spPr bwMode="auto">
            <a:xfrm>
              <a:off x="2681289" y="3211098"/>
              <a:ext cx="272411" cy="306447"/>
            </a:xfrm>
            <a:custGeom>
              <a:avLst/>
              <a:gdLst>
                <a:gd name="T0" fmla="*/ 14 w 183"/>
                <a:gd name="T1" fmla="*/ 216 h 253"/>
                <a:gd name="T2" fmla="*/ 24 w 183"/>
                <a:gd name="T3" fmla="*/ 234 h 253"/>
                <a:gd name="T4" fmla="*/ 44 w 183"/>
                <a:gd name="T5" fmla="*/ 234 h 253"/>
                <a:gd name="T6" fmla="*/ 63 w 183"/>
                <a:gd name="T7" fmla="*/ 240 h 253"/>
                <a:gd name="T8" fmla="*/ 77 w 183"/>
                <a:gd name="T9" fmla="*/ 253 h 253"/>
                <a:gd name="T10" fmla="*/ 92 w 183"/>
                <a:gd name="T11" fmla="*/ 253 h 253"/>
                <a:gd name="T12" fmla="*/ 82 w 183"/>
                <a:gd name="T13" fmla="*/ 237 h 253"/>
                <a:gd name="T14" fmla="*/ 90 w 183"/>
                <a:gd name="T15" fmla="*/ 216 h 253"/>
                <a:gd name="T16" fmla="*/ 98 w 183"/>
                <a:gd name="T17" fmla="*/ 192 h 253"/>
                <a:gd name="T18" fmla="*/ 103 w 183"/>
                <a:gd name="T19" fmla="*/ 166 h 253"/>
                <a:gd name="T20" fmla="*/ 125 w 183"/>
                <a:gd name="T21" fmla="*/ 150 h 253"/>
                <a:gd name="T22" fmla="*/ 143 w 183"/>
                <a:gd name="T23" fmla="*/ 139 h 253"/>
                <a:gd name="T24" fmla="*/ 141 w 183"/>
                <a:gd name="T25" fmla="*/ 123 h 253"/>
                <a:gd name="T26" fmla="*/ 141 w 183"/>
                <a:gd name="T27" fmla="*/ 98 h 253"/>
                <a:gd name="T28" fmla="*/ 145 w 183"/>
                <a:gd name="T29" fmla="*/ 86 h 253"/>
                <a:gd name="T30" fmla="*/ 162 w 183"/>
                <a:gd name="T31" fmla="*/ 83 h 253"/>
                <a:gd name="T32" fmla="*/ 169 w 183"/>
                <a:gd name="T33" fmla="*/ 89 h 253"/>
                <a:gd name="T34" fmla="*/ 183 w 183"/>
                <a:gd name="T35" fmla="*/ 71 h 253"/>
                <a:gd name="T36" fmla="*/ 178 w 183"/>
                <a:gd name="T37" fmla="*/ 55 h 253"/>
                <a:gd name="T38" fmla="*/ 169 w 183"/>
                <a:gd name="T39" fmla="*/ 52 h 253"/>
                <a:gd name="T40" fmla="*/ 153 w 183"/>
                <a:gd name="T41" fmla="*/ 52 h 253"/>
                <a:gd name="T42" fmla="*/ 145 w 183"/>
                <a:gd name="T43" fmla="*/ 52 h 253"/>
                <a:gd name="T44" fmla="*/ 141 w 183"/>
                <a:gd name="T45" fmla="*/ 28 h 253"/>
                <a:gd name="T46" fmla="*/ 143 w 183"/>
                <a:gd name="T47" fmla="*/ 5 h 253"/>
                <a:gd name="T48" fmla="*/ 131 w 183"/>
                <a:gd name="T49" fmla="*/ 0 h 253"/>
                <a:gd name="T50" fmla="*/ 126 w 183"/>
                <a:gd name="T51" fmla="*/ 8 h 253"/>
                <a:gd name="T52" fmla="*/ 98 w 183"/>
                <a:gd name="T53" fmla="*/ 2 h 253"/>
                <a:gd name="T54" fmla="*/ 92 w 183"/>
                <a:gd name="T55" fmla="*/ 9 h 253"/>
                <a:gd name="T56" fmla="*/ 98 w 183"/>
                <a:gd name="T57" fmla="*/ 31 h 253"/>
                <a:gd name="T58" fmla="*/ 96 w 183"/>
                <a:gd name="T59" fmla="*/ 52 h 253"/>
                <a:gd name="T60" fmla="*/ 84 w 183"/>
                <a:gd name="T61" fmla="*/ 37 h 253"/>
                <a:gd name="T62" fmla="*/ 79 w 183"/>
                <a:gd name="T63" fmla="*/ 24 h 253"/>
                <a:gd name="T64" fmla="*/ 63 w 183"/>
                <a:gd name="T65" fmla="*/ 27 h 253"/>
                <a:gd name="T66" fmla="*/ 57 w 183"/>
                <a:gd name="T67" fmla="*/ 39 h 253"/>
                <a:gd name="T68" fmla="*/ 52 w 183"/>
                <a:gd name="T69" fmla="*/ 45 h 253"/>
                <a:gd name="T70" fmla="*/ 52 w 183"/>
                <a:gd name="T71" fmla="*/ 64 h 253"/>
                <a:gd name="T72" fmla="*/ 49 w 183"/>
                <a:gd name="T73" fmla="*/ 61 h 253"/>
                <a:gd name="T74" fmla="*/ 35 w 183"/>
                <a:gd name="T75" fmla="*/ 37 h 253"/>
                <a:gd name="T76" fmla="*/ 27 w 183"/>
                <a:gd name="T77" fmla="*/ 28 h 253"/>
                <a:gd name="T78" fmla="*/ 19 w 183"/>
                <a:gd name="T79" fmla="*/ 34 h 253"/>
                <a:gd name="T80" fmla="*/ 21 w 183"/>
                <a:gd name="T81" fmla="*/ 46 h 253"/>
                <a:gd name="T82" fmla="*/ 21 w 183"/>
                <a:gd name="T83" fmla="*/ 55 h 253"/>
                <a:gd name="T84" fmla="*/ 8 w 183"/>
                <a:gd name="T85" fmla="*/ 61 h 253"/>
                <a:gd name="T86" fmla="*/ 8 w 183"/>
                <a:gd name="T87" fmla="*/ 79 h 253"/>
                <a:gd name="T88" fmla="*/ 19 w 183"/>
                <a:gd name="T89" fmla="*/ 98 h 253"/>
                <a:gd name="T90" fmla="*/ 19 w 183"/>
                <a:gd name="T91" fmla="*/ 110 h 253"/>
                <a:gd name="T92" fmla="*/ 14 w 183"/>
                <a:gd name="T93" fmla="*/ 123 h 253"/>
                <a:gd name="T94" fmla="*/ 0 w 183"/>
                <a:gd name="T95" fmla="*/ 136 h 253"/>
                <a:gd name="T96" fmla="*/ 2 w 183"/>
                <a:gd name="T97" fmla="*/ 150 h 253"/>
                <a:gd name="T98" fmla="*/ 16 w 183"/>
                <a:gd name="T99" fmla="*/ 163 h 253"/>
                <a:gd name="T100" fmla="*/ 21 w 183"/>
                <a:gd name="T101" fmla="*/ 176 h 253"/>
                <a:gd name="T102" fmla="*/ 19 w 183"/>
                <a:gd name="T103" fmla="*/ 200 h 253"/>
                <a:gd name="T104" fmla="*/ 14 w 183"/>
                <a:gd name="T105" fmla="*/ 216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3" h="253">
                  <a:moveTo>
                    <a:pt x="14" y="216"/>
                  </a:moveTo>
                  <a:lnTo>
                    <a:pt x="24" y="234"/>
                  </a:lnTo>
                  <a:lnTo>
                    <a:pt x="44" y="234"/>
                  </a:lnTo>
                  <a:lnTo>
                    <a:pt x="63" y="240"/>
                  </a:lnTo>
                  <a:lnTo>
                    <a:pt x="77" y="253"/>
                  </a:lnTo>
                  <a:lnTo>
                    <a:pt x="92" y="253"/>
                  </a:lnTo>
                  <a:lnTo>
                    <a:pt x="82" y="237"/>
                  </a:lnTo>
                  <a:lnTo>
                    <a:pt x="90" y="216"/>
                  </a:lnTo>
                  <a:lnTo>
                    <a:pt x="98" y="192"/>
                  </a:lnTo>
                  <a:lnTo>
                    <a:pt x="103" y="166"/>
                  </a:lnTo>
                  <a:lnTo>
                    <a:pt x="125" y="150"/>
                  </a:lnTo>
                  <a:lnTo>
                    <a:pt x="143" y="139"/>
                  </a:lnTo>
                  <a:lnTo>
                    <a:pt x="141" y="123"/>
                  </a:lnTo>
                  <a:lnTo>
                    <a:pt x="141" y="98"/>
                  </a:lnTo>
                  <a:lnTo>
                    <a:pt x="145" y="86"/>
                  </a:lnTo>
                  <a:lnTo>
                    <a:pt x="162" y="83"/>
                  </a:lnTo>
                  <a:lnTo>
                    <a:pt x="169" y="89"/>
                  </a:lnTo>
                  <a:lnTo>
                    <a:pt x="183" y="71"/>
                  </a:lnTo>
                  <a:lnTo>
                    <a:pt x="178" y="55"/>
                  </a:lnTo>
                  <a:lnTo>
                    <a:pt x="169" y="52"/>
                  </a:lnTo>
                  <a:lnTo>
                    <a:pt x="153" y="52"/>
                  </a:lnTo>
                  <a:lnTo>
                    <a:pt x="145" y="52"/>
                  </a:lnTo>
                  <a:lnTo>
                    <a:pt x="141" y="28"/>
                  </a:lnTo>
                  <a:lnTo>
                    <a:pt x="143" y="5"/>
                  </a:lnTo>
                  <a:lnTo>
                    <a:pt x="131" y="0"/>
                  </a:lnTo>
                  <a:lnTo>
                    <a:pt x="126" y="8"/>
                  </a:lnTo>
                  <a:lnTo>
                    <a:pt x="98" y="2"/>
                  </a:lnTo>
                  <a:lnTo>
                    <a:pt x="92" y="9"/>
                  </a:lnTo>
                  <a:lnTo>
                    <a:pt x="98" y="31"/>
                  </a:lnTo>
                  <a:lnTo>
                    <a:pt x="96" y="52"/>
                  </a:lnTo>
                  <a:lnTo>
                    <a:pt x="84" y="37"/>
                  </a:lnTo>
                  <a:lnTo>
                    <a:pt x="79" y="24"/>
                  </a:lnTo>
                  <a:lnTo>
                    <a:pt x="63" y="27"/>
                  </a:lnTo>
                  <a:lnTo>
                    <a:pt x="57" y="39"/>
                  </a:lnTo>
                  <a:lnTo>
                    <a:pt x="52" y="45"/>
                  </a:lnTo>
                  <a:lnTo>
                    <a:pt x="52" y="64"/>
                  </a:lnTo>
                  <a:lnTo>
                    <a:pt x="49" y="61"/>
                  </a:lnTo>
                  <a:lnTo>
                    <a:pt x="35" y="37"/>
                  </a:lnTo>
                  <a:lnTo>
                    <a:pt x="27" y="28"/>
                  </a:lnTo>
                  <a:lnTo>
                    <a:pt x="19" y="34"/>
                  </a:lnTo>
                  <a:lnTo>
                    <a:pt x="21" y="46"/>
                  </a:lnTo>
                  <a:lnTo>
                    <a:pt x="21" y="55"/>
                  </a:lnTo>
                  <a:lnTo>
                    <a:pt x="8" y="61"/>
                  </a:lnTo>
                  <a:lnTo>
                    <a:pt x="8" y="79"/>
                  </a:lnTo>
                  <a:lnTo>
                    <a:pt x="19" y="98"/>
                  </a:lnTo>
                  <a:lnTo>
                    <a:pt x="19" y="110"/>
                  </a:lnTo>
                  <a:lnTo>
                    <a:pt x="14" y="123"/>
                  </a:lnTo>
                  <a:lnTo>
                    <a:pt x="0" y="136"/>
                  </a:lnTo>
                  <a:lnTo>
                    <a:pt x="2" y="150"/>
                  </a:lnTo>
                  <a:lnTo>
                    <a:pt x="16" y="163"/>
                  </a:lnTo>
                  <a:lnTo>
                    <a:pt x="21" y="176"/>
                  </a:lnTo>
                  <a:lnTo>
                    <a:pt x="19" y="200"/>
                  </a:lnTo>
                  <a:lnTo>
                    <a:pt x="14" y="2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61" name="Freeform 532"/>
            <p:cNvSpPr>
              <a:spLocks noChangeAspect="1"/>
            </p:cNvSpPr>
            <p:nvPr/>
          </p:nvSpPr>
          <p:spPr bwMode="auto">
            <a:xfrm>
              <a:off x="2705261" y="3112181"/>
              <a:ext cx="202674" cy="118312"/>
            </a:xfrm>
            <a:custGeom>
              <a:avLst/>
              <a:gdLst>
                <a:gd name="T0" fmla="*/ 0 w 138"/>
                <a:gd name="T1" fmla="*/ 94 h 97"/>
                <a:gd name="T2" fmla="*/ 11 w 138"/>
                <a:gd name="T3" fmla="*/ 97 h 97"/>
                <a:gd name="T4" fmla="*/ 25 w 138"/>
                <a:gd name="T5" fmla="*/ 86 h 97"/>
                <a:gd name="T6" fmla="*/ 39 w 138"/>
                <a:gd name="T7" fmla="*/ 67 h 97"/>
                <a:gd name="T8" fmla="*/ 77 w 138"/>
                <a:gd name="T9" fmla="*/ 67 h 97"/>
                <a:gd name="T10" fmla="*/ 110 w 138"/>
                <a:gd name="T11" fmla="*/ 60 h 97"/>
                <a:gd name="T12" fmla="*/ 129 w 138"/>
                <a:gd name="T13" fmla="*/ 43 h 97"/>
                <a:gd name="T14" fmla="*/ 135 w 138"/>
                <a:gd name="T15" fmla="*/ 22 h 97"/>
                <a:gd name="T16" fmla="*/ 138 w 138"/>
                <a:gd name="T17" fmla="*/ 0 h 97"/>
                <a:gd name="T18" fmla="*/ 112 w 138"/>
                <a:gd name="T19" fmla="*/ 13 h 97"/>
                <a:gd name="T20" fmla="*/ 65 w 138"/>
                <a:gd name="T21" fmla="*/ 37 h 97"/>
                <a:gd name="T22" fmla="*/ 53 w 138"/>
                <a:gd name="T23" fmla="*/ 40 h 97"/>
                <a:gd name="T24" fmla="*/ 39 w 138"/>
                <a:gd name="T25" fmla="*/ 52 h 97"/>
                <a:gd name="T26" fmla="*/ 11 w 138"/>
                <a:gd name="T27" fmla="*/ 57 h 97"/>
                <a:gd name="T28" fmla="*/ 0 w 138"/>
                <a:gd name="T29" fmla="*/ 64 h 97"/>
                <a:gd name="T30" fmla="*/ 0 w 138"/>
                <a:gd name="T31" fmla="*/ 9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8" h="97">
                  <a:moveTo>
                    <a:pt x="0" y="94"/>
                  </a:moveTo>
                  <a:lnTo>
                    <a:pt x="11" y="97"/>
                  </a:lnTo>
                  <a:lnTo>
                    <a:pt x="25" y="86"/>
                  </a:lnTo>
                  <a:lnTo>
                    <a:pt x="39" y="67"/>
                  </a:lnTo>
                  <a:lnTo>
                    <a:pt x="77" y="67"/>
                  </a:lnTo>
                  <a:lnTo>
                    <a:pt x="110" y="60"/>
                  </a:lnTo>
                  <a:lnTo>
                    <a:pt x="129" y="43"/>
                  </a:lnTo>
                  <a:lnTo>
                    <a:pt x="135" y="22"/>
                  </a:lnTo>
                  <a:lnTo>
                    <a:pt x="138" y="0"/>
                  </a:lnTo>
                  <a:lnTo>
                    <a:pt x="112" y="13"/>
                  </a:lnTo>
                  <a:lnTo>
                    <a:pt x="65" y="37"/>
                  </a:lnTo>
                  <a:lnTo>
                    <a:pt x="53" y="40"/>
                  </a:lnTo>
                  <a:lnTo>
                    <a:pt x="39" y="52"/>
                  </a:lnTo>
                  <a:lnTo>
                    <a:pt x="11" y="57"/>
                  </a:lnTo>
                  <a:lnTo>
                    <a:pt x="0" y="64"/>
                  </a:lnTo>
                  <a:lnTo>
                    <a:pt x="0" y="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grpSp>
        <p:nvGrpSpPr>
          <p:cNvPr id="43" name="DD"/>
          <p:cNvGrpSpPr/>
          <p:nvPr/>
        </p:nvGrpSpPr>
        <p:grpSpPr>
          <a:xfrm>
            <a:off x="5882872" y="3020383"/>
            <a:ext cx="224686" cy="228283"/>
            <a:chOff x="2834953" y="3338558"/>
            <a:chExt cx="224686" cy="228283"/>
          </a:xfrm>
          <a:solidFill>
            <a:srgbClr val="FAFAFA"/>
          </a:solidFill>
          <a:effectLst/>
        </p:grpSpPr>
        <p:sp>
          <p:nvSpPr>
            <p:cNvPr id="57" name="Freeform 528"/>
            <p:cNvSpPr>
              <a:spLocks noChangeAspect="1"/>
            </p:cNvSpPr>
            <p:nvPr/>
          </p:nvSpPr>
          <p:spPr bwMode="auto">
            <a:xfrm>
              <a:off x="2834953" y="3388403"/>
              <a:ext cx="89351" cy="96977"/>
            </a:xfrm>
            <a:custGeom>
              <a:avLst/>
              <a:gdLst>
                <a:gd name="T0" fmla="*/ 19 w 59"/>
                <a:gd name="T1" fmla="*/ 0 h 80"/>
                <a:gd name="T2" fmla="*/ 57 w 59"/>
                <a:gd name="T3" fmla="*/ 27 h 80"/>
                <a:gd name="T4" fmla="*/ 59 w 59"/>
                <a:gd name="T5" fmla="*/ 40 h 80"/>
                <a:gd name="T6" fmla="*/ 45 w 59"/>
                <a:gd name="T7" fmla="*/ 55 h 80"/>
                <a:gd name="T8" fmla="*/ 32 w 59"/>
                <a:gd name="T9" fmla="*/ 67 h 80"/>
                <a:gd name="T10" fmla="*/ 35 w 59"/>
                <a:gd name="T11" fmla="*/ 80 h 80"/>
                <a:gd name="T12" fmla="*/ 19 w 59"/>
                <a:gd name="T13" fmla="*/ 77 h 80"/>
                <a:gd name="T14" fmla="*/ 2 w 59"/>
                <a:gd name="T15" fmla="*/ 55 h 80"/>
                <a:gd name="T16" fmla="*/ 0 w 59"/>
                <a:gd name="T17" fmla="*/ 40 h 80"/>
                <a:gd name="T18" fmla="*/ 7 w 59"/>
                <a:gd name="T19" fmla="*/ 23 h 80"/>
                <a:gd name="T20" fmla="*/ 19 w 59"/>
                <a:gd name="T2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0">
                  <a:moveTo>
                    <a:pt x="19" y="0"/>
                  </a:moveTo>
                  <a:lnTo>
                    <a:pt x="57" y="27"/>
                  </a:lnTo>
                  <a:lnTo>
                    <a:pt x="59" y="40"/>
                  </a:lnTo>
                  <a:lnTo>
                    <a:pt x="45" y="55"/>
                  </a:lnTo>
                  <a:lnTo>
                    <a:pt x="32" y="67"/>
                  </a:lnTo>
                  <a:lnTo>
                    <a:pt x="35" y="80"/>
                  </a:lnTo>
                  <a:lnTo>
                    <a:pt x="19" y="77"/>
                  </a:lnTo>
                  <a:lnTo>
                    <a:pt x="2" y="55"/>
                  </a:lnTo>
                  <a:lnTo>
                    <a:pt x="0" y="40"/>
                  </a:lnTo>
                  <a:lnTo>
                    <a:pt x="7" y="23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58" name="Freeform 529"/>
            <p:cNvSpPr>
              <a:spLocks noChangeAspect="1"/>
            </p:cNvSpPr>
            <p:nvPr/>
          </p:nvSpPr>
          <p:spPr bwMode="auto">
            <a:xfrm>
              <a:off x="2885728" y="3338558"/>
              <a:ext cx="173911" cy="198220"/>
            </a:xfrm>
            <a:custGeom>
              <a:avLst/>
              <a:gdLst>
                <a:gd name="T0" fmla="*/ 83 w 88"/>
                <a:gd name="T1" fmla="*/ 0 h 117"/>
                <a:gd name="T2" fmla="*/ 88 w 88"/>
                <a:gd name="T3" fmla="*/ 6 h 117"/>
                <a:gd name="T4" fmla="*/ 83 w 88"/>
                <a:gd name="T5" fmla="*/ 13 h 117"/>
                <a:gd name="T6" fmla="*/ 88 w 88"/>
                <a:gd name="T7" fmla="*/ 26 h 117"/>
                <a:gd name="T8" fmla="*/ 81 w 88"/>
                <a:gd name="T9" fmla="*/ 41 h 117"/>
                <a:gd name="T10" fmla="*/ 69 w 88"/>
                <a:gd name="T11" fmla="*/ 51 h 117"/>
                <a:gd name="T12" fmla="*/ 74 w 88"/>
                <a:gd name="T13" fmla="*/ 64 h 117"/>
                <a:gd name="T14" fmla="*/ 69 w 88"/>
                <a:gd name="T15" fmla="*/ 75 h 117"/>
                <a:gd name="T16" fmla="*/ 74 w 88"/>
                <a:gd name="T17" fmla="*/ 88 h 117"/>
                <a:gd name="T18" fmla="*/ 57 w 88"/>
                <a:gd name="T19" fmla="*/ 117 h 117"/>
                <a:gd name="T20" fmla="*/ 20 w 88"/>
                <a:gd name="T21" fmla="*/ 88 h 117"/>
                <a:gd name="T22" fmla="*/ 0 w 88"/>
                <a:gd name="T23" fmla="*/ 73 h 117"/>
                <a:gd name="T24" fmla="*/ 12 w 88"/>
                <a:gd name="T25" fmla="*/ 64 h 117"/>
                <a:gd name="T26" fmla="*/ 12 w 88"/>
                <a:gd name="T27" fmla="*/ 46 h 117"/>
                <a:gd name="T28" fmla="*/ 34 w 88"/>
                <a:gd name="T29" fmla="*/ 31 h 117"/>
                <a:gd name="T30" fmla="*/ 46 w 88"/>
                <a:gd name="T31" fmla="*/ 37 h 117"/>
                <a:gd name="T32" fmla="*/ 57 w 88"/>
                <a:gd name="T33" fmla="*/ 31 h 117"/>
                <a:gd name="T34" fmla="*/ 76 w 88"/>
                <a:gd name="T35" fmla="*/ 16 h 117"/>
                <a:gd name="T36" fmla="*/ 83 w 88"/>
                <a:gd name="T3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" h="117">
                  <a:moveTo>
                    <a:pt x="83" y="0"/>
                  </a:moveTo>
                  <a:lnTo>
                    <a:pt x="88" y="6"/>
                  </a:lnTo>
                  <a:lnTo>
                    <a:pt x="83" y="13"/>
                  </a:lnTo>
                  <a:lnTo>
                    <a:pt x="88" y="26"/>
                  </a:lnTo>
                  <a:lnTo>
                    <a:pt x="81" y="41"/>
                  </a:lnTo>
                  <a:lnTo>
                    <a:pt x="69" y="51"/>
                  </a:lnTo>
                  <a:lnTo>
                    <a:pt x="74" y="64"/>
                  </a:lnTo>
                  <a:lnTo>
                    <a:pt x="69" y="75"/>
                  </a:lnTo>
                  <a:lnTo>
                    <a:pt x="74" y="88"/>
                  </a:lnTo>
                  <a:lnTo>
                    <a:pt x="57" y="117"/>
                  </a:lnTo>
                  <a:lnTo>
                    <a:pt x="20" y="88"/>
                  </a:lnTo>
                  <a:lnTo>
                    <a:pt x="0" y="73"/>
                  </a:lnTo>
                  <a:lnTo>
                    <a:pt x="12" y="64"/>
                  </a:lnTo>
                  <a:lnTo>
                    <a:pt x="12" y="46"/>
                  </a:lnTo>
                  <a:lnTo>
                    <a:pt x="34" y="31"/>
                  </a:lnTo>
                  <a:lnTo>
                    <a:pt x="46" y="37"/>
                  </a:lnTo>
                  <a:lnTo>
                    <a:pt x="57" y="31"/>
                  </a:lnTo>
                  <a:lnTo>
                    <a:pt x="76" y="16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  <p:sp>
          <p:nvSpPr>
            <p:cNvPr id="59" name="Freeform 530"/>
            <p:cNvSpPr>
              <a:spLocks noChangeAspect="1"/>
            </p:cNvSpPr>
            <p:nvPr/>
          </p:nvSpPr>
          <p:spPr bwMode="auto">
            <a:xfrm>
              <a:off x="2924304" y="3506715"/>
              <a:ext cx="52303" cy="60126"/>
            </a:xfrm>
            <a:custGeom>
              <a:avLst/>
              <a:gdLst>
                <a:gd name="T0" fmla="*/ 0 w 35"/>
                <a:gd name="T1" fmla="*/ 0 h 50"/>
                <a:gd name="T2" fmla="*/ 24 w 35"/>
                <a:gd name="T3" fmla="*/ 9 h 50"/>
                <a:gd name="T4" fmla="*/ 33 w 35"/>
                <a:gd name="T5" fmla="*/ 21 h 50"/>
                <a:gd name="T6" fmla="*/ 35 w 35"/>
                <a:gd name="T7" fmla="*/ 40 h 50"/>
                <a:gd name="T8" fmla="*/ 24 w 35"/>
                <a:gd name="T9" fmla="*/ 50 h 50"/>
                <a:gd name="T10" fmla="*/ 6 w 35"/>
                <a:gd name="T11" fmla="*/ 41 h 50"/>
                <a:gd name="T12" fmla="*/ 2 w 35"/>
                <a:gd name="T13" fmla="*/ 28 h 50"/>
                <a:gd name="T14" fmla="*/ 0 w 35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0">
                  <a:moveTo>
                    <a:pt x="0" y="0"/>
                  </a:moveTo>
                  <a:lnTo>
                    <a:pt x="24" y="9"/>
                  </a:lnTo>
                  <a:lnTo>
                    <a:pt x="33" y="21"/>
                  </a:lnTo>
                  <a:lnTo>
                    <a:pt x="35" y="40"/>
                  </a:lnTo>
                  <a:lnTo>
                    <a:pt x="24" y="50"/>
                  </a:lnTo>
                  <a:lnTo>
                    <a:pt x="6" y="41"/>
                  </a:lnTo>
                  <a:lnTo>
                    <a:pt x="2" y="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dirty="0"/>
            </a:p>
          </p:txBody>
        </p:sp>
      </p:grpSp>
      <p:sp>
        <p:nvSpPr>
          <p:cNvPr id="44" name="IS"/>
          <p:cNvSpPr>
            <a:spLocks/>
          </p:cNvSpPr>
          <p:nvPr/>
        </p:nvSpPr>
        <p:spPr bwMode="auto">
          <a:xfrm>
            <a:off x="3940175" y="1368425"/>
            <a:ext cx="536575" cy="450850"/>
          </a:xfrm>
          <a:custGeom>
            <a:avLst/>
            <a:gdLst>
              <a:gd name="T0" fmla="*/ 101 w 590"/>
              <a:gd name="T1" fmla="*/ 320 h 424"/>
              <a:gd name="T2" fmla="*/ 135 w 590"/>
              <a:gd name="T3" fmla="*/ 384 h 424"/>
              <a:gd name="T4" fmla="*/ 202 w 590"/>
              <a:gd name="T5" fmla="*/ 424 h 424"/>
              <a:gd name="T6" fmla="*/ 253 w 590"/>
              <a:gd name="T7" fmla="*/ 424 h 424"/>
              <a:gd name="T8" fmla="*/ 287 w 590"/>
              <a:gd name="T9" fmla="*/ 416 h 424"/>
              <a:gd name="T10" fmla="*/ 346 w 590"/>
              <a:gd name="T11" fmla="*/ 424 h 424"/>
              <a:gd name="T12" fmla="*/ 430 w 590"/>
              <a:gd name="T13" fmla="*/ 392 h 424"/>
              <a:gd name="T14" fmla="*/ 463 w 590"/>
              <a:gd name="T15" fmla="*/ 400 h 424"/>
              <a:gd name="T16" fmla="*/ 506 w 590"/>
              <a:gd name="T17" fmla="*/ 376 h 424"/>
              <a:gd name="T18" fmla="*/ 556 w 590"/>
              <a:gd name="T19" fmla="*/ 352 h 424"/>
              <a:gd name="T20" fmla="*/ 590 w 590"/>
              <a:gd name="T21" fmla="*/ 272 h 424"/>
              <a:gd name="T22" fmla="*/ 565 w 590"/>
              <a:gd name="T23" fmla="*/ 256 h 424"/>
              <a:gd name="T24" fmla="*/ 556 w 590"/>
              <a:gd name="T25" fmla="*/ 224 h 424"/>
              <a:gd name="T26" fmla="*/ 565 w 590"/>
              <a:gd name="T27" fmla="*/ 192 h 424"/>
              <a:gd name="T28" fmla="*/ 573 w 590"/>
              <a:gd name="T29" fmla="*/ 160 h 424"/>
              <a:gd name="T30" fmla="*/ 531 w 590"/>
              <a:gd name="T31" fmla="*/ 160 h 424"/>
              <a:gd name="T32" fmla="*/ 506 w 590"/>
              <a:gd name="T33" fmla="*/ 120 h 424"/>
              <a:gd name="T34" fmla="*/ 480 w 590"/>
              <a:gd name="T35" fmla="*/ 144 h 424"/>
              <a:gd name="T36" fmla="*/ 472 w 590"/>
              <a:gd name="T37" fmla="*/ 160 h 424"/>
              <a:gd name="T38" fmla="*/ 447 w 590"/>
              <a:gd name="T39" fmla="*/ 152 h 424"/>
              <a:gd name="T40" fmla="*/ 413 w 590"/>
              <a:gd name="T41" fmla="*/ 160 h 424"/>
              <a:gd name="T42" fmla="*/ 405 w 590"/>
              <a:gd name="T43" fmla="*/ 128 h 424"/>
              <a:gd name="T44" fmla="*/ 379 w 590"/>
              <a:gd name="T45" fmla="*/ 128 h 424"/>
              <a:gd name="T46" fmla="*/ 371 w 590"/>
              <a:gd name="T47" fmla="*/ 152 h 424"/>
              <a:gd name="T48" fmla="*/ 354 w 590"/>
              <a:gd name="T49" fmla="*/ 112 h 424"/>
              <a:gd name="T50" fmla="*/ 312 w 590"/>
              <a:gd name="T51" fmla="*/ 120 h 424"/>
              <a:gd name="T52" fmla="*/ 295 w 590"/>
              <a:gd name="T53" fmla="*/ 144 h 424"/>
              <a:gd name="T54" fmla="*/ 278 w 590"/>
              <a:gd name="T55" fmla="*/ 144 h 424"/>
              <a:gd name="T56" fmla="*/ 270 w 590"/>
              <a:gd name="T57" fmla="*/ 88 h 424"/>
              <a:gd name="T58" fmla="*/ 253 w 590"/>
              <a:gd name="T59" fmla="*/ 96 h 424"/>
              <a:gd name="T60" fmla="*/ 244 w 590"/>
              <a:gd name="T61" fmla="*/ 152 h 424"/>
              <a:gd name="T62" fmla="*/ 228 w 590"/>
              <a:gd name="T63" fmla="*/ 152 h 424"/>
              <a:gd name="T64" fmla="*/ 219 w 590"/>
              <a:gd name="T65" fmla="*/ 128 h 424"/>
              <a:gd name="T66" fmla="*/ 177 w 590"/>
              <a:gd name="T67" fmla="*/ 160 h 424"/>
              <a:gd name="T68" fmla="*/ 185 w 590"/>
              <a:gd name="T69" fmla="*/ 112 h 424"/>
              <a:gd name="T70" fmla="*/ 211 w 590"/>
              <a:gd name="T71" fmla="*/ 88 h 424"/>
              <a:gd name="T72" fmla="*/ 185 w 590"/>
              <a:gd name="T73" fmla="*/ 16 h 424"/>
              <a:gd name="T74" fmla="*/ 143 w 590"/>
              <a:gd name="T75" fmla="*/ 0 h 424"/>
              <a:gd name="T76" fmla="*/ 152 w 590"/>
              <a:gd name="T77" fmla="*/ 64 h 424"/>
              <a:gd name="T78" fmla="*/ 118 w 590"/>
              <a:gd name="T79" fmla="*/ 16 h 424"/>
              <a:gd name="T80" fmla="*/ 93 w 590"/>
              <a:gd name="T81" fmla="*/ 32 h 424"/>
              <a:gd name="T82" fmla="*/ 76 w 590"/>
              <a:gd name="T83" fmla="*/ 48 h 424"/>
              <a:gd name="T84" fmla="*/ 93 w 590"/>
              <a:gd name="T85" fmla="*/ 64 h 424"/>
              <a:gd name="T86" fmla="*/ 59 w 590"/>
              <a:gd name="T87" fmla="*/ 48 h 424"/>
              <a:gd name="T88" fmla="*/ 51 w 590"/>
              <a:gd name="T89" fmla="*/ 64 h 424"/>
              <a:gd name="T90" fmla="*/ 25 w 590"/>
              <a:gd name="T91" fmla="*/ 64 h 424"/>
              <a:gd name="T92" fmla="*/ 42 w 590"/>
              <a:gd name="T93" fmla="*/ 88 h 424"/>
              <a:gd name="T94" fmla="*/ 101 w 590"/>
              <a:gd name="T95" fmla="*/ 96 h 424"/>
              <a:gd name="T96" fmla="*/ 143 w 590"/>
              <a:gd name="T97" fmla="*/ 128 h 424"/>
              <a:gd name="T98" fmla="*/ 110 w 590"/>
              <a:gd name="T99" fmla="*/ 144 h 424"/>
              <a:gd name="T100" fmla="*/ 126 w 590"/>
              <a:gd name="T101" fmla="*/ 160 h 424"/>
              <a:gd name="T102" fmla="*/ 143 w 590"/>
              <a:gd name="T103" fmla="*/ 176 h 424"/>
              <a:gd name="T104" fmla="*/ 126 w 590"/>
              <a:gd name="T105" fmla="*/ 184 h 424"/>
              <a:gd name="T106" fmla="*/ 8 w 590"/>
              <a:gd name="T107" fmla="*/ 144 h 424"/>
              <a:gd name="T108" fmla="*/ 0 w 590"/>
              <a:gd name="T109" fmla="*/ 168 h 424"/>
              <a:gd name="T110" fmla="*/ 93 w 590"/>
              <a:gd name="T111" fmla="*/ 192 h 424"/>
              <a:gd name="T112" fmla="*/ 84 w 590"/>
              <a:gd name="T113" fmla="*/ 216 h 424"/>
              <a:gd name="T114" fmla="*/ 84 w 590"/>
              <a:gd name="T115" fmla="*/ 256 h 424"/>
              <a:gd name="T116" fmla="*/ 67 w 590"/>
              <a:gd name="T117" fmla="*/ 280 h 424"/>
              <a:gd name="T118" fmla="*/ 34 w 590"/>
              <a:gd name="T119" fmla="*/ 280 h 424"/>
              <a:gd name="T120" fmla="*/ 17 w 590"/>
              <a:gd name="T121" fmla="*/ 296 h 424"/>
              <a:gd name="T122" fmla="*/ 101 w 590"/>
              <a:gd name="T123" fmla="*/ 320 h 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0" h="424">
                <a:moveTo>
                  <a:pt x="101" y="320"/>
                </a:moveTo>
                <a:lnTo>
                  <a:pt x="135" y="384"/>
                </a:lnTo>
                <a:lnTo>
                  <a:pt x="202" y="424"/>
                </a:lnTo>
                <a:lnTo>
                  <a:pt x="253" y="424"/>
                </a:lnTo>
                <a:lnTo>
                  <a:pt x="287" y="416"/>
                </a:lnTo>
                <a:lnTo>
                  <a:pt x="346" y="424"/>
                </a:lnTo>
                <a:lnTo>
                  <a:pt x="430" y="392"/>
                </a:lnTo>
                <a:lnTo>
                  <a:pt x="463" y="400"/>
                </a:lnTo>
                <a:lnTo>
                  <a:pt x="506" y="376"/>
                </a:lnTo>
                <a:lnTo>
                  <a:pt x="556" y="352"/>
                </a:lnTo>
                <a:lnTo>
                  <a:pt x="590" y="272"/>
                </a:lnTo>
                <a:lnTo>
                  <a:pt x="565" y="256"/>
                </a:lnTo>
                <a:lnTo>
                  <a:pt x="556" y="224"/>
                </a:lnTo>
                <a:lnTo>
                  <a:pt x="565" y="192"/>
                </a:lnTo>
                <a:lnTo>
                  <a:pt x="573" y="160"/>
                </a:lnTo>
                <a:lnTo>
                  <a:pt x="531" y="160"/>
                </a:lnTo>
                <a:lnTo>
                  <a:pt x="506" y="120"/>
                </a:lnTo>
                <a:lnTo>
                  <a:pt x="480" y="144"/>
                </a:lnTo>
                <a:lnTo>
                  <a:pt x="472" y="160"/>
                </a:lnTo>
                <a:lnTo>
                  <a:pt x="447" y="152"/>
                </a:lnTo>
                <a:lnTo>
                  <a:pt x="413" y="160"/>
                </a:lnTo>
                <a:lnTo>
                  <a:pt x="405" y="128"/>
                </a:lnTo>
                <a:lnTo>
                  <a:pt x="379" y="128"/>
                </a:lnTo>
                <a:lnTo>
                  <a:pt x="371" y="152"/>
                </a:lnTo>
                <a:lnTo>
                  <a:pt x="354" y="112"/>
                </a:lnTo>
                <a:lnTo>
                  <a:pt x="312" y="120"/>
                </a:lnTo>
                <a:lnTo>
                  <a:pt x="295" y="144"/>
                </a:lnTo>
                <a:lnTo>
                  <a:pt x="278" y="144"/>
                </a:lnTo>
                <a:lnTo>
                  <a:pt x="270" y="88"/>
                </a:lnTo>
                <a:lnTo>
                  <a:pt x="253" y="96"/>
                </a:lnTo>
                <a:lnTo>
                  <a:pt x="244" y="152"/>
                </a:lnTo>
                <a:lnTo>
                  <a:pt x="228" y="152"/>
                </a:lnTo>
                <a:lnTo>
                  <a:pt x="219" y="128"/>
                </a:lnTo>
                <a:lnTo>
                  <a:pt x="177" y="160"/>
                </a:lnTo>
                <a:lnTo>
                  <a:pt x="185" y="112"/>
                </a:lnTo>
                <a:lnTo>
                  <a:pt x="211" y="88"/>
                </a:lnTo>
                <a:lnTo>
                  <a:pt x="185" y="16"/>
                </a:lnTo>
                <a:lnTo>
                  <a:pt x="143" y="0"/>
                </a:lnTo>
                <a:lnTo>
                  <a:pt x="152" y="64"/>
                </a:lnTo>
                <a:lnTo>
                  <a:pt x="118" y="16"/>
                </a:lnTo>
                <a:lnTo>
                  <a:pt x="93" y="32"/>
                </a:lnTo>
                <a:lnTo>
                  <a:pt x="76" y="48"/>
                </a:lnTo>
                <a:lnTo>
                  <a:pt x="93" y="64"/>
                </a:lnTo>
                <a:lnTo>
                  <a:pt x="59" y="48"/>
                </a:lnTo>
                <a:lnTo>
                  <a:pt x="51" y="64"/>
                </a:lnTo>
                <a:lnTo>
                  <a:pt x="25" y="64"/>
                </a:lnTo>
                <a:lnTo>
                  <a:pt x="42" y="88"/>
                </a:lnTo>
                <a:lnTo>
                  <a:pt x="101" y="96"/>
                </a:lnTo>
                <a:lnTo>
                  <a:pt x="143" y="128"/>
                </a:lnTo>
                <a:lnTo>
                  <a:pt x="110" y="144"/>
                </a:lnTo>
                <a:lnTo>
                  <a:pt x="126" y="160"/>
                </a:lnTo>
                <a:lnTo>
                  <a:pt x="143" y="176"/>
                </a:lnTo>
                <a:lnTo>
                  <a:pt x="126" y="184"/>
                </a:lnTo>
                <a:lnTo>
                  <a:pt x="8" y="144"/>
                </a:lnTo>
                <a:lnTo>
                  <a:pt x="0" y="168"/>
                </a:lnTo>
                <a:lnTo>
                  <a:pt x="93" y="192"/>
                </a:lnTo>
                <a:lnTo>
                  <a:pt x="84" y="216"/>
                </a:lnTo>
                <a:lnTo>
                  <a:pt x="84" y="256"/>
                </a:lnTo>
                <a:lnTo>
                  <a:pt x="67" y="280"/>
                </a:lnTo>
                <a:lnTo>
                  <a:pt x="34" y="280"/>
                </a:lnTo>
                <a:lnTo>
                  <a:pt x="17" y="296"/>
                </a:lnTo>
                <a:lnTo>
                  <a:pt x="101" y="320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CH" dirty="0"/>
          </a:p>
        </p:txBody>
      </p:sp>
      <p:sp>
        <p:nvSpPr>
          <p:cNvPr id="45" name="ME"/>
          <p:cNvSpPr/>
          <p:nvPr/>
        </p:nvSpPr>
        <p:spPr>
          <a:xfrm>
            <a:off x="6616700" y="4986338"/>
            <a:ext cx="225425" cy="228600"/>
          </a:xfrm>
          <a:custGeom>
            <a:avLst/>
            <a:gdLst>
              <a:gd name="connsiteX0" fmla="*/ 7144 w 116681"/>
              <a:gd name="connsiteY0" fmla="*/ 138113 h 185738"/>
              <a:gd name="connsiteX1" fmla="*/ 92869 w 116681"/>
              <a:gd name="connsiteY1" fmla="*/ 185738 h 185738"/>
              <a:gd name="connsiteX2" fmla="*/ 116681 w 116681"/>
              <a:gd name="connsiteY2" fmla="*/ 111919 h 185738"/>
              <a:gd name="connsiteX3" fmla="*/ 97631 w 116681"/>
              <a:gd name="connsiteY3" fmla="*/ 0 h 185738"/>
              <a:gd name="connsiteX4" fmla="*/ 47625 w 116681"/>
              <a:gd name="connsiteY4" fmla="*/ 16669 h 185738"/>
              <a:gd name="connsiteX5" fmla="*/ 57150 w 116681"/>
              <a:gd name="connsiteY5" fmla="*/ 45244 h 185738"/>
              <a:gd name="connsiteX6" fmla="*/ 30956 w 116681"/>
              <a:gd name="connsiteY6" fmla="*/ 42863 h 185738"/>
              <a:gd name="connsiteX7" fmla="*/ 23813 w 116681"/>
              <a:gd name="connsiteY7" fmla="*/ 73819 h 185738"/>
              <a:gd name="connsiteX8" fmla="*/ 0 w 116681"/>
              <a:gd name="connsiteY8" fmla="*/ 85725 h 185738"/>
              <a:gd name="connsiteX9" fmla="*/ 7144 w 116681"/>
              <a:gd name="connsiteY9" fmla="*/ 138113 h 185738"/>
              <a:gd name="connsiteX0" fmla="*/ 7144 w 161952"/>
              <a:gd name="connsiteY0" fmla="*/ 121444 h 169069"/>
              <a:gd name="connsiteX1" fmla="*/ 92869 w 161952"/>
              <a:gd name="connsiteY1" fmla="*/ 169069 h 169069"/>
              <a:gd name="connsiteX2" fmla="*/ 116681 w 161952"/>
              <a:gd name="connsiteY2" fmla="*/ 95250 h 169069"/>
              <a:gd name="connsiteX3" fmla="*/ 161952 w 161952"/>
              <a:gd name="connsiteY3" fmla="*/ 54183 h 169069"/>
              <a:gd name="connsiteX4" fmla="*/ 47625 w 161952"/>
              <a:gd name="connsiteY4" fmla="*/ 0 h 169069"/>
              <a:gd name="connsiteX5" fmla="*/ 57150 w 161952"/>
              <a:gd name="connsiteY5" fmla="*/ 28575 h 169069"/>
              <a:gd name="connsiteX6" fmla="*/ 30956 w 161952"/>
              <a:gd name="connsiteY6" fmla="*/ 26194 h 169069"/>
              <a:gd name="connsiteX7" fmla="*/ 23813 w 161952"/>
              <a:gd name="connsiteY7" fmla="*/ 57150 h 169069"/>
              <a:gd name="connsiteX8" fmla="*/ 0 w 161952"/>
              <a:gd name="connsiteY8" fmla="*/ 69056 h 169069"/>
              <a:gd name="connsiteX9" fmla="*/ 7144 w 161952"/>
              <a:gd name="connsiteY9" fmla="*/ 121444 h 169069"/>
              <a:gd name="connsiteX0" fmla="*/ 7144 w 161952"/>
              <a:gd name="connsiteY0" fmla="*/ 134728 h 182353"/>
              <a:gd name="connsiteX1" fmla="*/ 92869 w 161952"/>
              <a:gd name="connsiteY1" fmla="*/ 182353 h 182353"/>
              <a:gd name="connsiteX2" fmla="*/ 116681 w 161952"/>
              <a:gd name="connsiteY2" fmla="*/ 108534 h 182353"/>
              <a:gd name="connsiteX3" fmla="*/ 161952 w 161952"/>
              <a:gd name="connsiteY3" fmla="*/ 67467 h 182353"/>
              <a:gd name="connsiteX4" fmla="*/ 104800 w 161952"/>
              <a:gd name="connsiteY4" fmla="*/ 0 h 182353"/>
              <a:gd name="connsiteX5" fmla="*/ 57150 w 161952"/>
              <a:gd name="connsiteY5" fmla="*/ 41859 h 182353"/>
              <a:gd name="connsiteX6" fmla="*/ 30956 w 161952"/>
              <a:gd name="connsiteY6" fmla="*/ 39478 h 182353"/>
              <a:gd name="connsiteX7" fmla="*/ 23813 w 161952"/>
              <a:gd name="connsiteY7" fmla="*/ 70434 h 182353"/>
              <a:gd name="connsiteX8" fmla="*/ 0 w 161952"/>
              <a:gd name="connsiteY8" fmla="*/ 82340 h 182353"/>
              <a:gd name="connsiteX9" fmla="*/ 7144 w 161952"/>
              <a:gd name="connsiteY9" fmla="*/ 134728 h 182353"/>
              <a:gd name="connsiteX0" fmla="*/ 7144 w 161952"/>
              <a:gd name="connsiteY0" fmla="*/ 146009 h 193634"/>
              <a:gd name="connsiteX1" fmla="*/ 92869 w 161952"/>
              <a:gd name="connsiteY1" fmla="*/ 193634 h 193634"/>
              <a:gd name="connsiteX2" fmla="*/ 116681 w 161952"/>
              <a:gd name="connsiteY2" fmla="*/ 119815 h 193634"/>
              <a:gd name="connsiteX3" fmla="*/ 161952 w 161952"/>
              <a:gd name="connsiteY3" fmla="*/ 78748 h 193634"/>
              <a:gd name="connsiteX4" fmla="*/ 104800 w 161952"/>
              <a:gd name="connsiteY4" fmla="*/ 11281 h 193634"/>
              <a:gd name="connsiteX5" fmla="*/ 78591 w 161952"/>
              <a:gd name="connsiteY5" fmla="*/ 0 h 193634"/>
              <a:gd name="connsiteX6" fmla="*/ 30956 w 161952"/>
              <a:gd name="connsiteY6" fmla="*/ 50759 h 193634"/>
              <a:gd name="connsiteX7" fmla="*/ 23813 w 161952"/>
              <a:gd name="connsiteY7" fmla="*/ 81715 h 193634"/>
              <a:gd name="connsiteX8" fmla="*/ 0 w 161952"/>
              <a:gd name="connsiteY8" fmla="*/ 93621 h 193634"/>
              <a:gd name="connsiteX9" fmla="*/ 7144 w 161952"/>
              <a:gd name="connsiteY9" fmla="*/ 146009 h 193634"/>
              <a:gd name="connsiteX0" fmla="*/ 7144 w 161952"/>
              <a:gd name="connsiteY0" fmla="*/ 152818 h 200443"/>
              <a:gd name="connsiteX1" fmla="*/ 92869 w 161952"/>
              <a:gd name="connsiteY1" fmla="*/ 200443 h 200443"/>
              <a:gd name="connsiteX2" fmla="*/ 116681 w 161952"/>
              <a:gd name="connsiteY2" fmla="*/ 126624 h 200443"/>
              <a:gd name="connsiteX3" fmla="*/ 161952 w 161952"/>
              <a:gd name="connsiteY3" fmla="*/ 85557 h 200443"/>
              <a:gd name="connsiteX4" fmla="*/ 104800 w 161952"/>
              <a:gd name="connsiteY4" fmla="*/ 18090 h 200443"/>
              <a:gd name="connsiteX5" fmla="*/ 78591 w 161952"/>
              <a:gd name="connsiteY5" fmla="*/ 6809 h 200443"/>
              <a:gd name="connsiteX6" fmla="*/ 52396 w 161952"/>
              <a:gd name="connsiteY6" fmla="*/ 0 h 200443"/>
              <a:gd name="connsiteX7" fmla="*/ 23813 w 161952"/>
              <a:gd name="connsiteY7" fmla="*/ 88524 h 200443"/>
              <a:gd name="connsiteX8" fmla="*/ 0 w 161952"/>
              <a:gd name="connsiteY8" fmla="*/ 100430 h 200443"/>
              <a:gd name="connsiteX9" fmla="*/ 7144 w 161952"/>
              <a:gd name="connsiteY9" fmla="*/ 152818 h 200443"/>
              <a:gd name="connsiteX0" fmla="*/ 7144 w 161952"/>
              <a:gd name="connsiteY0" fmla="*/ 152818 h 200443"/>
              <a:gd name="connsiteX1" fmla="*/ 92869 w 161952"/>
              <a:gd name="connsiteY1" fmla="*/ 200443 h 200443"/>
              <a:gd name="connsiteX2" fmla="*/ 134548 w 161952"/>
              <a:gd name="connsiteY2" fmla="*/ 139910 h 200443"/>
              <a:gd name="connsiteX3" fmla="*/ 161952 w 161952"/>
              <a:gd name="connsiteY3" fmla="*/ 85557 h 200443"/>
              <a:gd name="connsiteX4" fmla="*/ 104800 w 161952"/>
              <a:gd name="connsiteY4" fmla="*/ 18090 h 200443"/>
              <a:gd name="connsiteX5" fmla="*/ 78591 w 161952"/>
              <a:gd name="connsiteY5" fmla="*/ 6809 h 200443"/>
              <a:gd name="connsiteX6" fmla="*/ 52396 w 161952"/>
              <a:gd name="connsiteY6" fmla="*/ 0 h 200443"/>
              <a:gd name="connsiteX7" fmla="*/ 23813 w 161952"/>
              <a:gd name="connsiteY7" fmla="*/ 88524 h 200443"/>
              <a:gd name="connsiteX8" fmla="*/ 0 w 161952"/>
              <a:gd name="connsiteY8" fmla="*/ 100430 h 200443"/>
              <a:gd name="connsiteX9" fmla="*/ 7144 w 161952"/>
              <a:gd name="connsiteY9" fmla="*/ 152818 h 200443"/>
              <a:gd name="connsiteX0" fmla="*/ 7144 w 161952"/>
              <a:gd name="connsiteY0" fmla="*/ 152818 h 173873"/>
              <a:gd name="connsiteX1" fmla="*/ 103589 w 161952"/>
              <a:gd name="connsiteY1" fmla="*/ 173873 h 173873"/>
              <a:gd name="connsiteX2" fmla="*/ 134548 w 161952"/>
              <a:gd name="connsiteY2" fmla="*/ 139910 h 173873"/>
              <a:gd name="connsiteX3" fmla="*/ 161952 w 161952"/>
              <a:gd name="connsiteY3" fmla="*/ 85557 h 173873"/>
              <a:gd name="connsiteX4" fmla="*/ 104800 w 161952"/>
              <a:gd name="connsiteY4" fmla="*/ 18090 h 173873"/>
              <a:gd name="connsiteX5" fmla="*/ 78591 w 161952"/>
              <a:gd name="connsiteY5" fmla="*/ 6809 h 173873"/>
              <a:gd name="connsiteX6" fmla="*/ 52396 w 161952"/>
              <a:gd name="connsiteY6" fmla="*/ 0 h 173873"/>
              <a:gd name="connsiteX7" fmla="*/ 23813 w 161952"/>
              <a:gd name="connsiteY7" fmla="*/ 88524 h 173873"/>
              <a:gd name="connsiteX8" fmla="*/ 0 w 161952"/>
              <a:gd name="connsiteY8" fmla="*/ 100430 h 173873"/>
              <a:gd name="connsiteX9" fmla="*/ 7144 w 161952"/>
              <a:gd name="connsiteY9" fmla="*/ 152818 h 173873"/>
              <a:gd name="connsiteX0" fmla="*/ 7144 w 161952"/>
              <a:gd name="connsiteY0" fmla="*/ 152818 h 173873"/>
              <a:gd name="connsiteX1" fmla="*/ 103589 w 161952"/>
              <a:gd name="connsiteY1" fmla="*/ 173873 h 173873"/>
              <a:gd name="connsiteX2" fmla="*/ 134548 w 161952"/>
              <a:gd name="connsiteY2" fmla="*/ 139910 h 173873"/>
              <a:gd name="connsiteX3" fmla="*/ 161952 w 161952"/>
              <a:gd name="connsiteY3" fmla="*/ 85557 h 173873"/>
              <a:gd name="connsiteX4" fmla="*/ 104800 w 161952"/>
              <a:gd name="connsiteY4" fmla="*/ 18090 h 173873"/>
              <a:gd name="connsiteX5" fmla="*/ 78591 w 161952"/>
              <a:gd name="connsiteY5" fmla="*/ 6809 h 173873"/>
              <a:gd name="connsiteX6" fmla="*/ 52396 w 161952"/>
              <a:gd name="connsiteY6" fmla="*/ 0 h 173873"/>
              <a:gd name="connsiteX7" fmla="*/ 13093 w 161952"/>
              <a:gd name="connsiteY7" fmla="*/ 57526 h 173873"/>
              <a:gd name="connsiteX8" fmla="*/ 0 w 161952"/>
              <a:gd name="connsiteY8" fmla="*/ 100430 h 173873"/>
              <a:gd name="connsiteX9" fmla="*/ 7144 w 161952"/>
              <a:gd name="connsiteY9" fmla="*/ 152818 h 173873"/>
              <a:gd name="connsiteX0" fmla="*/ 42878 w 161952"/>
              <a:gd name="connsiteY0" fmla="*/ 112963 h 173873"/>
              <a:gd name="connsiteX1" fmla="*/ 103589 w 161952"/>
              <a:gd name="connsiteY1" fmla="*/ 173873 h 173873"/>
              <a:gd name="connsiteX2" fmla="*/ 134548 w 161952"/>
              <a:gd name="connsiteY2" fmla="*/ 139910 h 173873"/>
              <a:gd name="connsiteX3" fmla="*/ 161952 w 161952"/>
              <a:gd name="connsiteY3" fmla="*/ 85557 h 173873"/>
              <a:gd name="connsiteX4" fmla="*/ 104800 w 161952"/>
              <a:gd name="connsiteY4" fmla="*/ 18090 h 173873"/>
              <a:gd name="connsiteX5" fmla="*/ 78591 w 161952"/>
              <a:gd name="connsiteY5" fmla="*/ 6809 h 173873"/>
              <a:gd name="connsiteX6" fmla="*/ 52396 w 161952"/>
              <a:gd name="connsiteY6" fmla="*/ 0 h 173873"/>
              <a:gd name="connsiteX7" fmla="*/ 13093 w 161952"/>
              <a:gd name="connsiteY7" fmla="*/ 57526 h 173873"/>
              <a:gd name="connsiteX8" fmla="*/ 0 w 161952"/>
              <a:gd name="connsiteY8" fmla="*/ 100430 h 173873"/>
              <a:gd name="connsiteX9" fmla="*/ 42878 w 161952"/>
              <a:gd name="connsiteY9" fmla="*/ 112963 h 173873"/>
              <a:gd name="connsiteX0" fmla="*/ 29785 w 148859"/>
              <a:gd name="connsiteY0" fmla="*/ 112963 h 173873"/>
              <a:gd name="connsiteX1" fmla="*/ 90496 w 148859"/>
              <a:gd name="connsiteY1" fmla="*/ 173873 h 173873"/>
              <a:gd name="connsiteX2" fmla="*/ 121455 w 148859"/>
              <a:gd name="connsiteY2" fmla="*/ 139910 h 173873"/>
              <a:gd name="connsiteX3" fmla="*/ 148859 w 148859"/>
              <a:gd name="connsiteY3" fmla="*/ 85557 h 173873"/>
              <a:gd name="connsiteX4" fmla="*/ 91707 w 148859"/>
              <a:gd name="connsiteY4" fmla="*/ 18090 h 173873"/>
              <a:gd name="connsiteX5" fmla="*/ 65498 w 148859"/>
              <a:gd name="connsiteY5" fmla="*/ 6809 h 173873"/>
              <a:gd name="connsiteX6" fmla="*/ 39303 w 148859"/>
              <a:gd name="connsiteY6" fmla="*/ 0 h 173873"/>
              <a:gd name="connsiteX7" fmla="*/ 0 w 148859"/>
              <a:gd name="connsiteY7" fmla="*/ 57526 h 173873"/>
              <a:gd name="connsiteX8" fmla="*/ 4775 w 148859"/>
              <a:gd name="connsiteY8" fmla="*/ 91573 h 173873"/>
              <a:gd name="connsiteX9" fmla="*/ 29785 w 148859"/>
              <a:gd name="connsiteY9" fmla="*/ 112963 h 173873"/>
              <a:gd name="connsiteX0" fmla="*/ 44079 w 148859"/>
              <a:gd name="connsiteY0" fmla="*/ 139533 h 173873"/>
              <a:gd name="connsiteX1" fmla="*/ 90496 w 148859"/>
              <a:gd name="connsiteY1" fmla="*/ 173873 h 173873"/>
              <a:gd name="connsiteX2" fmla="*/ 121455 w 148859"/>
              <a:gd name="connsiteY2" fmla="*/ 139910 h 173873"/>
              <a:gd name="connsiteX3" fmla="*/ 148859 w 148859"/>
              <a:gd name="connsiteY3" fmla="*/ 85557 h 173873"/>
              <a:gd name="connsiteX4" fmla="*/ 91707 w 148859"/>
              <a:gd name="connsiteY4" fmla="*/ 18090 h 173873"/>
              <a:gd name="connsiteX5" fmla="*/ 65498 w 148859"/>
              <a:gd name="connsiteY5" fmla="*/ 6809 h 173873"/>
              <a:gd name="connsiteX6" fmla="*/ 39303 w 148859"/>
              <a:gd name="connsiteY6" fmla="*/ 0 h 173873"/>
              <a:gd name="connsiteX7" fmla="*/ 0 w 148859"/>
              <a:gd name="connsiteY7" fmla="*/ 57526 h 173873"/>
              <a:gd name="connsiteX8" fmla="*/ 4775 w 148859"/>
              <a:gd name="connsiteY8" fmla="*/ 91573 h 173873"/>
              <a:gd name="connsiteX9" fmla="*/ 44079 w 148859"/>
              <a:gd name="connsiteY9" fmla="*/ 139533 h 173873"/>
              <a:gd name="connsiteX0" fmla="*/ 65519 w 148859"/>
              <a:gd name="connsiteY0" fmla="*/ 135104 h 173873"/>
              <a:gd name="connsiteX1" fmla="*/ 90496 w 148859"/>
              <a:gd name="connsiteY1" fmla="*/ 173873 h 173873"/>
              <a:gd name="connsiteX2" fmla="*/ 121455 w 148859"/>
              <a:gd name="connsiteY2" fmla="*/ 139910 h 173873"/>
              <a:gd name="connsiteX3" fmla="*/ 148859 w 148859"/>
              <a:gd name="connsiteY3" fmla="*/ 85557 h 173873"/>
              <a:gd name="connsiteX4" fmla="*/ 91707 w 148859"/>
              <a:gd name="connsiteY4" fmla="*/ 18090 h 173873"/>
              <a:gd name="connsiteX5" fmla="*/ 65498 w 148859"/>
              <a:gd name="connsiteY5" fmla="*/ 6809 h 173873"/>
              <a:gd name="connsiteX6" fmla="*/ 39303 w 148859"/>
              <a:gd name="connsiteY6" fmla="*/ 0 h 173873"/>
              <a:gd name="connsiteX7" fmla="*/ 0 w 148859"/>
              <a:gd name="connsiteY7" fmla="*/ 57526 h 173873"/>
              <a:gd name="connsiteX8" fmla="*/ 4775 w 148859"/>
              <a:gd name="connsiteY8" fmla="*/ 91573 h 173873"/>
              <a:gd name="connsiteX9" fmla="*/ 65519 w 148859"/>
              <a:gd name="connsiteY9" fmla="*/ 135104 h 173873"/>
              <a:gd name="connsiteX0" fmla="*/ 60744 w 144084"/>
              <a:gd name="connsiteY0" fmla="*/ 135104 h 173873"/>
              <a:gd name="connsiteX1" fmla="*/ 85721 w 144084"/>
              <a:gd name="connsiteY1" fmla="*/ 173873 h 173873"/>
              <a:gd name="connsiteX2" fmla="*/ 116680 w 144084"/>
              <a:gd name="connsiteY2" fmla="*/ 139910 h 173873"/>
              <a:gd name="connsiteX3" fmla="*/ 144084 w 144084"/>
              <a:gd name="connsiteY3" fmla="*/ 85557 h 173873"/>
              <a:gd name="connsiteX4" fmla="*/ 86932 w 144084"/>
              <a:gd name="connsiteY4" fmla="*/ 18090 h 173873"/>
              <a:gd name="connsiteX5" fmla="*/ 60723 w 144084"/>
              <a:gd name="connsiteY5" fmla="*/ 6809 h 173873"/>
              <a:gd name="connsiteX6" fmla="*/ 34528 w 144084"/>
              <a:gd name="connsiteY6" fmla="*/ 0 h 173873"/>
              <a:gd name="connsiteX7" fmla="*/ 9519 w 144084"/>
              <a:gd name="connsiteY7" fmla="*/ 35385 h 173873"/>
              <a:gd name="connsiteX8" fmla="*/ 0 w 144084"/>
              <a:gd name="connsiteY8" fmla="*/ 91573 h 173873"/>
              <a:gd name="connsiteX9" fmla="*/ 60744 w 144084"/>
              <a:gd name="connsiteY9" fmla="*/ 135104 h 173873"/>
              <a:gd name="connsiteX0" fmla="*/ 60744 w 144084"/>
              <a:gd name="connsiteY0" fmla="*/ 128295 h 167064"/>
              <a:gd name="connsiteX1" fmla="*/ 85721 w 144084"/>
              <a:gd name="connsiteY1" fmla="*/ 167064 h 167064"/>
              <a:gd name="connsiteX2" fmla="*/ 116680 w 144084"/>
              <a:gd name="connsiteY2" fmla="*/ 133101 h 167064"/>
              <a:gd name="connsiteX3" fmla="*/ 144084 w 144084"/>
              <a:gd name="connsiteY3" fmla="*/ 78748 h 167064"/>
              <a:gd name="connsiteX4" fmla="*/ 86932 w 144084"/>
              <a:gd name="connsiteY4" fmla="*/ 11281 h 167064"/>
              <a:gd name="connsiteX5" fmla="*/ 60723 w 144084"/>
              <a:gd name="connsiteY5" fmla="*/ 0 h 167064"/>
              <a:gd name="connsiteX6" fmla="*/ 41674 w 144084"/>
              <a:gd name="connsiteY6" fmla="*/ 10905 h 167064"/>
              <a:gd name="connsiteX7" fmla="*/ 9519 w 144084"/>
              <a:gd name="connsiteY7" fmla="*/ 28576 h 167064"/>
              <a:gd name="connsiteX8" fmla="*/ 0 w 144084"/>
              <a:gd name="connsiteY8" fmla="*/ 84764 h 167064"/>
              <a:gd name="connsiteX9" fmla="*/ 60744 w 144084"/>
              <a:gd name="connsiteY9" fmla="*/ 128295 h 167064"/>
              <a:gd name="connsiteX0" fmla="*/ 60744 w 144084"/>
              <a:gd name="connsiteY0" fmla="*/ 128295 h 167064"/>
              <a:gd name="connsiteX1" fmla="*/ 85721 w 144084"/>
              <a:gd name="connsiteY1" fmla="*/ 167064 h 167064"/>
              <a:gd name="connsiteX2" fmla="*/ 116680 w 144084"/>
              <a:gd name="connsiteY2" fmla="*/ 133101 h 167064"/>
              <a:gd name="connsiteX3" fmla="*/ 144084 w 144084"/>
              <a:gd name="connsiteY3" fmla="*/ 78748 h 167064"/>
              <a:gd name="connsiteX4" fmla="*/ 97653 w 144084"/>
              <a:gd name="connsiteY4" fmla="*/ 33423 h 167064"/>
              <a:gd name="connsiteX5" fmla="*/ 60723 w 144084"/>
              <a:gd name="connsiteY5" fmla="*/ 0 h 167064"/>
              <a:gd name="connsiteX6" fmla="*/ 41674 w 144084"/>
              <a:gd name="connsiteY6" fmla="*/ 10905 h 167064"/>
              <a:gd name="connsiteX7" fmla="*/ 9519 w 144084"/>
              <a:gd name="connsiteY7" fmla="*/ 28576 h 167064"/>
              <a:gd name="connsiteX8" fmla="*/ 0 w 144084"/>
              <a:gd name="connsiteY8" fmla="*/ 84764 h 167064"/>
              <a:gd name="connsiteX9" fmla="*/ 60744 w 144084"/>
              <a:gd name="connsiteY9" fmla="*/ 128295 h 167064"/>
              <a:gd name="connsiteX0" fmla="*/ 60744 w 144084"/>
              <a:gd name="connsiteY0" fmla="*/ 140694 h 179463"/>
              <a:gd name="connsiteX1" fmla="*/ 85721 w 144084"/>
              <a:gd name="connsiteY1" fmla="*/ 179463 h 179463"/>
              <a:gd name="connsiteX2" fmla="*/ 116680 w 144084"/>
              <a:gd name="connsiteY2" fmla="*/ 145500 h 179463"/>
              <a:gd name="connsiteX3" fmla="*/ 144084 w 144084"/>
              <a:gd name="connsiteY3" fmla="*/ 91147 h 179463"/>
              <a:gd name="connsiteX4" fmla="*/ 97653 w 144084"/>
              <a:gd name="connsiteY4" fmla="*/ 45822 h 179463"/>
              <a:gd name="connsiteX5" fmla="*/ 63225 w 144084"/>
              <a:gd name="connsiteY5" fmla="*/ 0 h 179463"/>
              <a:gd name="connsiteX6" fmla="*/ 41674 w 144084"/>
              <a:gd name="connsiteY6" fmla="*/ 23304 h 179463"/>
              <a:gd name="connsiteX7" fmla="*/ 9519 w 144084"/>
              <a:gd name="connsiteY7" fmla="*/ 40975 h 179463"/>
              <a:gd name="connsiteX8" fmla="*/ 0 w 144084"/>
              <a:gd name="connsiteY8" fmla="*/ 97163 h 179463"/>
              <a:gd name="connsiteX9" fmla="*/ 60744 w 144084"/>
              <a:gd name="connsiteY9" fmla="*/ 140694 h 179463"/>
              <a:gd name="connsiteX0" fmla="*/ 60744 w 144084"/>
              <a:gd name="connsiteY0" fmla="*/ 140694 h 179463"/>
              <a:gd name="connsiteX1" fmla="*/ 85721 w 144084"/>
              <a:gd name="connsiteY1" fmla="*/ 179463 h 179463"/>
              <a:gd name="connsiteX2" fmla="*/ 116680 w 144084"/>
              <a:gd name="connsiteY2" fmla="*/ 145500 h 179463"/>
              <a:gd name="connsiteX3" fmla="*/ 144084 w 144084"/>
              <a:gd name="connsiteY3" fmla="*/ 91147 h 179463"/>
              <a:gd name="connsiteX4" fmla="*/ 97653 w 144084"/>
              <a:gd name="connsiteY4" fmla="*/ 45822 h 179463"/>
              <a:gd name="connsiteX5" fmla="*/ 63225 w 144084"/>
              <a:gd name="connsiteY5" fmla="*/ 0 h 179463"/>
              <a:gd name="connsiteX6" fmla="*/ 34170 w 144084"/>
              <a:gd name="connsiteY6" fmla="*/ 7805 h 179463"/>
              <a:gd name="connsiteX7" fmla="*/ 9519 w 144084"/>
              <a:gd name="connsiteY7" fmla="*/ 40975 h 179463"/>
              <a:gd name="connsiteX8" fmla="*/ 0 w 144084"/>
              <a:gd name="connsiteY8" fmla="*/ 97163 h 179463"/>
              <a:gd name="connsiteX9" fmla="*/ 60744 w 144084"/>
              <a:gd name="connsiteY9" fmla="*/ 140694 h 179463"/>
              <a:gd name="connsiteX0" fmla="*/ 70750 w 154090"/>
              <a:gd name="connsiteY0" fmla="*/ 140694 h 179463"/>
              <a:gd name="connsiteX1" fmla="*/ 95727 w 154090"/>
              <a:gd name="connsiteY1" fmla="*/ 179463 h 179463"/>
              <a:gd name="connsiteX2" fmla="*/ 126686 w 154090"/>
              <a:gd name="connsiteY2" fmla="*/ 145500 h 179463"/>
              <a:gd name="connsiteX3" fmla="*/ 154090 w 154090"/>
              <a:gd name="connsiteY3" fmla="*/ 91147 h 179463"/>
              <a:gd name="connsiteX4" fmla="*/ 107659 w 154090"/>
              <a:gd name="connsiteY4" fmla="*/ 45822 h 179463"/>
              <a:gd name="connsiteX5" fmla="*/ 73231 w 154090"/>
              <a:gd name="connsiteY5" fmla="*/ 0 h 179463"/>
              <a:gd name="connsiteX6" fmla="*/ 44176 w 154090"/>
              <a:gd name="connsiteY6" fmla="*/ 7805 h 179463"/>
              <a:gd name="connsiteX7" fmla="*/ 19525 w 154090"/>
              <a:gd name="connsiteY7" fmla="*/ 40975 h 179463"/>
              <a:gd name="connsiteX8" fmla="*/ 0 w 154090"/>
              <a:gd name="connsiteY8" fmla="*/ 69265 h 179463"/>
              <a:gd name="connsiteX9" fmla="*/ 70750 w 154090"/>
              <a:gd name="connsiteY9" fmla="*/ 140694 h 179463"/>
              <a:gd name="connsiteX0" fmla="*/ 70750 w 154090"/>
              <a:gd name="connsiteY0" fmla="*/ 140694 h 179463"/>
              <a:gd name="connsiteX1" fmla="*/ 95727 w 154090"/>
              <a:gd name="connsiteY1" fmla="*/ 179463 h 179463"/>
              <a:gd name="connsiteX2" fmla="*/ 126686 w 154090"/>
              <a:gd name="connsiteY2" fmla="*/ 145500 h 179463"/>
              <a:gd name="connsiteX3" fmla="*/ 154090 w 154090"/>
              <a:gd name="connsiteY3" fmla="*/ 91147 h 179463"/>
              <a:gd name="connsiteX4" fmla="*/ 125169 w 154090"/>
              <a:gd name="connsiteY4" fmla="*/ 52021 h 179463"/>
              <a:gd name="connsiteX5" fmla="*/ 73231 w 154090"/>
              <a:gd name="connsiteY5" fmla="*/ 0 h 179463"/>
              <a:gd name="connsiteX6" fmla="*/ 44176 w 154090"/>
              <a:gd name="connsiteY6" fmla="*/ 7805 h 179463"/>
              <a:gd name="connsiteX7" fmla="*/ 19525 w 154090"/>
              <a:gd name="connsiteY7" fmla="*/ 40975 h 179463"/>
              <a:gd name="connsiteX8" fmla="*/ 0 w 154090"/>
              <a:gd name="connsiteY8" fmla="*/ 69265 h 179463"/>
              <a:gd name="connsiteX9" fmla="*/ 70750 w 154090"/>
              <a:gd name="connsiteY9" fmla="*/ 140694 h 179463"/>
              <a:gd name="connsiteX0" fmla="*/ 70750 w 154090"/>
              <a:gd name="connsiteY0" fmla="*/ 140694 h 179463"/>
              <a:gd name="connsiteX1" fmla="*/ 95727 w 154090"/>
              <a:gd name="connsiteY1" fmla="*/ 179463 h 179463"/>
              <a:gd name="connsiteX2" fmla="*/ 126686 w 154090"/>
              <a:gd name="connsiteY2" fmla="*/ 145500 h 179463"/>
              <a:gd name="connsiteX3" fmla="*/ 154090 w 154090"/>
              <a:gd name="connsiteY3" fmla="*/ 91147 h 179463"/>
              <a:gd name="connsiteX4" fmla="*/ 125169 w 154090"/>
              <a:gd name="connsiteY4" fmla="*/ 52021 h 179463"/>
              <a:gd name="connsiteX5" fmla="*/ 73231 w 154090"/>
              <a:gd name="connsiteY5" fmla="*/ 0 h 179463"/>
              <a:gd name="connsiteX6" fmla="*/ 44176 w 154090"/>
              <a:gd name="connsiteY6" fmla="*/ 7805 h 179463"/>
              <a:gd name="connsiteX7" fmla="*/ 19525 w 154090"/>
              <a:gd name="connsiteY7" fmla="*/ 40975 h 179463"/>
              <a:gd name="connsiteX8" fmla="*/ 0 w 154090"/>
              <a:gd name="connsiteY8" fmla="*/ 69265 h 179463"/>
              <a:gd name="connsiteX9" fmla="*/ 70750 w 154090"/>
              <a:gd name="connsiteY9" fmla="*/ 140694 h 179463"/>
              <a:gd name="connsiteX0" fmla="*/ 70750 w 154090"/>
              <a:gd name="connsiteY0" fmla="*/ 140694 h 179463"/>
              <a:gd name="connsiteX1" fmla="*/ 95727 w 154090"/>
              <a:gd name="connsiteY1" fmla="*/ 179463 h 179463"/>
              <a:gd name="connsiteX2" fmla="*/ 126686 w 154090"/>
              <a:gd name="connsiteY2" fmla="*/ 145500 h 179463"/>
              <a:gd name="connsiteX3" fmla="*/ 154090 w 154090"/>
              <a:gd name="connsiteY3" fmla="*/ 91147 h 179463"/>
              <a:gd name="connsiteX4" fmla="*/ 125169 w 154090"/>
              <a:gd name="connsiteY4" fmla="*/ 52021 h 179463"/>
              <a:gd name="connsiteX5" fmla="*/ 73231 w 154090"/>
              <a:gd name="connsiteY5" fmla="*/ 0 h 179463"/>
              <a:gd name="connsiteX6" fmla="*/ 44176 w 154090"/>
              <a:gd name="connsiteY6" fmla="*/ 7805 h 179463"/>
              <a:gd name="connsiteX7" fmla="*/ 19525 w 154090"/>
              <a:gd name="connsiteY7" fmla="*/ 40975 h 179463"/>
              <a:gd name="connsiteX8" fmla="*/ 0 w 154090"/>
              <a:gd name="connsiteY8" fmla="*/ 69265 h 179463"/>
              <a:gd name="connsiteX9" fmla="*/ 70750 w 154090"/>
              <a:gd name="connsiteY9" fmla="*/ 140694 h 179463"/>
              <a:gd name="connsiteX0" fmla="*/ 70750 w 154090"/>
              <a:gd name="connsiteY0" fmla="*/ 140694 h 179463"/>
              <a:gd name="connsiteX1" fmla="*/ 95727 w 154090"/>
              <a:gd name="connsiteY1" fmla="*/ 179463 h 179463"/>
              <a:gd name="connsiteX2" fmla="*/ 126686 w 154090"/>
              <a:gd name="connsiteY2" fmla="*/ 145500 h 179463"/>
              <a:gd name="connsiteX3" fmla="*/ 154090 w 154090"/>
              <a:gd name="connsiteY3" fmla="*/ 91147 h 179463"/>
              <a:gd name="connsiteX4" fmla="*/ 125169 w 154090"/>
              <a:gd name="connsiteY4" fmla="*/ 52021 h 179463"/>
              <a:gd name="connsiteX5" fmla="*/ 73231 w 154090"/>
              <a:gd name="connsiteY5" fmla="*/ 0 h 179463"/>
              <a:gd name="connsiteX6" fmla="*/ 44176 w 154090"/>
              <a:gd name="connsiteY6" fmla="*/ 7805 h 179463"/>
              <a:gd name="connsiteX7" fmla="*/ 19525 w 154090"/>
              <a:gd name="connsiteY7" fmla="*/ 40975 h 179463"/>
              <a:gd name="connsiteX8" fmla="*/ 0 w 154090"/>
              <a:gd name="connsiteY8" fmla="*/ 69265 h 179463"/>
              <a:gd name="connsiteX9" fmla="*/ 70750 w 154090"/>
              <a:gd name="connsiteY9" fmla="*/ 140694 h 179463"/>
              <a:gd name="connsiteX0" fmla="*/ 70750 w 154090"/>
              <a:gd name="connsiteY0" fmla="*/ 140694 h 179463"/>
              <a:gd name="connsiteX1" fmla="*/ 95727 w 154090"/>
              <a:gd name="connsiteY1" fmla="*/ 179463 h 179463"/>
              <a:gd name="connsiteX2" fmla="*/ 126686 w 154090"/>
              <a:gd name="connsiteY2" fmla="*/ 145500 h 179463"/>
              <a:gd name="connsiteX3" fmla="*/ 154090 w 154090"/>
              <a:gd name="connsiteY3" fmla="*/ 91147 h 179463"/>
              <a:gd name="connsiteX4" fmla="*/ 125169 w 154090"/>
              <a:gd name="connsiteY4" fmla="*/ 52021 h 179463"/>
              <a:gd name="connsiteX5" fmla="*/ 73231 w 154090"/>
              <a:gd name="connsiteY5" fmla="*/ 0 h 179463"/>
              <a:gd name="connsiteX6" fmla="*/ 44176 w 154090"/>
              <a:gd name="connsiteY6" fmla="*/ 7805 h 179463"/>
              <a:gd name="connsiteX7" fmla="*/ 19525 w 154090"/>
              <a:gd name="connsiteY7" fmla="*/ 40975 h 179463"/>
              <a:gd name="connsiteX8" fmla="*/ 0 w 154090"/>
              <a:gd name="connsiteY8" fmla="*/ 69265 h 179463"/>
              <a:gd name="connsiteX9" fmla="*/ 70750 w 154090"/>
              <a:gd name="connsiteY9" fmla="*/ 140694 h 179463"/>
              <a:gd name="connsiteX0" fmla="*/ 70750 w 154090"/>
              <a:gd name="connsiteY0" fmla="*/ 140694 h 185663"/>
              <a:gd name="connsiteX1" fmla="*/ 108234 w 154090"/>
              <a:gd name="connsiteY1" fmla="*/ 185663 h 185663"/>
              <a:gd name="connsiteX2" fmla="*/ 126686 w 154090"/>
              <a:gd name="connsiteY2" fmla="*/ 145500 h 185663"/>
              <a:gd name="connsiteX3" fmla="*/ 154090 w 154090"/>
              <a:gd name="connsiteY3" fmla="*/ 91147 h 185663"/>
              <a:gd name="connsiteX4" fmla="*/ 125169 w 154090"/>
              <a:gd name="connsiteY4" fmla="*/ 52021 h 185663"/>
              <a:gd name="connsiteX5" fmla="*/ 73231 w 154090"/>
              <a:gd name="connsiteY5" fmla="*/ 0 h 185663"/>
              <a:gd name="connsiteX6" fmla="*/ 44176 w 154090"/>
              <a:gd name="connsiteY6" fmla="*/ 7805 h 185663"/>
              <a:gd name="connsiteX7" fmla="*/ 19525 w 154090"/>
              <a:gd name="connsiteY7" fmla="*/ 40975 h 185663"/>
              <a:gd name="connsiteX8" fmla="*/ 0 w 154090"/>
              <a:gd name="connsiteY8" fmla="*/ 69265 h 185663"/>
              <a:gd name="connsiteX9" fmla="*/ 70750 w 154090"/>
              <a:gd name="connsiteY9" fmla="*/ 140694 h 185663"/>
              <a:gd name="connsiteX0" fmla="*/ 60744 w 144084"/>
              <a:gd name="connsiteY0" fmla="*/ 140694 h 185663"/>
              <a:gd name="connsiteX1" fmla="*/ 98228 w 144084"/>
              <a:gd name="connsiteY1" fmla="*/ 185663 h 185663"/>
              <a:gd name="connsiteX2" fmla="*/ 116680 w 144084"/>
              <a:gd name="connsiteY2" fmla="*/ 145500 h 185663"/>
              <a:gd name="connsiteX3" fmla="*/ 144084 w 144084"/>
              <a:gd name="connsiteY3" fmla="*/ 91147 h 185663"/>
              <a:gd name="connsiteX4" fmla="*/ 115163 w 144084"/>
              <a:gd name="connsiteY4" fmla="*/ 52021 h 185663"/>
              <a:gd name="connsiteX5" fmla="*/ 63225 w 144084"/>
              <a:gd name="connsiteY5" fmla="*/ 0 h 185663"/>
              <a:gd name="connsiteX6" fmla="*/ 34170 w 144084"/>
              <a:gd name="connsiteY6" fmla="*/ 7805 h 185663"/>
              <a:gd name="connsiteX7" fmla="*/ 9519 w 144084"/>
              <a:gd name="connsiteY7" fmla="*/ 40975 h 185663"/>
              <a:gd name="connsiteX8" fmla="*/ 0 w 144084"/>
              <a:gd name="connsiteY8" fmla="*/ 90963 h 185663"/>
              <a:gd name="connsiteX9" fmla="*/ 60744 w 144084"/>
              <a:gd name="connsiteY9" fmla="*/ 140694 h 185663"/>
              <a:gd name="connsiteX0" fmla="*/ 60744 w 144084"/>
              <a:gd name="connsiteY0" fmla="*/ 140694 h 185663"/>
              <a:gd name="connsiteX1" fmla="*/ 98228 w 144084"/>
              <a:gd name="connsiteY1" fmla="*/ 185663 h 185663"/>
              <a:gd name="connsiteX2" fmla="*/ 109176 w 144084"/>
              <a:gd name="connsiteY2" fmla="*/ 126901 h 185663"/>
              <a:gd name="connsiteX3" fmla="*/ 144084 w 144084"/>
              <a:gd name="connsiteY3" fmla="*/ 91147 h 185663"/>
              <a:gd name="connsiteX4" fmla="*/ 115163 w 144084"/>
              <a:gd name="connsiteY4" fmla="*/ 52021 h 185663"/>
              <a:gd name="connsiteX5" fmla="*/ 63225 w 144084"/>
              <a:gd name="connsiteY5" fmla="*/ 0 h 185663"/>
              <a:gd name="connsiteX6" fmla="*/ 34170 w 144084"/>
              <a:gd name="connsiteY6" fmla="*/ 7805 h 185663"/>
              <a:gd name="connsiteX7" fmla="*/ 9519 w 144084"/>
              <a:gd name="connsiteY7" fmla="*/ 40975 h 185663"/>
              <a:gd name="connsiteX8" fmla="*/ 0 w 144084"/>
              <a:gd name="connsiteY8" fmla="*/ 90963 h 185663"/>
              <a:gd name="connsiteX9" fmla="*/ 60744 w 144084"/>
              <a:gd name="connsiteY9" fmla="*/ 140694 h 185663"/>
              <a:gd name="connsiteX0" fmla="*/ 60744 w 144084"/>
              <a:gd name="connsiteY0" fmla="*/ 140694 h 185663"/>
              <a:gd name="connsiteX1" fmla="*/ 98228 w 144084"/>
              <a:gd name="connsiteY1" fmla="*/ 185663 h 185663"/>
              <a:gd name="connsiteX2" fmla="*/ 109176 w 144084"/>
              <a:gd name="connsiteY2" fmla="*/ 126901 h 185663"/>
              <a:gd name="connsiteX3" fmla="*/ 144084 w 144084"/>
              <a:gd name="connsiteY3" fmla="*/ 112846 h 185663"/>
              <a:gd name="connsiteX4" fmla="*/ 115163 w 144084"/>
              <a:gd name="connsiteY4" fmla="*/ 52021 h 185663"/>
              <a:gd name="connsiteX5" fmla="*/ 63225 w 144084"/>
              <a:gd name="connsiteY5" fmla="*/ 0 h 185663"/>
              <a:gd name="connsiteX6" fmla="*/ 34170 w 144084"/>
              <a:gd name="connsiteY6" fmla="*/ 7805 h 185663"/>
              <a:gd name="connsiteX7" fmla="*/ 9519 w 144084"/>
              <a:gd name="connsiteY7" fmla="*/ 40975 h 185663"/>
              <a:gd name="connsiteX8" fmla="*/ 0 w 144084"/>
              <a:gd name="connsiteY8" fmla="*/ 90963 h 185663"/>
              <a:gd name="connsiteX9" fmla="*/ 60744 w 144084"/>
              <a:gd name="connsiteY9" fmla="*/ 140694 h 185663"/>
              <a:gd name="connsiteX0" fmla="*/ 60744 w 159092"/>
              <a:gd name="connsiteY0" fmla="*/ 140694 h 185663"/>
              <a:gd name="connsiteX1" fmla="*/ 98228 w 159092"/>
              <a:gd name="connsiteY1" fmla="*/ 185663 h 185663"/>
              <a:gd name="connsiteX2" fmla="*/ 109176 w 159092"/>
              <a:gd name="connsiteY2" fmla="*/ 126901 h 185663"/>
              <a:gd name="connsiteX3" fmla="*/ 159092 w 159092"/>
              <a:gd name="connsiteY3" fmla="*/ 100447 h 185663"/>
              <a:gd name="connsiteX4" fmla="*/ 115163 w 159092"/>
              <a:gd name="connsiteY4" fmla="*/ 52021 h 185663"/>
              <a:gd name="connsiteX5" fmla="*/ 63225 w 159092"/>
              <a:gd name="connsiteY5" fmla="*/ 0 h 185663"/>
              <a:gd name="connsiteX6" fmla="*/ 34170 w 159092"/>
              <a:gd name="connsiteY6" fmla="*/ 7805 h 185663"/>
              <a:gd name="connsiteX7" fmla="*/ 9519 w 159092"/>
              <a:gd name="connsiteY7" fmla="*/ 40975 h 185663"/>
              <a:gd name="connsiteX8" fmla="*/ 0 w 159092"/>
              <a:gd name="connsiteY8" fmla="*/ 90963 h 185663"/>
              <a:gd name="connsiteX9" fmla="*/ 60744 w 159092"/>
              <a:gd name="connsiteY9" fmla="*/ 140694 h 185663"/>
              <a:gd name="connsiteX0" fmla="*/ 60744 w 141582"/>
              <a:gd name="connsiteY0" fmla="*/ 140694 h 185663"/>
              <a:gd name="connsiteX1" fmla="*/ 98228 w 141582"/>
              <a:gd name="connsiteY1" fmla="*/ 185663 h 185663"/>
              <a:gd name="connsiteX2" fmla="*/ 109176 w 141582"/>
              <a:gd name="connsiteY2" fmla="*/ 126901 h 185663"/>
              <a:gd name="connsiteX3" fmla="*/ 141582 w 141582"/>
              <a:gd name="connsiteY3" fmla="*/ 109746 h 185663"/>
              <a:gd name="connsiteX4" fmla="*/ 115163 w 141582"/>
              <a:gd name="connsiteY4" fmla="*/ 52021 h 185663"/>
              <a:gd name="connsiteX5" fmla="*/ 63225 w 141582"/>
              <a:gd name="connsiteY5" fmla="*/ 0 h 185663"/>
              <a:gd name="connsiteX6" fmla="*/ 34170 w 141582"/>
              <a:gd name="connsiteY6" fmla="*/ 7805 h 185663"/>
              <a:gd name="connsiteX7" fmla="*/ 9519 w 141582"/>
              <a:gd name="connsiteY7" fmla="*/ 40975 h 185663"/>
              <a:gd name="connsiteX8" fmla="*/ 0 w 141582"/>
              <a:gd name="connsiteY8" fmla="*/ 90963 h 185663"/>
              <a:gd name="connsiteX9" fmla="*/ 60744 w 141582"/>
              <a:gd name="connsiteY9" fmla="*/ 140694 h 185663"/>
              <a:gd name="connsiteX0" fmla="*/ 66233 w 147071"/>
              <a:gd name="connsiteY0" fmla="*/ 140694 h 185663"/>
              <a:gd name="connsiteX1" fmla="*/ 103717 w 147071"/>
              <a:gd name="connsiteY1" fmla="*/ 185663 h 185663"/>
              <a:gd name="connsiteX2" fmla="*/ 114665 w 147071"/>
              <a:gd name="connsiteY2" fmla="*/ 126901 h 185663"/>
              <a:gd name="connsiteX3" fmla="*/ 147071 w 147071"/>
              <a:gd name="connsiteY3" fmla="*/ 109746 h 185663"/>
              <a:gd name="connsiteX4" fmla="*/ 120652 w 147071"/>
              <a:gd name="connsiteY4" fmla="*/ 52021 h 185663"/>
              <a:gd name="connsiteX5" fmla="*/ 68714 w 147071"/>
              <a:gd name="connsiteY5" fmla="*/ 0 h 185663"/>
              <a:gd name="connsiteX6" fmla="*/ 39659 w 147071"/>
              <a:gd name="connsiteY6" fmla="*/ 7805 h 185663"/>
              <a:gd name="connsiteX7" fmla="*/ 0 w 147071"/>
              <a:gd name="connsiteY7" fmla="*/ 59574 h 185663"/>
              <a:gd name="connsiteX8" fmla="*/ 5489 w 147071"/>
              <a:gd name="connsiteY8" fmla="*/ 90963 h 185663"/>
              <a:gd name="connsiteX9" fmla="*/ 66233 w 147071"/>
              <a:gd name="connsiteY9" fmla="*/ 140694 h 185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7071" h="185663">
                <a:moveTo>
                  <a:pt x="66233" y="140694"/>
                </a:moveTo>
                <a:lnTo>
                  <a:pt x="103717" y="185663"/>
                </a:lnTo>
                <a:lnTo>
                  <a:pt x="114665" y="126901"/>
                </a:lnTo>
                <a:lnTo>
                  <a:pt x="147071" y="109746"/>
                </a:lnTo>
                <a:cubicBezTo>
                  <a:pt x="137431" y="96704"/>
                  <a:pt x="130292" y="71263"/>
                  <a:pt x="120652" y="52021"/>
                </a:cubicBezTo>
                <a:cubicBezTo>
                  <a:pt x="95835" y="34681"/>
                  <a:pt x="86027" y="17340"/>
                  <a:pt x="68714" y="0"/>
                </a:cubicBezTo>
                <a:lnTo>
                  <a:pt x="39659" y="7805"/>
                </a:lnTo>
                <a:lnTo>
                  <a:pt x="0" y="59574"/>
                </a:lnTo>
                <a:lnTo>
                  <a:pt x="5489" y="90963"/>
                </a:lnTo>
                <a:lnTo>
                  <a:pt x="66233" y="140694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IE" sz="2400" b="1" dirty="0">
              <a:solidFill>
                <a:srgbClr val="000000"/>
              </a:solidFill>
            </a:endParaRPr>
          </a:p>
        </p:txBody>
      </p:sp>
      <p:sp>
        <p:nvSpPr>
          <p:cNvPr id="46" name="SP"/>
          <p:cNvSpPr>
            <a:spLocks/>
          </p:cNvSpPr>
          <p:nvPr/>
        </p:nvSpPr>
        <p:spPr bwMode="auto">
          <a:xfrm rot="515399">
            <a:off x="4479925" y="2357438"/>
            <a:ext cx="427038" cy="566737"/>
          </a:xfrm>
          <a:custGeom>
            <a:avLst/>
            <a:gdLst>
              <a:gd name="T0" fmla="*/ 2147483647 w 104"/>
              <a:gd name="T1" fmla="*/ 2147483647 h 159"/>
              <a:gd name="T2" fmla="*/ 2147483647 w 104"/>
              <a:gd name="T3" fmla="*/ 2147483647 h 159"/>
              <a:gd name="T4" fmla="*/ 2147483647 w 104"/>
              <a:gd name="T5" fmla="*/ 2147483647 h 159"/>
              <a:gd name="T6" fmla="*/ 2147483647 w 104"/>
              <a:gd name="T7" fmla="*/ 2147483647 h 159"/>
              <a:gd name="T8" fmla="*/ 2147483647 w 104"/>
              <a:gd name="T9" fmla="*/ 2147483647 h 159"/>
              <a:gd name="T10" fmla="*/ 2147483647 w 104"/>
              <a:gd name="T11" fmla="*/ 2147483647 h 159"/>
              <a:gd name="T12" fmla="*/ 2147483647 w 104"/>
              <a:gd name="T13" fmla="*/ 2147483647 h 159"/>
              <a:gd name="T14" fmla="*/ 2147483647 w 104"/>
              <a:gd name="T15" fmla="*/ 2147483647 h 159"/>
              <a:gd name="T16" fmla="*/ 2147483647 w 104"/>
              <a:gd name="T17" fmla="*/ 2147483647 h 159"/>
              <a:gd name="T18" fmla="*/ 2147483647 w 104"/>
              <a:gd name="T19" fmla="*/ 2147483647 h 159"/>
              <a:gd name="T20" fmla="*/ 2147483647 w 104"/>
              <a:gd name="T21" fmla="*/ 2147483647 h 159"/>
              <a:gd name="T22" fmla="*/ 2147483647 w 104"/>
              <a:gd name="T23" fmla="*/ 2147483647 h 159"/>
              <a:gd name="T24" fmla="*/ 2147483647 w 104"/>
              <a:gd name="T25" fmla="*/ 2147483647 h 159"/>
              <a:gd name="T26" fmla="*/ 2147483647 w 104"/>
              <a:gd name="T27" fmla="*/ 2147483647 h 159"/>
              <a:gd name="T28" fmla="*/ 2147483647 w 104"/>
              <a:gd name="T29" fmla="*/ 2147483647 h 159"/>
              <a:gd name="T30" fmla="*/ 2147483647 w 104"/>
              <a:gd name="T31" fmla="*/ 2147483647 h 159"/>
              <a:gd name="T32" fmla="*/ 2147483647 w 104"/>
              <a:gd name="T33" fmla="*/ 2147483647 h 159"/>
              <a:gd name="T34" fmla="*/ 0 w 104"/>
              <a:gd name="T35" fmla="*/ 2147483647 h 159"/>
              <a:gd name="T36" fmla="*/ 2147483647 w 104"/>
              <a:gd name="T37" fmla="*/ 2147483647 h 159"/>
              <a:gd name="T38" fmla="*/ 2147483647 w 104"/>
              <a:gd name="T39" fmla="*/ 2147483647 h 159"/>
              <a:gd name="T40" fmla="*/ 0 w 104"/>
              <a:gd name="T41" fmla="*/ 2147483647 h 159"/>
              <a:gd name="T42" fmla="*/ 2147483647 w 104"/>
              <a:gd name="T43" fmla="*/ 2147483647 h 159"/>
              <a:gd name="T44" fmla="*/ 2147483647 w 104"/>
              <a:gd name="T45" fmla="*/ 2147483647 h 159"/>
              <a:gd name="T46" fmla="*/ 2147483647 w 104"/>
              <a:gd name="T47" fmla="*/ 2147483647 h 159"/>
              <a:gd name="T48" fmla="*/ 2147483647 w 104"/>
              <a:gd name="T49" fmla="*/ 2147483647 h 159"/>
              <a:gd name="T50" fmla="*/ 2147483647 w 104"/>
              <a:gd name="T51" fmla="*/ 2147483647 h 159"/>
              <a:gd name="T52" fmla="*/ 2147483647 w 104"/>
              <a:gd name="T53" fmla="*/ 2147483647 h 159"/>
              <a:gd name="T54" fmla="*/ 2147483647 w 104"/>
              <a:gd name="T55" fmla="*/ 2147483647 h 159"/>
              <a:gd name="T56" fmla="*/ 2147483647 w 104"/>
              <a:gd name="T57" fmla="*/ 2147483647 h 159"/>
              <a:gd name="T58" fmla="*/ 2147483647 w 104"/>
              <a:gd name="T59" fmla="*/ 0 h 159"/>
              <a:gd name="T60" fmla="*/ 2147483647 w 104"/>
              <a:gd name="T61" fmla="*/ 0 h 159"/>
              <a:gd name="T62" fmla="*/ 2147483647 w 104"/>
              <a:gd name="T63" fmla="*/ 2147483647 h 159"/>
              <a:gd name="T64" fmla="*/ 2147483647 w 104"/>
              <a:gd name="T65" fmla="*/ 2147483647 h 159"/>
              <a:gd name="T66" fmla="*/ 2147483647 w 104"/>
              <a:gd name="T67" fmla="*/ 2147483647 h 159"/>
              <a:gd name="T68" fmla="*/ 2147483647 w 104"/>
              <a:gd name="T69" fmla="*/ 2147483647 h 159"/>
              <a:gd name="T70" fmla="*/ 2147483647 w 104"/>
              <a:gd name="T71" fmla="*/ 2147483647 h 159"/>
              <a:gd name="T72" fmla="*/ 2147483647 w 104"/>
              <a:gd name="T73" fmla="*/ 2147483647 h 159"/>
              <a:gd name="T74" fmla="*/ 2147483647 w 104"/>
              <a:gd name="T75" fmla="*/ 2147483647 h 159"/>
              <a:gd name="T76" fmla="*/ 2147483647 w 104"/>
              <a:gd name="T77" fmla="*/ 2147483647 h 159"/>
              <a:gd name="T78" fmla="*/ 2147483647 w 104"/>
              <a:gd name="T79" fmla="*/ 2147483647 h 159"/>
              <a:gd name="T80" fmla="*/ 2147483647 w 104"/>
              <a:gd name="T81" fmla="*/ 2147483647 h 159"/>
              <a:gd name="T82" fmla="*/ 2147483647 w 104"/>
              <a:gd name="T83" fmla="*/ 2147483647 h 159"/>
              <a:gd name="T84" fmla="*/ 2147483647 w 104"/>
              <a:gd name="T85" fmla="*/ 2147483647 h 159"/>
              <a:gd name="T86" fmla="*/ 2147483647 w 104"/>
              <a:gd name="T87" fmla="*/ 2147483647 h 159"/>
              <a:gd name="T88" fmla="*/ 2147483647 w 104"/>
              <a:gd name="T89" fmla="*/ 2147483647 h 159"/>
              <a:gd name="T90" fmla="*/ 2147483647 w 104"/>
              <a:gd name="T91" fmla="*/ 2147483647 h 159"/>
              <a:gd name="T92" fmla="*/ 2147483647 w 104"/>
              <a:gd name="T93" fmla="*/ 2147483647 h 15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04"/>
              <a:gd name="T142" fmla="*/ 0 h 159"/>
              <a:gd name="T143" fmla="*/ 104 w 104"/>
              <a:gd name="T144" fmla="*/ 159 h 159"/>
              <a:gd name="connsiteX0" fmla="*/ 7885 w 10000"/>
              <a:gd name="connsiteY0" fmla="*/ 7610 h 10000"/>
              <a:gd name="connsiteX1" fmla="*/ 4712 w 10000"/>
              <a:gd name="connsiteY1" fmla="*/ 9686 h 10000"/>
              <a:gd name="connsiteX2" fmla="*/ 2500 w 10000"/>
              <a:gd name="connsiteY2" fmla="*/ 9686 h 10000"/>
              <a:gd name="connsiteX3" fmla="*/ 1923 w 10000"/>
              <a:gd name="connsiteY3" fmla="*/ 9434 h 10000"/>
              <a:gd name="connsiteX4" fmla="*/ 1635 w 10000"/>
              <a:gd name="connsiteY4" fmla="*/ 10000 h 10000"/>
              <a:gd name="connsiteX5" fmla="*/ 769 w 10000"/>
              <a:gd name="connsiteY5" fmla="*/ 9497 h 10000"/>
              <a:gd name="connsiteX6" fmla="*/ 769 w 10000"/>
              <a:gd name="connsiteY6" fmla="*/ 8931 h 10000"/>
              <a:gd name="connsiteX7" fmla="*/ 2212 w 10000"/>
              <a:gd name="connsiteY7" fmla="*/ 8050 h 10000"/>
              <a:gd name="connsiteX8" fmla="*/ 1635 w 10000"/>
              <a:gd name="connsiteY8" fmla="*/ 7547 h 10000"/>
              <a:gd name="connsiteX9" fmla="*/ 2212 w 10000"/>
              <a:gd name="connsiteY9" fmla="*/ 7107 h 10000"/>
              <a:gd name="connsiteX10" fmla="*/ 3173 w 10000"/>
              <a:gd name="connsiteY10" fmla="*/ 7170 h 10000"/>
              <a:gd name="connsiteX11" fmla="*/ 2981 w 10000"/>
              <a:gd name="connsiteY11" fmla="*/ 6667 h 10000"/>
              <a:gd name="connsiteX12" fmla="*/ 2212 w 10000"/>
              <a:gd name="connsiteY12" fmla="*/ 6667 h 10000"/>
              <a:gd name="connsiteX13" fmla="*/ 2212 w 10000"/>
              <a:gd name="connsiteY13" fmla="*/ 6289 h 10000"/>
              <a:gd name="connsiteX14" fmla="*/ 1538 w 10000"/>
              <a:gd name="connsiteY14" fmla="*/ 6226 h 10000"/>
              <a:gd name="connsiteX15" fmla="*/ 1154 w 10000"/>
              <a:gd name="connsiteY15" fmla="*/ 6604 h 10000"/>
              <a:gd name="connsiteX16" fmla="*/ 577 w 10000"/>
              <a:gd name="connsiteY16" fmla="*/ 6352 h 10000"/>
              <a:gd name="connsiteX17" fmla="*/ 0 w 10000"/>
              <a:gd name="connsiteY17" fmla="*/ 6352 h 10000"/>
              <a:gd name="connsiteX18" fmla="*/ 1462 w 10000"/>
              <a:gd name="connsiteY18" fmla="*/ 5188 h 10000"/>
              <a:gd name="connsiteX19" fmla="*/ 2212 w 10000"/>
              <a:gd name="connsiteY19" fmla="*/ 4277 h 10000"/>
              <a:gd name="connsiteX20" fmla="*/ 0 w 10000"/>
              <a:gd name="connsiteY20" fmla="*/ 4969 h 10000"/>
              <a:gd name="connsiteX21" fmla="*/ 865 w 10000"/>
              <a:gd name="connsiteY21" fmla="*/ 4214 h 10000"/>
              <a:gd name="connsiteX22" fmla="*/ 865 w 10000"/>
              <a:gd name="connsiteY22" fmla="*/ 3648 h 10000"/>
              <a:gd name="connsiteX23" fmla="*/ 1731 w 10000"/>
              <a:gd name="connsiteY23" fmla="*/ 3711 h 10000"/>
              <a:gd name="connsiteX24" fmla="*/ 1635 w 10000"/>
              <a:gd name="connsiteY24" fmla="*/ 2767 h 10000"/>
              <a:gd name="connsiteX25" fmla="*/ 962 w 10000"/>
              <a:gd name="connsiteY25" fmla="*/ 2579 h 10000"/>
              <a:gd name="connsiteX26" fmla="*/ 2019 w 10000"/>
              <a:gd name="connsiteY26" fmla="*/ 1761 h 10000"/>
              <a:gd name="connsiteX27" fmla="*/ 3269 w 10000"/>
              <a:gd name="connsiteY27" fmla="*/ 1824 h 10000"/>
              <a:gd name="connsiteX28" fmla="*/ 3269 w 10000"/>
              <a:gd name="connsiteY28" fmla="*/ 881 h 10000"/>
              <a:gd name="connsiteX29" fmla="*/ 3750 w 10000"/>
              <a:gd name="connsiteY29" fmla="*/ 0 h 10000"/>
              <a:gd name="connsiteX30" fmla="*/ 4327 w 10000"/>
              <a:gd name="connsiteY30" fmla="*/ 0 h 10000"/>
              <a:gd name="connsiteX31" fmla="*/ 4327 w 10000"/>
              <a:gd name="connsiteY31" fmla="*/ 440 h 10000"/>
              <a:gd name="connsiteX32" fmla="*/ 7692 w 10000"/>
              <a:gd name="connsiteY32" fmla="*/ 440 h 10000"/>
              <a:gd name="connsiteX33" fmla="*/ 4519 w 10000"/>
              <a:gd name="connsiteY33" fmla="*/ 2579 h 10000"/>
              <a:gd name="connsiteX34" fmla="*/ 5096 w 10000"/>
              <a:gd name="connsiteY34" fmla="*/ 2830 h 10000"/>
              <a:gd name="connsiteX35" fmla="*/ 10000 w 10000"/>
              <a:gd name="connsiteY35" fmla="*/ 2830 h 10000"/>
              <a:gd name="connsiteX36" fmla="*/ 7788 w 10000"/>
              <a:gd name="connsiteY36" fmla="*/ 5786 h 10000"/>
              <a:gd name="connsiteX37" fmla="*/ 5385 w 10000"/>
              <a:gd name="connsiteY37" fmla="*/ 5723 h 10000"/>
              <a:gd name="connsiteX38" fmla="*/ 5385 w 10000"/>
              <a:gd name="connsiteY38" fmla="*/ 6164 h 10000"/>
              <a:gd name="connsiteX39" fmla="*/ 6731 w 10000"/>
              <a:gd name="connsiteY39" fmla="*/ 6164 h 10000"/>
              <a:gd name="connsiteX40" fmla="*/ 7212 w 10000"/>
              <a:gd name="connsiteY40" fmla="*/ 6478 h 10000"/>
              <a:gd name="connsiteX41" fmla="*/ 4712 w 10000"/>
              <a:gd name="connsiteY41" fmla="*/ 6604 h 10000"/>
              <a:gd name="connsiteX42" fmla="*/ 4135 w 10000"/>
              <a:gd name="connsiteY42" fmla="*/ 6289 h 10000"/>
              <a:gd name="connsiteX43" fmla="*/ 4135 w 10000"/>
              <a:gd name="connsiteY43" fmla="*/ 6855 h 10000"/>
              <a:gd name="connsiteX44" fmla="*/ 4712 w 10000"/>
              <a:gd name="connsiteY44" fmla="*/ 7233 h 10000"/>
              <a:gd name="connsiteX45" fmla="*/ 7212 w 10000"/>
              <a:gd name="connsiteY45" fmla="*/ 7233 h 10000"/>
              <a:gd name="connsiteX46" fmla="*/ 7885 w 10000"/>
              <a:gd name="connsiteY46" fmla="*/ 7610 h 10000"/>
              <a:gd name="connsiteX0" fmla="*/ 7885 w 10000"/>
              <a:gd name="connsiteY0" fmla="*/ 7610 h 10000"/>
              <a:gd name="connsiteX1" fmla="*/ 4712 w 10000"/>
              <a:gd name="connsiteY1" fmla="*/ 9686 h 10000"/>
              <a:gd name="connsiteX2" fmla="*/ 2500 w 10000"/>
              <a:gd name="connsiteY2" fmla="*/ 9686 h 10000"/>
              <a:gd name="connsiteX3" fmla="*/ 1923 w 10000"/>
              <a:gd name="connsiteY3" fmla="*/ 9434 h 10000"/>
              <a:gd name="connsiteX4" fmla="*/ 1635 w 10000"/>
              <a:gd name="connsiteY4" fmla="*/ 10000 h 10000"/>
              <a:gd name="connsiteX5" fmla="*/ 769 w 10000"/>
              <a:gd name="connsiteY5" fmla="*/ 9497 h 10000"/>
              <a:gd name="connsiteX6" fmla="*/ 769 w 10000"/>
              <a:gd name="connsiteY6" fmla="*/ 8931 h 10000"/>
              <a:gd name="connsiteX7" fmla="*/ 2212 w 10000"/>
              <a:gd name="connsiteY7" fmla="*/ 8050 h 10000"/>
              <a:gd name="connsiteX8" fmla="*/ 1635 w 10000"/>
              <a:gd name="connsiteY8" fmla="*/ 7547 h 10000"/>
              <a:gd name="connsiteX9" fmla="*/ 2212 w 10000"/>
              <a:gd name="connsiteY9" fmla="*/ 7107 h 10000"/>
              <a:gd name="connsiteX10" fmla="*/ 3173 w 10000"/>
              <a:gd name="connsiteY10" fmla="*/ 7170 h 10000"/>
              <a:gd name="connsiteX11" fmla="*/ 2981 w 10000"/>
              <a:gd name="connsiteY11" fmla="*/ 6667 h 10000"/>
              <a:gd name="connsiteX12" fmla="*/ 2212 w 10000"/>
              <a:gd name="connsiteY12" fmla="*/ 6667 h 10000"/>
              <a:gd name="connsiteX13" fmla="*/ 2212 w 10000"/>
              <a:gd name="connsiteY13" fmla="*/ 6289 h 10000"/>
              <a:gd name="connsiteX14" fmla="*/ 1538 w 10000"/>
              <a:gd name="connsiteY14" fmla="*/ 6226 h 10000"/>
              <a:gd name="connsiteX15" fmla="*/ 1154 w 10000"/>
              <a:gd name="connsiteY15" fmla="*/ 6604 h 10000"/>
              <a:gd name="connsiteX16" fmla="*/ 577 w 10000"/>
              <a:gd name="connsiteY16" fmla="*/ 6352 h 10000"/>
              <a:gd name="connsiteX17" fmla="*/ 0 w 10000"/>
              <a:gd name="connsiteY17" fmla="*/ 6352 h 10000"/>
              <a:gd name="connsiteX18" fmla="*/ 1462 w 10000"/>
              <a:gd name="connsiteY18" fmla="*/ 5188 h 10000"/>
              <a:gd name="connsiteX19" fmla="*/ 1090 w 10000"/>
              <a:gd name="connsiteY19" fmla="*/ 5121 h 10000"/>
              <a:gd name="connsiteX20" fmla="*/ 2212 w 10000"/>
              <a:gd name="connsiteY20" fmla="*/ 4277 h 10000"/>
              <a:gd name="connsiteX21" fmla="*/ 0 w 10000"/>
              <a:gd name="connsiteY21" fmla="*/ 4969 h 10000"/>
              <a:gd name="connsiteX22" fmla="*/ 865 w 10000"/>
              <a:gd name="connsiteY22" fmla="*/ 4214 h 10000"/>
              <a:gd name="connsiteX23" fmla="*/ 865 w 10000"/>
              <a:gd name="connsiteY23" fmla="*/ 3648 h 10000"/>
              <a:gd name="connsiteX24" fmla="*/ 1731 w 10000"/>
              <a:gd name="connsiteY24" fmla="*/ 3711 h 10000"/>
              <a:gd name="connsiteX25" fmla="*/ 1635 w 10000"/>
              <a:gd name="connsiteY25" fmla="*/ 2767 h 10000"/>
              <a:gd name="connsiteX26" fmla="*/ 962 w 10000"/>
              <a:gd name="connsiteY26" fmla="*/ 2579 h 10000"/>
              <a:gd name="connsiteX27" fmla="*/ 2019 w 10000"/>
              <a:gd name="connsiteY27" fmla="*/ 1761 h 10000"/>
              <a:gd name="connsiteX28" fmla="*/ 3269 w 10000"/>
              <a:gd name="connsiteY28" fmla="*/ 1824 h 10000"/>
              <a:gd name="connsiteX29" fmla="*/ 3269 w 10000"/>
              <a:gd name="connsiteY29" fmla="*/ 881 h 10000"/>
              <a:gd name="connsiteX30" fmla="*/ 3750 w 10000"/>
              <a:gd name="connsiteY30" fmla="*/ 0 h 10000"/>
              <a:gd name="connsiteX31" fmla="*/ 4327 w 10000"/>
              <a:gd name="connsiteY31" fmla="*/ 0 h 10000"/>
              <a:gd name="connsiteX32" fmla="*/ 4327 w 10000"/>
              <a:gd name="connsiteY32" fmla="*/ 440 h 10000"/>
              <a:gd name="connsiteX33" fmla="*/ 7692 w 10000"/>
              <a:gd name="connsiteY33" fmla="*/ 440 h 10000"/>
              <a:gd name="connsiteX34" fmla="*/ 4519 w 10000"/>
              <a:gd name="connsiteY34" fmla="*/ 2579 h 10000"/>
              <a:gd name="connsiteX35" fmla="*/ 5096 w 10000"/>
              <a:gd name="connsiteY35" fmla="*/ 2830 h 10000"/>
              <a:gd name="connsiteX36" fmla="*/ 10000 w 10000"/>
              <a:gd name="connsiteY36" fmla="*/ 2830 h 10000"/>
              <a:gd name="connsiteX37" fmla="*/ 7788 w 10000"/>
              <a:gd name="connsiteY37" fmla="*/ 5786 h 10000"/>
              <a:gd name="connsiteX38" fmla="*/ 5385 w 10000"/>
              <a:gd name="connsiteY38" fmla="*/ 5723 h 10000"/>
              <a:gd name="connsiteX39" fmla="*/ 5385 w 10000"/>
              <a:gd name="connsiteY39" fmla="*/ 6164 h 10000"/>
              <a:gd name="connsiteX40" fmla="*/ 6731 w 10000"/>
              <a:gd name="connsiteY40" fmla="*/ 6164 h 10000"/>
              <a:gd name="connsiteX41" fmla="*/ 7212 w 10000"/>
              <a:gd name="connsiteY41" fmla="*/ 6478 h 10000"/>
              <a:gd name="connsiteX42" fmla="*/ 4712 w 10000"/>
              <a:gd name="connsiteY42" fmla="*/ 6604 h 10000"/>
              <a:gd name="connsiteX43" fmla="*/ 4135 w 10000"/>
              <a:gd name="connsiteY43" fmla="*/ 6289 h 10000"/>
              <a:gd name="connsiteX44" fmla="*/ 4135 w 10000"/>
              <a:gd name="connsiteY44" fmla="*/ 6855 h 10000"/>
              <a:gd name="connsiteX45" fmla="*/ 4712 w 10000"/>
              <a:gd name="connsiteY45" fmla="*/ 7233 h 10000"/>
              <a:gd name="connsiteX46" fmla="*/ 7212 w 10000"/>
              <a:gd name="connsiteY46" fmla="*/ 7233 h 10000"/>
              <a:gd name="connsiteX47" fmla="*/ 7885 w 10000"/>
              <a:gd name="connsiteY47" fmla="*/ 7610 h 10000"/>
              <a:gd name="connsiteX0" fmla="*/ 7885 w 10000"/>
              <a:gd name="connsiteY0" fmla="*/ 7610 h 10000"/>
              <a:gd name="connsiteX1" fmla="*/ 4712 w 10000"/>
              <a:gd name="connsiteY1" fmla="*/ 9686 h 10000"/>
              <a:gd name="connsiteX2" fmla="*/ 2500 w 10000"/>
              <a:gd name="connsiteY2" fmla="*/ 9686 h 10000"/>
              <a:gd name="connsiteX3" fmla="*/ 1923 w 10000"/>
              <a:gd name="connsiteY3" fmla="*/ 9434 h 10000"/>
              <a:gd name="connsiteX4" fmla="*/ 1635 w 10000"/>
              <a:gd name="connsiteY4" fmla="*/ 10000 h 10000"/>
              <a:gd name="connsiteX5" fmla="*/ 769 w 10000"/>
              <a:gd name="connsiteY5" fmla="*/ 9497 h 10000"/>
              <a:gd name="connsiteX6" fmla="*/ 769 w 10000"/>
              <a:gd name="connsiteY6" fmla="*/ 8931 h 10000"/>
              <a:gd name="connsiteX7" fmla="*/ 2212 w 10000"/>
              <a:gd name="connsiteY7" fmla="*/ 8050 h 10000"/>
              <a:gd name="connsiteX8" fmla="*/ 1635 w 10000"/>
              <a:gd name="connsiteY8" fmla="*/ 7547 h 10000"/>
              <a:gd name="connsiteX9" fmla="*/ 2212 w 10000"/>
              <a:gd name="connsiteY9" fmla="*/ 7107 h 10000"/>
              <a:gd name="connsiteX10" fmla="*/ 3173 w 10000"/>
              <a:gd name="connsiteY10" fmla="*/ 7170 h 10000"/>
              <a:gd name="connsiteX11" fmla="*/ 2981 w 10000"/>
              <a:gd name="connsiteY11" fmla="*/ 6667 h 10000"/>
              <a:gd name="connsiteX12" fmla="*/ 2212 w 10000"/>
              <a:gd name="connsiteY12" fmla="*/ 6667 h 10000"/>
              <a:gd name="connsiteX13" fmla="*/ 2212 w 10000"/>
              <a:gd name="connsiteY13" fmla="*/ 6289 h 10000"/>
              <a:gd name="connsiteX14" fmla="*/ 1538 w 10000"/>
              <a:gd name="connsiteY14" fmla="*/ 6226 h 10000"/>
              <a:gd name="connsiteX15" fmla="*/ 1154 w 10000"/>
              <a:gd name="connsiteY15" fmla="*/ 6604 h 10000"/>
              <a:gd name="connsiteX16" fmla="*/ 577 w 10000"/>
              <a:gd name="connsiteY16" fmla="*/ 6352 h 10000"/>
              <a:gd name="connsiteX17" fmla="*/ 0 w 10000"/>
              <a:gd name="connsiteY17" fmla="*/ 6352 h 10000"/>
              <a:gd name="connsiteX18" fmla="*/ 1462 w 10000"/>
              <a:gd name="connsiteY18" fmla="*/ 5188 h 10000"/>
              <a:gd name="connsiteX19" fmla="*/ 1090 w 10000"/>
              <a:gd name="connsiteY19" fmla="*/ 5121 h 10000"/>
              <a:gd name="connsiteX20" fmla="*/ 789 w 10000"/>
              <a:gd name="connsiteY20" fmla="*/ 5057 h 10000"/>
              <a:gd name="connsiteX21" fmla="*/ 0 w 10000"/>
              <a:gd name="connsiteY21" fmla="*/ 4969 h 10000"/>
              <a:gd name="connsiteX22" fmla="*/ 865 w 10000"/>
              <a:gd name="connsiteY22" fmla="*/ 4214 h 10000"/>
              <a:gd name="connsiteX23" fmla="*/ 865 w 10000"/>
              <a:gd name="connsiteY23" fmla="*/ 3648 h 10000"/>
              <a:gd name="connsiteX24" fmla="*/ 1731 w 10000"/>
              <a:gd name="connsiteY24" fmla="*/ 3711 h 10000"/>
              <a:gd name="connsiteX25" fmla="*/ 1635 w 10000"/>
              <a:gd name="connsiteY25" fmla="*/ 2767 h 10000"/>
              <a:gd name="connsiteX26" fmla="*/ 962 w 10000"/>
              <a:gd name="connsiteY26" fmla="*/ 2579 h 10000"/>
              <a:gd name="connsiteX27" fmla="*/ 2019 w 10000"/>
              <a:gd name="connsiteY27" fmla="*/ 1761 h 10000"/>
              <a:gd name="connsiteX28" fmla="*/ 3269 w 10000"/>
              <a:gd name="connsiteY28" fmla="*/ 1824 h 10000"/>
              <a:gd name="connsiteX29" fmla="*/ 3269 w 10000"/>
              <a:gd name="connsiteY29" fmla="*/ 881 h 10000"/>
              <a:gd name="connsiteX30" fmla="*/ 3750 w 10000"/>
              <a:gd name="connsiteY30" fmla="*/ 0 h 10000"/>
              <a:gd name="connsiteX31" fmla="*/ 4327 w 10000"/>
              <a:gd name="connsiteY31" fmla="*/ 0 h 10000"/>
              <a:gd name="connsiteX32" fmla="*/ 4327 w 10000"/>
              <a:gd name="connsiteY32" fmla="*/ 440 h 10000"/>
              <a:gd name="connsiteX33" fmla="*/ 7692 w 10000"/>
              <a:gd name="connsiteY33" fmla="*/ 440 h 10000"/>
              <a:gd name="connsiteX34" fmla="*/ 4519 w 10000"/>
              <a:gd name="connsiteY34" fmla="*/ 2579 h 10000"/>
              <a:gd name="connsiteX35" fmla="*/ 5096 w 10000"/>
              <a:gd name="connsiteY35" fmla="*/ 2830 h 10000"/>
              <a:gd name="connsiteX36" fmla="*/ 10000 w 10000"/>
              <a:gd name="connsiteY36" fmla="*/ 2830 h 10000"/>
              <a:gd name="connsiteX37" fmla="*/ 7788 w 10000"/>
              <a:gd name="connsiteY37" fmla="*/ 5786 h 10000"/>
              <a:gd name="connsiteX38" fmla="*/ 5385 w 10000"/>
              <a:gd name="connsiteY38" fmla="*/ 5723 h 10000"/>
              <a:gd name="connsiteX39" fmla="*/ 5385 w 10000"/>
              <a:gd name="connsiteY39" fmla="*/ 6164 h 10000"/>
              <a:gd name="connsiteX40" fmla="*/ 6731 w 10000"/>
              <a:gd name="connsiteY40" fmla="*/ 6164 h 10000"/>
              <a:gd name="connsiteX41" fmla="*/ 7212 w 10000"/>
              <a:gd name="connsiteY41" fmla="*/ 6478 h 10000"/>
              <a:gd name="connsiteX42" fmla="*/ 4712 w 10000"/>
              <a:gd name="connsiteY42" fmla="*/ 6604 h 10000"/>
              <a:gd name="connsiteX43" fmla="*/ 4135 w 10000"/>
              <a:gd name="connsiteY43" fmla="*/ 6289 h 10000"/>
              <a:gd name="connsiteX44" fmla="*/ 4135 w 10000"/>
              <a:gd name="connsiteY44" fmla="*/ 6855 h 10000"/>
              <a:gd name="connsiteX45" fmla="*/ 4712 w 10000"/>
              <a:gd name="connsiteY45" fmla="*/ 7233 h 10000"/>
              <a:gd name="connsiteX46" fmla="*/ 7212 w 10000"/>
              <a:gd name="connsiteY46" fmla="*/ 7233 h 10000"/>
              <a:gd name="connsiteX47" fmla="*/ 7885 w 10000"/>
              <a:gd name="connsiteY47" fmla="*/ 7610 h 10000"/>
              <a:gd name="connsiteX0" fmla="*/ 7885 w 9771"/>
              <a:gd name="connsiteY0" fmla="*/ 7610 h 10000"/>
              <a:gd name="connsiteX1" fmla="*/ 4712 w 9771"/>
              <a:gd name="connsiteY1" fmla="*/ 9686 h 10000"/>
              <a:gd name="connsiteX2" fmla="*/ 2500 w 9771"/>
              <a:gd name="connsiteY2" fmla="*/ 9686 h 10000"/>
              <a:gd name="connsiteX3" fmla="*/ 1923 w 9771"/>
              <a:gd name="connsiteY3" fmla="*/ 9434 h 10000"/>
              <a:gd name="connsiteX4" fmla="*/ 1635 w 9771"/>
              <a:gd name="connsiteY4" fmla="*/ 10000 h 10000"/>
              <a:gd name="connsiteX5" fmla="*/ 769 w 9771"/>
              <a:gd name="connsiteY5" fmla="*/ 9497 h 10000"/>
              <a:gd name="connsiteX6" fmla="*/ 769 w 9771"/>
              <a:gd name="connsiteY6" fmla="*/ 8931 h 10000"/>
              <a:gd name="connsiteX7" fmla="*/ 2212 w 9771"/>
              <a:gd name="connsiteY7" fmla="*/ 8050 h 10000"/>
              <a:gd name="connsiteX8" fmla="*/ 1635 w 9771"/>
              <a:gd name="connsiteY8" fmla="*/ 7547 h 10000"/>
              <a:gd name="connsiteX9" fmla="*/ 2212 w 9771"/>
              <a:gd name="connsiteY9" fmla="*/ 7107 h 10000"/>
              <a:gd name="connsiteX10" fmla="*/ 3173 w 9771"/>
              <a:gd name="connsiteY10" fmla="*/ 7170 h 10000"/>
              <a:gd name="connsiteX11" fmla="*/ 2981 w 9771"/>
              <a:gd name="connsiteY11" fmla="*/ 6667 h 10000"/>
              <a:gd name="connsiteX12" fmla="*/ 2212 w 9771"/>
              <a:gd name="connsiteY12" fmla="*/ 6667 h 10000"/>
              <a:gd name="connsiteX13" fmla="*/ 2212 w 9771"/>
              <a:gd name="connsiteY13" fmla="*/ 6289 h 10000"/>
              <a:gd name="connsiteX14" fmla="*/ 1538 w 9771"/>
              <a:gd name="connsiteY14" fmla="*/ 6226 h 10000"/>
              <a:gd name="connsiteX15" fmla="*/ 1154 w 9771"/>
              <a:gd name="connsiteY15" fmla="*/ 6604 h 10000"/>
              <a:gd name="connsiteX16" fmla="*/ 577 w 9771"/>
              <a:gd name="connsiteY16" fmla="*/ 6352 h 10000"/>
              <a:gd name="connsiteX17" fmla="*/ 0 w 9771"/>
              <a:gd name="connsiteY17" fmla="*/ 6352 h 10000"/>
              <a:gd name="connsiteX18" fmla="*/ 1462 w 9771"/>
              <a:gd name="connsiteY18" fmla="*/ 5188 h 10000"/>
              <a:gd name="connsiteX19" fmla="*/ 1090 w 9771"/>
              <a:gd name="connsiteY19" fmla="*/ 5121 h 10000"/>
              <a:gd name="connsiteX20" fmla="*/ 789 w 9771"/>
              <a:gd name="connsiteY20" fmla="*/ 5057 h 10000"/>
              <a:gd name="connsiteX21" fmla="*/ 0 w 9771"/>
              <a:gd name="connsiteY21" fmla="*/ 4969 h 10000"/>
              <a:gd name="connsiteX22" fmla="*/ 865 w 9771"/>
              <a:gd name="connsiteY22" fmla="*/ 4214 h 10000"/>
              <a:gd name="connsiteX23" fmla="*/ 865 w 9771"/>
              <a:gd name="connsiteY23" fmla="*/ 3648 h 10000"/>
              <a:gd name="connsiteX24" fmla="*/ 1731 w 9771"/>
              <a:gd name="connsiteY24" fmla="*/ 3711 h 10000"/>
              <a:gd name="connsiteX25" fmla="*/ 1635 w 9771"/>
              <a:gd name="connsiteY25" fmla="*/ 2767 h 10000"/>
              <a:gd name="connsiteX26" fmla="*/ 962 w 9771"/>
              <a:gd name="connsiteY26" fmla="*/ 2579 h 10000"/>
              <a:gd name="connsiteX27" fmla="*/ 2019 w 9771"/>
              <a:gd name="connsiteY27" fmla="*/ 1761 h 10000"/>
              <a:gd name="connsiteX28" fmla="*/ 3269 w 9771"/>
              <a:gd name="connsiteY28" fmla="*/ 1824 h 10000"/>
              <a:gd name="connsiteX29" fmla="*/ 3269 w 9771"/>
              <a:gd name="connsiteY29" fmla="*/ 881 h 10000"/>
              <a:gd name="connsiteX30" fmla="*/ 3750 w 9771"/>
              <a:gd name="connsiteY30" fmla="*/ 0 h 10000"/>
              <a:gd name="connsiteX31" fmla="*/ 4327 w 9771"/>
              <a:gd name="connsiteY31" fmla="*/ 0 h 10000"/>
              <a:gd name="connsiteX32" fmla="*/ 4327 w 9771"/>
              <a:gd name="connsiteY32" fmla="*/ 440 h 10000"/>
              <a:gd name="connsiteX33" fmla="*/ 7692 w 9771"/>
              <a:gd name="connsiteY33" fmla="*/ 440 h 10000"/>
              <a:gd name="connsiteX34" fmla="*/ 4519 w 9771"/>
              <a:gd name="connsiteY34" fmla="*/ 2579 h 10000"/>
              <a:gd name="connsiteX35" fmla="*/ 5096 w 9771"/>
              <a:gd name="connsiteY35" fmla="*/ 2830 h 10000"/>
              <a:gd name="connsiteX36" fmla="*/ 9771 w 9771"/>
              <a:gd name="connsiteY36" fmla="*/ 2951 h 10000"/>
              <a:gd name="connsiteX37" fmla="*/ 7788 w 9771"/>
              <a:gd name="connsiteY37" fmla="*/ 5786 h 10000"/>
              <a:gd name="connsiteX38" fmla="*/ 5385 w 9771"/>
              <a:gd name="connsiteY38" fmla="*/ 5723 h 10000"/>
              <a:gd name="connsiteX39" fmla="*/ 5385 w 9771"/>
              <a:gd name="connsiteY39" fmla="*/ 6164 h 10000"/>
              <a:gd name="connsiteX40" fmla="*/ 6731 w 9771"/>
              <a:gd name="connsiteY40" fmla="*/ 6164 h 10000"/>
              <a:gd name="connsiteX41" fmla="*/ 7212 w 9771"/>
              <a:gd name="connsiteY41" fmla="*/ 6478 h 10000"/>
              <a:gd name="connsiteX42" fmla="*/ 4712 w 9771"/>
              <a:gd name="connsiteY42" fmla="*/ 6604 h 10000"/>
              <a:gd name="connsiteX43" fmla="*/ 4135 w 9771"/>
              <a:gd name="connsiteY43" fmla="*/ 6289 h 10000"/>
              <a:gd name="connsiteX44" fmla="*/ 4135 w 9771"/>
              <a:gd name="connsiteY44" fmla="*/ 6855 h 10000"/>
              <a:gd name="connsiteX45" fmla="*/ 4712 w 9771"/>
              <a:gd name="connsiteY45" fmla="*/ 7233 h 10000"/>
              <a:gd name="connsiteX46" fmla="*/ 7212 w 9771"/>
              <a:gd name="connsiteY46" fmla="*/ 7233 h 10000"/>
              <a:gd name="connsiteX47" fmla="*/ 7885 w 9771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5511 w 10000"/>
              <a:gd name="connsiteY38" fmla="*/ 5723 h 10000"/>
              <a:gd name="connsiteX39" fmla="*/ 5511 w 10000"/>
              <a:gd name="connsiteY39" fmla="*/ 6164 h 10000"/>
              <a:gd name="connsiteX40" fmla="*/ 6889 w 10000"/>
              <a:gd name="connsiteY40" fmla="*/ 6164 h 10000"/>
              <a:gd name="connsiteX41" fmla="*/ 7381 w 10000"/>
              <a:gd name="connsiteY41" fmla="*/ 6478 h 10000"/>
              <a:gd name="connsiteX42" fmla="*/ 4822 w 10000"/>
              <a:gd name="connsiteY42" fmla="*/ 6604 h 10000"/>
              <a:gd name="connsiteX43" fmla="*/ 4232 w 10000"/>
              <a:gd name="connsiteY43" fmla="*/ 6289 h 10000"/>
              <a:gd name="connsiteX44" fmla="*/ 4232 w 10000"/>
              <a:gd name="connsiteY44" fmla="*/ 6855 h 10000"/>
              <a:gd name="connsiteX45" fmla="*/ 4822 w 10000"/>
              <a:gd name="connsiteY45" fmla="*/ 7233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5511 w 10000"/>
              <a:gd name="connsiteY38" fmla="*/ 5723 h 10000"/>
              <a:gd name="connsiteX39" fmla="*/ 7747 w 10000"/>
              <a:gd name="connsiteY39" fmla="*/ 6344 h 10000"/>
              <a:gd name="connsiteX40" fmla="*/ 6889 w 10000"/>
              <a:gd name="connsiteY40" fmla="*/ 6164 h 10000"/>
              <a:gd name="connsiteX41" fmla="*/ 7381 w 10000"/>
              <a:gd name="connsiteY41" fmla="*/ 6478 h 10000"/>
              <a:gd name="connsiteX42" fmla="*/ 4822 w 10000"/>
              <a:gd name="connsiteY42" fmla="*/ 6604 h 10000"/>
              <a:gd name="connsiteX43" fmla="*/ 4232 w 10000"/>
              <a:gd name="connsiteY43" fmla="*/ 6289 h 10000"/>
              <a:gd name="connsiteX44" fmla="*/ 4232 w 10000"/>
              <a:gd name="connsiteY44" fmla="*/ 6855 h 10000"/>
              <a:gd name="connsiteX45" fmla="*/ 4822 w 10000"/>
              <a:gd name="connsiteY45" fmla="*/ 7233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7839 w 10000"/>
              <a:gd name="connsiteY38" fmla="*/ 6035 h 10000"/>
              <a:gd name="connsiteX39" fmla="*/ 7747 w 10000"/>
              <a:gd name="connsiteY39" fmla="*/ 6344 h 10000"/>
              <a:gd name="connsiteX40" fmla="*/ 6889 w 10000"/>
              <a:gd name="connsiteY40" fmla="*/ 6164 h 10000"/>
              <a:gd name="connsiteX41" fmla="*/ 7381 w 10000"/>
              <a:gd name="connsiteY41" fmla="*/ 6478 h 10000"/>
              <a:gd name="connsiteX42" fmla="*/ 4822 w 10000"/>
              <a:gd name="connsiteY42" fmla="*/ 6604 h 10000"/>
              <a:gd name="connsiteX43" fmla="*/ 4232 w 10000"/>
              <a:gd name="connsiteY43" fmla="*/ 6289 h 10000"/>
              <a:gd name="connsiteX44" fmla="*/ 4232 w 10000"/>
              <a:gd name="connsiteY44" fmla="*/ 6855 h 10000"/>
              <a:gd name="connsiteX45" fmla="*/ 4822 w 10000"/>
              <a:gd name="connsiteY45" fmla="*/ 7233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7839 w 10000"/>
              <a:gd name="connsiteY38" fmla="*/ 6035 h 10000"/>
              <a:gd name="connsiteX39" fmla="*/ 7747 w 10000"/>
              <a:gd name="connsiteY39" fmla="*/ 6344 h 10000"/>
              <a:gd name="connsiteX40" fmla="*/ 6889 w 10000"/>
              <a:gd name="connsiteY40" fmla="*/ 6164 h 10000"/>
              <a:gd name="connsiteX41" fmla="*/ 7381 w 10000"/>
              <a:gd name="connsiteY41" fmla="*/ 6478 h 10000"/>
              <a:gd name="connsiteX42" fmla="*/ 6138 w 10000"/>
              <a:gd name="connsiteY42" fmla="*/ 7028 h 10000"/>
              <a:gd name="connsiteX43" fmla="*/ 4232 w 10000"/>
              <a:gd name="connsiteY43" fmla="*/ 6289 h 10000"/>
              <a:gd name="connsiteX44" fmla="*/ 4232 w 10000"/>
              <a:gd name="connsiteY44" fmla="*/ 6855 h 10000"/>
              <a:gd name="connsiteX45" fmla="*/ 4822 w 10000"/>
              <a:gd name="connsiteY45" fmla="*/ 7233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7839 w 10000"/>
              <a:gd name="connsiteY38" fmla="*/ 6035 h 10000"/>
              <a:gd name="connsiteX39" fmla="*/ 7747 w 10000"/>
              <a:gd name="connsiteY39" fmla="*/ 6344 h 10000"/>
              <a:gd name="connsiteX40" fmla="*/ 6889 w 10000"/>
              <a:gd name="connsiteY40" fmla="*/ 6164 h 10000"/>
              <a:gd name="connsiteX41" fmla="*/ 7160 w 10000"/>
              <a:gd name="connsiteY41" fmla="*/ 6978 h 10000"/>
              <a:gd name="connsiteX42" fmla="*/ 6138 w 10000"/>
              <a:gd name="connsiteY42" fmla="*/ 7028 h 10000"/>
              <a:gd name="connsiteX43" fmla="*/ 4232 w 10000"/>
              <a:gd name="connsiteY43" fmla="*/ 6289 h 10000"/>
              <a:gd name="connsiteX44" fmla="*/ 4232 w 10000"/>
              <a:gd name="connsiteY44" fmla="*/ 6855 h 10000"/>
              <a:gd name="connsiteX45" fmla="*/ 4822 w 10000"/>
              <a:gd name="connsiteY45" fmla="*/ 7233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7839 w 10000"/>
              <a:gd name="connsiteY38" fmla="*/ 6035 h 10000"/>
              <a:gd name="connsiteX39" fmla="*/ 7747 w 10000"/>
              <a:gd name="connsiteY39" fmla="*/ 6344 h 10000"/>
              <a:gd name="connsiteX40" fmla="*/ 6889 w 10000"/>
              <a:gd name="connsiteY40" fmla="*/ 6164 h 10000"/>
              <a:gd name="connsiteX41" fmla="*/ 7160 w 10000"/>
              <a:gd name="connsiteY41" fmla="*/ 6978 h 10000"/>
              <a:gd name="connsiteX42" fmla="*/ 6138 w 10000"/>
              <a:gd name="connsiteY42" fmla="*/ 7028 h 10000"/>
              <a:gd name="connsiteX43" fmla="*/ 4232 w 10000"/>
              <a:gd name="connsiteY43" fmla="*/ 6289 h 10000"/>
              <a:gd name="connsiteX44" fmla="*/ 5554 w 10000"/>
              <a:gd name="connsiteY44" fmla="*/ 6993 h 10000"/>
              <a:gd name="connsiteX45" fmla="*/ 4822 w 10000"/>
              <a:gd name="connsiteY45" fmla="*/ 7233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7839 w 10000"/>
              <a:gd name="connsiteY38" fmla="*/ 6035 h 10000"/>
              <a:gd name="connsiteX39" fmla="*/ 7747 w 10000"/>
              <a:gd name="connsiteY39" fmla="*/ 6344 h 10000"/>
              <a:gd name="connsiteX40" fmla="*/ 6889 w 10000"/>
              <a:gd name="connsiteY40" fmla="*/ 6164 h 10000"/>
              <a:gd name="connsiteX41" fmla="*/ 7160 w 10000"/>
              <a:gd name="connsiteY41" fmla="*/ 6978 h 10000"/>
              <a:gd name="connsiteX42" fmla="*/ 6138 w 10000"/>
              <a:gd name="connsiteY42" fmla="*/ 7028 h 10000"/>
              <a:gd name="connsiteX43" fmla="*/ 5460 w 10000"/>
              <a:gd name="connsiteY43" fmla="*/ 6913 h 10000"/>
              <a:gd name="connsiteX44" fmla="*/ 5554 w 10000"/>
              <a:gd name="connsiteY44" fmla="*/ 6993 h 10000"/>
              <a:gd name="connsiteX45" fmla="*/ 4822 w 10000"/>
              <a:gd name="connsiteY45" fmla="*/ 7233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10000"/>
              <a:gd name="connsiteX1" fmla="*/ 4822 w 10000"/>
              <a:gd name="connsiteY1" fmla="*/ 9686 h 10000"/>
              <a:gd name="connsiteX2" fmla="*/ 2559 w 10000"/>
              <a:gd name="connsiteY2" fmla="*/ 9686 h 10000"/>
              <a:gd name="connsiteX3" fmla="*/ 1968 w 10000"/>
              <a:gd name="connsiteY3" fmla="*/ 9434 h 10000"/>
              <a:gd name="connsiteX4" fmla="*/ 1673 w 10000"/>
              <a:gd name="connsiteY4" fmla="*/ 10000 h 10000"/>
              <a:gd name="connsiteX5" fmla="*/ 787 w 10000"/>
              <a:gd name="connsiteY5" fmla="*/ 9497 h 10000"/>
              <a:gd name="connsiteX6" fmla="*/ 787 w 10000"/>
              <a:gd name="connsiteY6" fmla="*/ 8931 h 10000"/>
              <a:gd name="connsiteX7" fmla="*/ 2264 w 10000"/>
              <a:gd name="connsiteY7" fmla="*/ 8050 h 10000"/>
              <a:gd name="connsiteX8" fmla="*/ 1673 w 10000"/>
              <a:gd name="connsiteY8" fmla="*/ 7547 h 10000"/>
              <a:gd name="connsiteX9" fmla="*/ 2264 w 10000"/>
              <a:gd name="connsiteY9" fmla="*/ 7107 h 10000"/>
              <a:gd name="connsiteX10" fmla="*/ 3247 w 10000"/>
              <a:gd name="connsiteY10" fmla="*/ 7170 h 10000"/>
              <a:gd name="connsiteX11" fmla="*/ 3051 w 10000"/>
              <a:gd name="connsiteY11" fmla="*/ 6667 h 10000"/>
              <a:gd name="connsiteX12" fmla="*/ 2264 w 10000"/>
              <a:gd name="connsiteY12" fmla="*/ 6667 h 10000"/>
              <a:gd name="connsiteX13" fmla="*/ 2264 w 10000"/>
              <a:gd name="connsiteY13" fmla="*/ 6289 h 10000"/>
              <a:gd name="connsiteX14" fmla="*/ 1574 w 10000"/>
              <a:gd name="connsiteY14" fmla="*/ 6226 h 10000"/>
              <a:gd name="connsiteX15" fmla="*/ 1181 w 10000"/>
              <a:gd name="connsiteY15" fmla="*/ 6604 h 10000"/>
              <a:gd name="connsiteX16" fmla="*/ 591 w 10000"/>
              <a:gd name="connsiteY16" fmla="*/ 6352 h 10000"/>
              <a:gd name="connsiteX17" fmla="*/ 0 w 10000"/>
              <a:gd name="connsiteY17" fmla="*/ 6352 h 10000"/>
              <a:gd name="connsiteX18" fmla="*/ 1496 w 10000"/>
              <a:gd name="connsiteY18" fmla="*/ 5188 h 10000"/>
              <a:gd name="connsiteX19" fmla="*/ 1116 w 10000"/>
              <a:gd name="connsiteY19" fmla="*/ 5121 h 10000"/>
              <a:gd name="connsiteX20" fmla="*/ 807 w 10000"/>
              <a:gd name="connsiteY20" fmla="*/ 5057 h 10000"/>
              <a:gd name="connsiteX21" fmla="*/ 0 w 10000"/>
              <a:gd name="connsiteY21" fmla="*/ 4969 h 10000"/>
              <a:gd name="connsiteX22" fmla="*/ 885 w 10000"/>
              <a:gd name="connsiteY22" fmla="*/ 4214 h 10000"/>
              <a:gd name="connsiteX23" fmla="*/ 885 w 10000"/>
              <a:gd name="connsiteY23" fmla="*/ 3648 h 10000"/>
              <a:gd name="connsiteX24" fmla="*/ 1772 w 10000"/>
              <a:gd name="connsiteY24" fmla="*/ 3711 h 10000"/>
              <a:gd name="connsiteX25" fmla="*/ 1673 w 10000"/>
              <a:gd name="connsiteY25" fmla="*/ 2767 h 10000"/>
              <a:gd name="connsiteX26" fmla="*/ 985 w 10000"/>
              <a:gd name="connsiteY26" fmla="*/ 2579 h 10000"/>
              <a:gd name="connsiteX27" fmla="*/ 2066 w 10000"/>
              <a:gd name="connsiteY27" fmla="*/ 1761 h 10000"/>
              <a:gd name="connsiteX28" fmla="*/ 3346 w 10000"/>
              <a:gd name="connsiteY28" fmla="*/ 1824 h 10000"/>
              <a:gd name="connsiteX29" fmla="*/ 3346 w 10000"/>
              <a:gd name="connsiteY29" fmla="*/ 881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0 h 10000"/>
              <a:gd name="connsiteX33" fmla="*/ 7872 w 10000"/>
              <a:gd name="connsiteY33" fmla="*/ 440 h 10000"/>
              <a:gd name="connsiteX34" fmla="*/ 4625 w 10000"/>
              <a:gd name="connsiteY34" fmla="*/ 2579 h 10000"/>
              <a:gd name="connsiteX35" fmla="*/ 5215 w 10000"/>
              <a:gd name="connsiteY35" fmla="*/ 2830 h 10000"/>
              <a:gd name="connsiteX36" fmla="*/ 10000 w 10000"/>
              <a:gd name="connsiteY36" fmla="*/ 2951 h 10000"/>
              <a:gd name="connsiteX37" fmla="*/ 7971 w 10000"/>
              <a:gd name="connsiteY37" fmla="*/ 5786 h 10000"/>
              <a:gd name="connsiteX38" fmla="*/ 7839 w 10000"/>
              <a:gd name="connsiteY38" fmla="*/ 6035 h 10000"/>
              <a:gd name="connsiteX39" fmla="*/ 7747 w 10000"/>
              <a:gd name="connsiteY39" fmla="*/ 6344 h 10000"/>
              <a:gd name="connsiteX40" fmla="*/ 6889 w 10000"/>
              <a:gd name="connsiteY40" fmla="*/ 6164 h 10000"/>
              <a:gd name="connsiteX41" fmla="*/ 7160 w 10000"/>
              <a:gd name="connsiteY41" fmla="*/ 6978 h 10000"/>
              <a:gd name="connsiteX42" fmla="*/ 6138 w 10000"/>
              <a:gd name="connsiteY42" fmla="*/ 7028 h 10000"/>
              <a:gd name="connsiteX43" fmla="*/ 5460 w 10000"/>
              <a:gd name="connsiteY43" fmla="*/ 6913 h 10000"/>
              <a:gd name="connsiteX44" fmla="*/ 5554 w 10000"/>
              <a:gd name="connsiteY44" fmla="*/ 6993 h 10000"/>
              <a:gd name="connsiteX45" fmla="*/ 5401 w 10000"/>
              <a:gd name="connsiteY45" fmla="*/ 7216 h 10000"/>
              <a:gd name="connsiteX46" fmla="*/ 7381 w 10000"/>
              <a:gd name="connsiteY46" fmla="*/ 7233 h 10000"/>
              <a:gd name="connsiteX47" fmla="*/ 8070 w 10000"/>
              <a:gd name="connsiteY47" fmla="*/ 7610 h 10000"/>
              <a:gd name="connsiteX0" fmla="*/ 8070 w 10000"/>
              <a:gd name="connsiteY0" fmla="*/ 7610 h 9917"/>
              <a:gd name="connsiteX1" fmla="*/ 4822 w 10000"/>
              <a:gd name="connsiteY1" fmla="*/ 9686 h 9917"/>
              <a:gd name="connsiteX2" fmla="*/ 2559 w 10000"/>
              <a:gd name="connsiteY2" fmla="*/ 9686 h 9917"/>
              <a:gd name="connsiteX3" fmla="*/ 1968 w 10000"/>
              <a:gd name="connsiteY3" fmla="*/ 9434 h 9917"/>
              <a:gd name="connsiteX4" fmla="*/ 1139 w 10000"/>
              <a:gd name="connsiteY4" fmla="*/ 9917 h 9917"/>
              <a:gd name="connsiteX5" fmla="*/ 787 w 10000"/>
              <a:gd name="connsiteY5" fmla="*/ 9497 h 9917"/>
              <a:gd name="connsiteX6" fmla="*/ 787 w 10000"/>
              <a:gd name="connsiteY6" fmla="*/ 8931 h 9917"/>
              <a:gd name="connsiteX7" fmla="*/ 2264 w 10000"/>
              <a:gd name="connsiteY7" fmla="*/ 8050 h 9917"/>
              <a:gd name="connsiteX8" fmla="*/ 1673 w 10000"/>
              <a:gd name="connsiteY8" fmla="*/ 7547 h 9917"/>
              <a:gd name="connsiteX9" fmla="*/ 2264 w 10000"/>
              <a:gd name="connsiteY9" fmla="*/ 7107 h 9917"/>
              <a:gd name="connsiteX10" fmla="*/ 3247 w 10000"/>
              <a:gd name="connsiteY10" fmla="*/ 7170 h 9917"/>
              <a:gd name="connsiteX11" fmla="*/ 3051 w 10000"/>
              <a:gd name="connsiteY11" fmla="*/ 6667 h 9917"/>
              <a:gd name="connsiteX12" fmla="*/ 2264 w 10000"/>
              <a:gd name="connsiteY12" fmla="*/ 6667 h 9917"/>
              <a:gd name="connsiteX13" fmla="*/ 2264 w 10000"/>
              <a:gd name="connsiteY13" fmla="*/ 6289 h 9917"/>
              <a:gd name="connsiteX14" fmla="*/ 1574 w 10000"/>
              <a:gd name="connsiteY14" fmla="*/ 6226 h 9917"/>
              <a:gd name="connsiteX15" fmla="*/ 1181 w 10000"/>
              <a:gd name="connsiteY15" fmla="*/ 6604 h 9917"/>
              <a:gd name="connsiteX16" fmla="*/ 591 w 10000"/>
              <a:gd name="connsiteY16" fmla="*/ 6352 h 9917"/>
              <a:gd name="connsiteX17" fmla="*/ 0 w 10000"/>
              <a:gd name="connsiteY17" fmla="*/ 6352 h 9917"/>
              <a:gd name="connsiteX18" fmla="*/ 1496 w 10000"/>
              <a:gd name="connsiteY18" fmla="*/ 5188 h 9917"/>
              <a:gd name="connsiteX19" fmla="*/ 1116 w 10000"/>
              <a:gd name="connsiteY19" fmla="*/ 5121 h 9917"/>
              <a:gd name="connsiteX20" fmla="*/ 807 w 10000"/>
              <a:gd name="connsiteY20" fmla="*/ 5057 h 9917"/>
              <a:gd name="connsiteX21" fmla="*/ 0 w 10000"/>
              <a:gd name="connsiteY21" fmla="*/ 4969 h 9917"/>
              <a:gd name="connsiteX22" fmla="*/ 885 w 10000"/>
              <a:gd name="connsiteY22" fmla="*/ 4214 h 9917"/>
              <a:gd name="connsiteX23" fmla="*/ 885 w 10000"/>
              <a:gd name="connsiteY23" fmla="*/ 3648 h 9917"/>
              <a:gd name="connsiteX24" fmla="*/ 1772 w 10000"/>
              <a:gd name="connsiteY24" fmla="*/ 3711 h 9917"/>
              <a:gd name="connsiteX25" fmla="*/ 1673 w 10000"/>
              <a:gd name="connsiteY25" fmla="*/ 2767 h 9917"/>
              <a:gd name="connsiteX26" fmla="*/ 985 w 10000"/>
              <a:gd name="connsiteY26" fmla="*/ 2579 h 9917"/>
              <a:gd name="connsiteX27" fmla="*/ 2066 w 10000"/>
              <a:gd name="connsiteY27" fmla="*/ 1761 h 9917"/>
              <a:gd name="connsiteX28" fmla="*/ 3346 w 10000"/>
              <a:gd name="connsiteY28" fmla="*/ 1824 h 9917"/>
              <a:gd name="connsiteX29" fmla="*/ 3346 w 10000"/>
              <a:gd name="connsiteY29" fmla="*/ 881 h 9917"/>
              <a:gd name="connsiteX30" fmla="*/ 3838 w 10000"/>
              <a:gd name="connsiteY30" fmla="*/ 0 h 9917"/>
              <a:gd name="connsiteX31" fmla="*/ 4428 w 10000"/>
              <a:gd name="connsiteY31" fmla="*/ 0 h 9917"/>
              <a:gd name="connsiteX32" fmla="*/ 4428 w 10000"/>
              <a:gd name="connsiteY32" fmla="*/ 440 h 9917"/>
              <a:gd name="connsiteX33" fmla="*/ 7872 w 10000"/>
              <a:gd name="connsiteY33" fmla="*/ 440 h 9917"/>
              <a:gd name="connsiteX34" fmla="*/ 4625 w 10000"/>
              <a:gd name="connsiteY34" fmla="*/ 2579 h 9917"/>
              <a:gd name="connsiteX35" fmla="*/ 5215 w 10000"/>
              <a:gd name="connsiteY35" fmla="*/ 2830 h 9917"/>
              <a:gd name="connsiteX36" fmla="*/ 10000 w 10000"/>
              <a:gd name="connsiteY36" fmla="*/ 2951 h 9917"/>
              <a:gd name="connsiteX37" fmla="*/ 7971 w 10000"/>
              <a:gd name="connsiteY37" fmla="*/ 5786 h 9917"/>
              <a:gd name="connsiteX38" fmla="*/ 7839 w 10000"/>
              <a:gd name="connsiteY38" fmla="*/ 6035 h 9917"/>
              <a:gd name="connsiteX39" fmla="*/ 7747 w 10000"/>
              <a:gd name="connsiteY39" fmla="*/ 6344 h 9917"/>
              <a:gd name="connsiteX40" fmla="*/ 6889 w 10000"/>
              <a:gd name="connsiteY40" fmla="*/ 6164 h 9917"/>
              <a:gd name="connsiteX41" fmla="*/ 7160 w 10000"/>
              <a:gd name="connsiteY41" fmla="*/ 6978 h 9917"/>
              <a:gd name="connsiteX42" fmla="*/ 6138 w 10000"/>
              <a:gd name="connsiteY42" fmla="*/ 7028 h 9917"/>
              <a:gd name="connsiteX43" fmla="*/ 5460 w 10000"/>
              <a:gd name="connsiteY43" fmla="*/ 6913 h 9917"/>
              <a:gd name="connsiteX44" fmla="*/ 5554 w 10000"/>
              <a:gd name="connsiteY44" fmla="*/ 6993 h 9917"/>
              <a:gd name="connsiteX45" fmla="*/ 5401 w 10000"/>
              <a:gd name="connsiteY45" fmla="*/ 7216 h 9917"/>
              <a:gd name="connsiteX46" fmla="*/ 7381 w 10000"/>
              <a:gd name="connsiteY46" fmla="*/ 7233 h 9917"/>
              <a:gd name="connsiteX47" fmla="*/ 8070 w 10000"/>
              <a:gd name="connsiteY47" fmla="*/ 7610 h 9917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3051 w 10000"/>
              <a:gd name="connsiteY11" fmla="*/ 6723 h 10000"/>
              <a:gd name="connsiteX12" fmla="*/ 2264 w 10000"/>
              <a:gd name="connsiteY12" fmla="*/ 6723 h 10000"/>
              <a:gd name="connsiteX13" fmla="*/ 2264 w 10000"/>
              <a:gd name="connsiteY13" fmla="*/ 6342 h 10000"/>
              <a:gd name="connsiteX14" fmla="*/ 1574 w 10000"/>
              <a:gd name="connsiteY14" fmla="*/ 6278 h 10000"/>
              <a:gd name="connsiteX15" fmla="*/ 1181 w 10000"/>
              <a:gd name="connsiteY15" fmla="*/ 6659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4625 w 10000"/>
              <a:gd name="connsiteY34" fmla="*/ 2601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3051 w 10000"/>
              <a:gd name="connsiteY11" fmla="*/ 6723 h 10000"/>
              <a:gd name="connsiteX12" fmla="*/ 596 w 10000"/>
              <a:gd name="connsiteY12" fmla="*/ 8060 h 10000"/>
              <a:gd name="connsiteX13" fmla="*/ 2264 w 10000"/>
              <a:gd name="connsiteY13" fmla="*/ 6342 h 10000"/>
              <a:gd name="connsiteX14" fmla="*/ 1574 w 10000"/>
              <a:gd name="connsiteY14" fmla="*/ 6278 h 10000"/>
              <a:gd name="connsiteX15" fmla="*/ 1181 w 10000"/>
              <a:gd name="connsiteY15" fmla="*/ 6659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4625 w 10000"/>
              <a:gd name="connsiteY34" fmla="*/ 2601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3051 w 10000"/>
              <a:gd name="connsiteY11" fmla="*/ 6723 h 10000"/>
              <a:gd name="connsiteX12" fmla="*/ 596 w 10000"/>
              <a:gd name="connsiteY12" fmla="*/ 8060 h 10000"/>
              <a:gd name="connsiteX13" fmla="*/ 69 w 10000"/>
              <a:gd name="connsiteY13" fmla="*/ 8266 h 10000"/>
              <a:gd name="connsiteX14" fmla="*/ 1574 w 10000"/>
              <a:gd name="connsiteY14" fmla="*/ 6278 h 10000"/>
              <a:gd name="connsiteX15" fmla="*/ 1181 w 10000"/>
              <a:gd name="connsiteY15" fmla="*/ 6659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4625 w 10000"/>
              <a:gd name="connsiteY34" fmla="*/ 2601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3051 w 10000"/>
              <a:gd name="connsiteY11" fmla="*/ 6723 h 10000"/>
              <a:gd name="connsiteX12" fmla="*/ 596 w 10000"/>
              <a:gd name="connsiteY12" fmla="*/ 8060 h 10000"/>
              <a:gd name="connsiteX13" fmla="*/ 69 w 10000"/>
              <a:gd name="connsiteY13" fmla="*/ 8266 h 10000"/>
              <a:gd name="connsiteX14" fmla="*/ 301 w 10000"/>
              <a:gd name="connsiteY14" fmla="*/ 7331 h 10000"/>
              <a:gd name="connsiteX15" fmla="*/ 1181 w 10000"/>
              <a:gd name="connsiteY15" fmla="*/ 6659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4625 w 10000"/>
              <a:gd name="connsiteY34" fmla="*/ 2601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3051 w 10000"/>
              <a:gd name="connsiteY11" fmla="*/ 6723 h 10000"/>
              <a:gd name="connsiteX12" fmla="*/ 596 w 10000"/>
              <a:gd name="connsiteY12" fmla="*/ 8060 h 10000"/>
              <a:gd name="connsiteX13" fmla="*/ 69 w 10000"/>
              <a:gd name="connsiteY13" fmla="*/ 8266 h 10000"/>
              <a:gd name="connsiteX14" fmla="*/ 301 w 10000"/>
              <a:gd name="connsiteY14" fmla="*/ 7331 h 10000"/>
              <a:gd name="connsiteX15" fmla="*/ 802 w 10000"/>
              <a:gd name="connsiteY15" fmla="*/ 6701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4625 w 10000"/>
              <a:gd name="connsiteY34" fmla="*/ 2601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1711 w 10000"/>
              <a:gd name="connsiteY11" fmla="*/ 7448 h 10000"/>
              <a:gd name="connsiteX12" fmla="*/ 596 w 10000"/>
              <a:gd name="connsiteY12" fmla="*/ 8060 h 10000"/>
              <a:gd name="connsiteX13" fmla="*/ 69 w 10000"/>
              <a:gd name="connsiteY13" fmla="*/ 8266 h 10000"/>
              <a:gd name="connsiteX14" fmla="*/ 301 w 10000"/>
              <a:gd name="connsiteY14" fmla="*/ 7331 h 10000"/>
              <a:gd name="connsiteX15" fmla="*/ 802 w 10000"/>
              <a:gd name="connsiteY15" fmla="*/ 6701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4625 w 10000"/>
              <a:gd name="connsiteY34" fmla="*/ 2601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1711 w 10000"/>
              <a:gd name="connsiteY11" fmla="*/ 7448 h 10000"/>
              <a:gd name="connsiteX12" fmla="*/ 347 w 10000"/>
              <a:gd name="connsiteY12" fmla="*/ 8423 h 10000"/>
              <a:gd name="connsiteX13" fmla="*/ 69 w 10000"/>
              <a:gd name="connsiteY13" fmla="*/ 8266 h 10000"/>
              <a:gd name="connsiteX14" fmla="*/ 301 w 10000"/>
              <a:gd name="connsiteY14" fmla="*/ 7331 h 10000"/>
              <a:gd name="connsiteX15" fmla="*/ 802 w 10000"/>
              <a:gd name="connsiteY15" fmla="*/ 6701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4625 w 10000"/>
              <a:gd name="connsiteY34" fmla="*/ 2601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1711 w 10000"/>
              <a:gd name="connsiteY11" fmla="*/ 7448 h 10000"/>
              <a:gd name="connsiteX12" fmla="*/ 347 w 10000"/>
              <a:gd name="connsiteY12" fmla="*/ 8423 h 10000"/>
              <a:gd name="connsiteX13" fmla="*/ 69 w 10000"/>
              <a:gd name="connsiteY13" fmla="*/ 8266 h 10000"/>
              <a:gd name="connsiteX14" fmla="*/ 301 w 10000"/>
              <a:gd name="connsiteY14" fmla="*/ 7331 h 10000"/>
              <a:gd name="connsiteX15" fmla="*/ 802 w 10000"/>
              <a:gd name="connsiteY15" fmla="*/ 6701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7872 w 10000"/>
              <a:gd name="connsiteY33" fmla="*/ 444 h 10000"/>
              <a:gd name="connsiteX34" fmla="*/ 5115 w 10000"/>
              <a:gd name="connsiteY34" fmla="*/ 2786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1711 w 10000"/>
              <a:gd name="connsiteY11" fmla="*/ 7448 h 10000"/>
              <a:gd name="connsiteX12" fmla="*/ 347 w 10000"/>
              <a:gd name="connsiteY12" fmla="*/ 8423 h 10000"/>
              <a:gd name="connsiteX13" fmla="*/ 69 w 10000"/>
              <a:gd name="connsiteY13" fmla="*/ 8266 h 10000"/>
              <a:gd name="connsiteX14" fmla="*/ 301 w 10000"/>
              <a:gd name="connsiteY14" fmla="*/ 7331 h 10000"/>
              <a:gd name="connsiteX15" fmla="*/ 802 w 10000"/>
              <a:gd name="connsiteY15" fmla="*/ 6701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8659 w 10000"/>
              <a:gd name="connsiteY33" fmla="*/ 500 h 10000"/>
              <a:gd name="connsiteX34" fmla="*/ 5115 w 10000"/>
              <a:gd name="connsiteY34" fmla="*/ 2786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6889 w 10000"/>
              <a:gd name="connsiteY40" fmla="*/ 6216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000"/>
              <a:gd name="connsiteY0" fmla="*/ 7674 h 10000"/>
              <a:gd name="connsiteX1" fmla="*/ 4822 w 10000"/>
              <a:gd name="connsiteY1" fmla="*/ 9767 h 10000"/>
              <a:gd name="connsiteX2" fmla="*/ 2559 w 10000"/>
              <a:gd name="connsiteY2" fmla="*/ 9767 h 10000"/>
              <a:gd name="connsiteX3" fmla="*/ 1968 w 10000"/>
              <a:gd name="connsiteY3" fmla="*/ 9513 h 10000"/>
              <a:gd name="connsiteX4" fmla="*/ 1139 w 10000"/>
              <a:gd name="connsiteY4" fmla="*/ 10000 h 10000"/>
              <a:gd name="connsiteX5" fmla="*/ 787 w 10000"/>
              <a:gd name="connsiteY5" fmla="*/ 9576 h 10000"/>
              <a:gd name="connsiteX6" fmla="*/ 787 w 10000"/>
              <a:gd name="connsiteY6" fmla="*/ 9006 h 10000"/>
              <a:gd name="connsiteX7" fmla="*/ 2264 w 10000"/>
              <a:gd name="connsiteY7" fmla="*/ 8117 h 10000"/>
              <a:gd name="connsiteX8" fmla="*/ 1673 w 10000"/>
              <a:gd name="connsiteY8" fmla="*/ 7610 h 10000"/>
              <a:gd name="connsiteX9" fmla="*/ 2264 w 10000"/>
              <a:gd name="connsiteY9" fmla="*/ 7166 h 10000"/>
              <a:gd name="connsiteX10" fmla="*/ 1729 w 10000"/>
              <a:gd name="connsiteY10" fmla="*/ 7400 h 10000"/>
              <a:gd name="connsiteX11" fmla="*/ 1711 w 10000"/>
              <a:gd name="connsiteY11" fmla="*/ 7448 h 10000"/>
              <a:gd name="connsiteX12" fmla="*/ 347 w 10000"/>
              <a:gd name="connsiteY12" fmla="*/ 8423 h 10000"/>
              <a:gd name="connsiteX13" fmla="*/ 69 w 10000"/>
              <a:gd name="connsiteY13" fmla="*/ 8266 h 10000"/>
              <a:gd name="connsiteX14" fmla="*/ 301 w 10000"/>
              <a:gd name="connsiteY14" fmla="*/ 7331 h 10000"/>
              <a:gd name="connsiteX15" fmla="*/ 802 w 10000"/>
              <a:gd name="connsiteY15" fmla="*/ 6701 h 10000"/>
              <a:gd name="connsiteX16" fmla="*/ 591 w 10000"/>
              <a:gd name="connsiteY16" fmla="*/ 6405 h 10000"/>
              <a:gd name="connsiteX17" fmla="*/ 0 w 10000"/>
              <a:gd name="connsiteY17" fmla="*/ 6405 h 10000"/>
              <a:gd name="connsiteX18" fmla="*/ 1496 w 10000"/>
              <a:gd name="connsiteY18" fmla="*/ 5231 h 10000"/>
              <a:gd name="connsiteX19" fmla="*/ 1116 w 10000"/>
              <a:gd name="connsiteY19" fmla="*/ 5164 h 10000"/>
              <a:gd name="connsiteX20" fmla="*/ 807 w 10000"/>
              <a:gd name="connsiteY20" fmla="*/ 5099 h 10000"/>
              <a:gd name="connsiteX21" fmla="*/ 0 w 10000"/>
              <a:gd name="connsiteY21" fmla="*/ 5011 h 10000"/>
              <a:gd name="connsiteX22" fmla="*/ 885 w 10000"/>
              <a:gd name="connsiteY22" fmla="*/ 4249 h 10000"/>
              <a:gd name="connsiteX23" fmla="*/ 885 w 10000"/>
              <a:gd name="connsiteY23" fmla="*/ 3679 h 10000"/>
              <a:gd name="connsiteX24" fmla="*/ 1772 w 10000"/>
              <a:gd name="connsiteY24" fmla="*/ 3742 h 10000"/>
              <a:gd name="connsiteX25" fmla="*/ 1673 w 10000"/>
              <a:gd name="connsiteY25" fmla="*/ 2790 h 10000"/>
              <a:gd name="connsiteX26" fmla="*/ 985 w 10000"/>
              <a:gd name="connsiteY26" fmla="*/ 2601 h 10000"/>
              <a:gd name="connsiteX27" fmla="*/ 2066 w 10000"/>
              <a:gd name="connsiteY27" fmla="*/ 1776 h 10000"/>
              <a:gd name="connsiteX28" fmla="*/ 3346 w 10000"/>
              <a:gd name="connsiteY28" fmla="*/ 1839 h 10000"/>
              <a:gd name="connsiteX29" fmla="*/ 3346 w 10000"/>
              <a:gd name="connsiteY29" fmla="*/ 888 h 10000"/>
              <a:gd name="connsiteX30" fmla="*/ 3838 w 10000"/>
              <a:gd name="connsiteY30" fmla="*/ 0 h 10000"/>
              <a:gd name="connsiteX31" fmla="*/ 4428 w 10000"/>
              <a:gd name="connsiteY31" fmla="*/ 0 h 10000"/>
              <a:gd name="connsiteX32" fmla="*/ 4428 w 10000"/>
              <a:gd name="connsiteY32" fmla="*/ 444 h 10000"/>
              <a:gd name="connsiteX33" fmla="*/ 8659 w 10000"/>
              <a:gd name="connsiteY33" fmla="*/ 500 h 10000"/>
              <a:gd name="connsiteX34" fmla="*/ 5115 w 10000"/>
              <a:gd name="connsiteY34" fmla="*/ 2786 h 10000"/>
              <a:gd name="connsiteX35" fmla="*/ 5215 w 10000"/>
              <a:gd name="connsiteY35" fmla="*/ 2854 h 10000"/>
              <a:gd name="connsiteX36" fmla="*/ 10000 w 10000"/>
              <a:gd name="connsiteY36" fmla="*/ 2976 h 10000"/>
              <a:gd name="connsiteX37" fmla="*/ 7971 w 10000"/>
              <a:gd name="connsiteY37" fmla="*/ 5834 h 10000"/>
              <a:gd name="connsiteX38" fmla="*/ 7839 w 10000"/>
              <a:gd name="connsiteY38" fmla="*/ 6086 h 10000"/>
              <a:gd name="connsiteX39" fmla="*/ 7747 w 10000"/>
              <a:gd name="connsiteY39" fmla="*/ 6397 h 10000"/>
              <a:gd name="connsiteX40" fmla="*/ 7475 w 10000"/>
              <a:gd name="connsiteY40" fmla="*/ 6870 h 10000"/>
              <a:gd name="connsiteX41" fmla="*/ 7160 w 10000"/>
              <a:gd name="connsiteY41" fmla="*/ 7036 h 10000"/>
              <a:gd name="connsiteX42" fmla="*/ 6138 w 10000"/>
              <a:gd name="connsiteY42" fmla="*/ 7087 h 10000"/>
              <a:gd name="connsiteX43" fmla="*/ 5460 w 10000"/>
              <a:gd name="connsiteY43" fmla="*/ 6971 h 10000"/>
              <a:gd name="connsiteX44" fmla="*/ 5554 w 10000"/>
              <a:gd name="connsiteY44" fmla="*/ 7052 h 10000"/>
              <a:gd name="connsiteX45" fmla="*/ 5401 w 10000"/>
              <a:gd name="connsiteY45" fmla="*/ 7276 h 10000"/>
              <a:gd name="connsiteX46" fmla="*/ 7381 w 10000"/>
              <a:gd name="connsiteY46" fmla="*/ 7294 h 10000"/>
              <a:gd name="connsiteX47" fmla="*/ 8070 w 10000"/>
              <a:gd name="connsiteY47" fmla="*/ 7674 h 10000"/>
              <a:gd name="connsiteX0" fmla="*/ 8070 w 10155"/>
              <a:gd name="connsiteY0" fmla="*/ 7674 h 10000"/>
              <a:gd name="connsiteX1" fmla="*/ 4822 w 10155"/>
              <a:gd name="connsiteY1" fmla="*/ 9767 h 10000"/>
              <a:gd name="connsiteX2" fmla="*/ 2559 w 10155"/>
              <a:gd name="connsiteY2" fmla="*/ 9767 h 10000"/>
              <a:gd name="connsiteX3" fmla="*/ 1968 w 10155"/>
              <a:gd name="connsiteY3" fmla="*/ 9513 h 10000"/>
              <a:gd name="connsiteX4" fmla="*/ 1139 w 10155"/>
              <a:gd name="connsiteY4" fmla="*/ 10000 h 10000"/>
              <a:gd name="connsiteX5" fmla="*/ 787 w 10155"/>
              <a:gd name="connsiteY5" fmla="*/ 9576 h 10000"/>
              <a:gd name="connsiteX6" fmla="*/ 787 w 10155"/>
              <a:gd name="connsiteY6" fmla="*/ 9006 h 10000"/>
              <a:gd name="connsiteX7" fmla="*/ 2264 w 10155"/>
              <a:gd name="connsiteY7" fmla="*/ 8117 h 10000"/>
              <a:gd name="connsiteX8" fmla="*/ 1673 w 10155"/>
              <a:gd name="connsiteY8" fmla="*/ 7610 h 10000"/>
              <a:gd name="connsiteX9" fmla="*/ 2264 w 10155"/>
              <a:gd name="connsiteY9" fmla="*/ 7166 h 10000"/>
              <a:gd name="connsiteX10" fmla="*/ 1729 w 10155"/>
              <a:gd name="connsiteY10" fmla="*/ 7400 h 10000"/>
              <a:gd name="connsiteX11" fmla="*/ 1711 w 10155"/>
              <a:gd name="connsiteY11" fmla="*/ 7448 h 10000"/>
              <a:gd name="connsiteX12" fmla="*/ 347 w 10155"/>
              <a:gd name="connsiteY12" fmla="*/ 8423 h 10000"/>
              <a:gd name="connsiteX13" fmla="*/ 69 w 10155"/>
              <a:gd name="connsiteY13" fmla="*/ 8266 h 10000"/>
              <a:gd name="connsiteX14" fmla="*/ 301 w 10155"/>
              <a:gd name="connsiteY14" fmla="*/ 7331 h 10000"/>
              <a:gd name="connsiteX15" fmla="*/ 802 w 10155"/>
              <a:gd name="connsiteY15" fmla="*/ 6701 h 10000"/>
              <a:gd name="connsiteX16" fmla="*/ 591 w 10155"/>
              <a:gd name="connsiteY16" fmla="*/ 6405 h 10000"/>
              <a:gd name="connsiteX17" fmla="*/ 0 w 10155"/>
              <a:gd name="connsiteY17" fmla="*/ 6405 h 10000"/>
              <a:gd name="connsiteX18" fmla="*/ 1496 w 10155"/>
              <a:gd name="connsiteY18" fmla="*/ 5231 h 10000"/>
              <a:gd name="connsiteX19" fmla="*/ 1116 w 10155"/>
              <a:gd name="connsiteY19" fmla="*/ 5164 h 10000"/>
              <a:gd name="connsiteX20" fmla="*/ 807 w 10155"/>
              <a:gd name="connsiteY20" fmla="*/ 5099 h 10000"/>
              <a:gd name="connsiteX21" fmla="*/ 0 w 10155"/>
              <a:gd name="connsiteY21" fmla="*/ 5011 h 10000"/>
              <a:gd name="connsiteX22" fmla="*/ 885 w 10155"/>
              <a:gd name="connsiteY22" fmla="*/ 4249 h 10000"/>
              <a:gd name="connsiteX23" fmla="*/ 885 w 10155"/>
              <a:gd name="connsiteY23" fmla="*/ 3679 h 10000"/>
              <a:gd name="connsiteX24" fmla="*/ 1772 w 10155"/>
              <a:gd name="connsiteY24" fmla="*/ 3742 h 10000"/>
              <a:gd name="connsiteX25" fmla="*/ 1673 w 10155"/>
              <a:gd name="connsiteY25" fmla="*/ 2790 h 10000"/>
              <a:gd name="connsiteX26" fmla="*/ 985 w 10155"/>
              <a:gd name="connsiteY26" fmla="*/ 2601 h 10000"/>
              <a:gd name="connsiteX27" fmla="*/ 2066 w 10155"/>
              <a:gd name="connsiteY27" fmla="*/ 1776 h 10000"/>
              <a:gd name="connsiteX28" fmla="*/ 3346 w 10155"/>
              <a:gd name="connsiteY28" fmla="*/ 1839 h 10000"/>
              <a:gd name="connsiteX29" fmla="*/ 3346 w 10155"/>
              <a:gd name="connsiteY29" fmla="*/ 888 h 10000"/>
              <a:gd name="connsiteX30" fmla="*/ 3838 w 10155"/>
              <a:gd name="connsiteY30" fmla="*/ 0 h 10000"/>
              <a:gd name="connsiteX31" fmla="*/ 4428 w 10155"/>
              <a:gd name="connsiteY31" fmla="*/ 0 h 10000"/>
              <a:gd name="connsiteX32" fmla="*/ 4428 w 10155"/>
              <a:gd name="connsiteY32" fmla="*/ 444 h 10000"/>
              <a:gd name="connsiteX33" fmla="*/ 8659 w 10155"/>
              <a:gd name="connsiteY33" fmla="*/ 500 h 10000"/>
              <a:gd name="connsiteX34" fmla="*/ 5115 w 10155"/>
              <a:gd name="connsiteY34" fmla="*/ 2786 h 10000"/>
              <a:gd name="connsiteX35" fmla="*/ 5215 w 10155"/>
              <a:gd name="connsiteY35" fmla="*/ 2854 h 10000"/>
              <a:gd name="connsiteX36" fmla="*/ 10155 w 10155"/>
              <a:gd name="connsiteY36" fmla="*/ 3102 h 10000"/>
              <a:gd name="connsiteX37" fmla="*/ 7971 w 10155"/>
              <a:gd name="connsiteY37" fmla="*/ 5834 h 10000"/>
              <a:gd name="connsiteX38" fmla="*/ 7839 w 10155"/>
              <a:gd name="connsiteY38" fmla="*/ 6086 h 10000"/>
              <a:gd name="connsiteX39" fmla="*/ 7747 w 10155"/>
              <a:gd name="connsiteY39" fmla="*/ 6397 h 10000"/>
              <a:gd name="connsiteX40" fmla="*/ 7475 w 10155"/>
              <a:gd name="connsiteY40" fmla="*/ 6870 h 10000"/>
              <a:gd name="connsiteX41" fmla="*/ 7160 w 10155"/>
              <a:gd name="connsiteY41" fmla="*/ 7036 h 10000"/>
              <a:gd name="connsiteX42" fmla="*/ 6138 w 10155"/>
              <a:gd name="connsiteY42" fmla="*/ 7087 h 10000"/>
              <a:gd name="connsiteX43" fmla="*/ 5460 w 10155"/>
              <a:gd name="connsiteY43" fmla="*/ 6971 h 10000"/>
              <a:gd name="connsiteX44" fmla="*/ 5554 w 10155"/>
              <a:gd name="connsiteY44" fmla="*/ 7052 h 10000"/>
              <a:gd name="connsiteX45" fmla="*/ 5401 w 10155"/>
              <a:gd name="connsiteY45" fmla="*/ 7276 h 10000"/>
              <a:gd name="connsiteX46" fmla="*/ 7381 w 10155"/>
              <a:gd name="connsiteY46" fmla="*/ 7294 h 10000"/>
              <a:gd name="connsiteX47" fmla="*/ 8070 w 10155"/>
              <a:gd name="connsiteY47" fmla="*/ 7674 h 10000"/>
              <a:gd name="connsiteX0" fmla="*/ 8070 w 10155"/>
              <a:gd name="connsiteY0" fmla="*/ 7674 h 10000"/>
              <a:gd name="connsiteX1" fmla="*/ 4822 w 10155"/>
              <a:gd name="connsiteY1" fmla="*/ 9767 h 10000"/>
              <a:gd name="connsiteX2" fmla="*/ 2559 w 10155"/>
              <a:gd name="connsiteY2" fmla="*/ 9767 h 10000"/>
              <a:gd name="connsiteX3" fmla="*/ 1968 w 10155"/>
              <a:gd name="connsiteY3" fmla="*/ 9513 h 10000"/>
              <a:gd name="connsiteX4" fmla="*/ 1139 w 10155"/>
              <a:gd name="connsiteY4" fmla="*/ 10000 h 10000"/>
              <a:gd name="connsiteX5" fmla="*/ 787 w 10155"/>
              <a:gd name="connsiteY5" fmla="*/ 9576 h 10000"/>
              <a:gd name="connsiteX6" fmla="*/ 787 w 10155"/>
              <a:gd name="connsiteY6" fmla="*/ 9006 h 10000"/>
              <a:gd name="connsiteX7" fmla="*/ 2264 w 10155"/>
              <a:gd name="connsiteY7" fmla="*/ 8117 h 10000"/>
              <a:gd name="connsiteX8" fmla="*/ 1673 w 10155"/>
              <a:gd name="connsiteY8" fmla="*/ 7610 h 10000"/>
              <a:gd name="connsiteX9" fmla="*/ 2264 w 10155"/>
              <a:gd name="connsiteY9" fmla="*/ 7166 h 10000"/>
              <a:gd name="connsiteX10" fmla="*/ 1729 w 10155"/>
              <a:gd name="connsiteY10" fmla="*/ 7400 h 10000"/>
              <a:gd name="connsiteX11" fmla="*/ 1711 w 10155"/>
              <a:gd name="connsiteY11" fmla="*/ 7448 h 10000"/>
              <a:gd name="connsiteX12" fmla="*/ 347 w 10155"/>
              <a:gd name="connsiteY12" fmla="*/ 8423 h 10000"/>
              <a:gd name="connsiteX13" fmla="*/ 69 w 10155"/>
              <a:gd name="connsiteY13" fmla="*/ 8266 h 10000"/>
              <a:gd name="connsiteX14" fmla="*/ 301 w 10155"/>
              <a:gd name="connsiteY14" fmla="*/ 7331 h 10000"/>
              <a:gd name="connsiteX15" fmla="*/ 802 w 10155"/>
              <a:gd name="connsiteY15" fmla="*/ 6701 h 10000"/>
              <a:gd name="connsiteX16" fmla="*/ 591 w 10155"/>
              <a:gd name="connsiteY16" fmla="*/ 6405 h 10000"/>
              <a:gd name="connsiteX17" fmla="*/ 0 w 10155"/>
              <a:gd name="connsiteY17" fmla="*/ 6405 h 10000"/>
              <a:gd name="connsiteX18" fmla="*/ 1496 w 10155"/>
              <a:gd name="connsiteY18" fmla="*/ 5231 h 10000"/>
              <a:gd name="connsiteX19" fmla="*/ 1116 w 10155"/>
              <a:gd name="connsiteY19" fmla="*/ 5164 h 10000"/>
              <a:gd name="connsiteX20" fmla="*/ 807 w 10155"/>
              <a:gd name="connsiteY20" fmla="*/ 5099 h 10000"/>
              <a:gd name="connsiteX21" fmla="*/ 0 w 10155"/>
              <a:gd name="connsiteY21" fmla="*/ 5011 h 10000"/>
              <a:gd name="connsiteX22" fmla="*/ 885 w 10155"/>
              <a:gd name="connsiteY22" fmla="*/ 4249 h 10000"/>
              <a:gd name="connsiteX23" fmla="*/ 885 w 10155"/>
              <a:gd name="connsiteY23" fmla="*/ 3679 h 10000"/>
              <a:gd name="connsiteX24" fmla="*/ 1772 w 10155"/>
              <a:gd name="connsiteY24" fmla="*/ 3742 h 10000"/>
              <a:gd name="connsiteX25" fmla="*/ 1673 w 10155"/>
              <a:gd name="connsiteY25" fmla="*/ 2790 h 10000"/>
              <a:gd name="connsiteX26" fmla="*/ 985 w 10155"/>
              <a:gd name="connsiteY26" fmla="*/ 2601 h 10000"/>
              <a:gd name="connsiteX27" fmla="*/ 2066 w 10155"/>
              <a:gd name="connsiteY27" fmla="*/ 1776 h 10000"/>
              <a:gd name="connsiteX28" fmla="*/ 3346 w 10155"/>
              <a:gd name="connsiteY28" fmla="*/ 1839 h 10000"/>
              <a:gd name="connsiteX29" fmla="*/ 3346 w 10155"/>
              <a:gd name="connsiteY29" fmla="*/ 888 h 10000"/>
              <a:gd name="connsiteX30" fmla="*/ 3838 w 10155"/>
              <a:gd name="connsiteY30" fmla="*/ 0 h 10000"/>
              <a:gd name="connsiteX31" fmla="*/ 4428 w 10155"/>
              <a:gd name="connsiteY31" fmla="*/ 0 h 10000"/>
              <a:gd name="connsiteX32" fmla="*/ 4428 w 10155"/>
              <a:gd name="connsiteY32" fmla="*/ 444 h 10000"/>
              <a:gd name="connsiteX33" fmla="*/ 8659 w 10155"/>
              <a:gd name="connsiteY33" fmla="*/ 500 h 10000"/>
              <a:gd name="connsiteX34" fmla="*/ 5115 w 10155"/>
              <a:gd name="connsiteY34" fmla="*/ 2786 h 10000"/>
              <a:gd name="connsiteX35" fmla="*/ 5215 w 10155"/>
              <a:gd name="connsiteY35" fmla="*/ 2854 h 10000"/>
              <a:gd name="connsiteX36" fmla="*/ 10155 w 10155"/>
              <a:gd name="connsiteY36" fmla="*/ 3102 h 10000"/>
              <a:gd name="connsiteX37" fmla="*/ 7971 w 10155"/>
              <a:gd name="connsiteY37" fmla="*/ 5834 h 10000"/>
              <a:gd name="connsiteX38" fmla="*/ 7839 w 10155"/>
              <a:gd name="connsiteY38" fmla="*/ 6086 h 10000"/>
              <a:gd name="connsiteX39" fmla="*/ 7747 w 10155"/>
              <a:gd name="connsiteY39" fmla="*/ 6397 h 10000"/>
              <a:gd name="connsiteX40" fmla="*/ 7475 w 10155"/>
              <a:gd name="connsiteY40" fmla="*/ 6870 h 10000"/>
              <a:gd name="connsiteX41" fmla="*/ 7160 w 10155"/>
              <a:gd name="connsiteY41" fmla="*/ 7036 h 10000"/>
              <a:gd name="connsiteX42" fmla="*/ 6138 w 10155"/>
              <a:gd name="connsiteY42" fmla="*/ 7087 h 10000"/>
              <a:gd name="connsiteX43" fmla="*/ 5460 w 10155"/>
              <a:gd name="connsiteY43" fmla="*/ 6971 h 10000"/>
              <a:gd name="connsiteX44" fmla="*/ 5554 w 10155"/>
              <a:gd name="connsiteY44" fmla="*/ 7052 h 10000"/>
              <a:gd name="connsiteX45" fmla="*/ 5401 w 10155"/>
              <a:gd name="connsiteY45" fmla="*/ 7276 h 10000"/>
              <a:gd name="connsiteX46" fmla="*/ 7381 w 10155"/>
              <a:gd name="connsiteY46" fmla="*/ 7294 h 10000"/>
              <a:gd name="connsiteX47" fmla="*/ 8070 w 10155"/>
              <a:gd name="connsiteY47" fmla="*/ 7674 h 10000"/>
              <a:gd name="connsiteX0" fmla="*/ 8070 w 10155"/>
              <a:gd name="connsiteY0" fmla="*/ 7674 h 10000"/>
              <a:gd name="connsiteX1" fmla="*/ 4822 w 10155"/>
              <a:gd name="connsiteY1" fmla="*/ 9767 h 10000"/>
              <a:gd name="connsiteX2" fmla="*/ 2559 w 10155"/>
              <a:gd name="connsiteY2" fmla="*/ 9767 h 10000"/>
              <a:gd name="connsiteX3" fmla="*/ 1968 w 10155"/>
              <a:gd name="connsiteY3" fmla="*/ 9513 h 10000"/>
              <a:gd name="connsiteX4" fmla="*/ 1139 w 10155"/>
              <a:gd name="connsiteY4" fmla="*/ 10000 h 10000"/>
              <a:gd name="connsiteX5" fmla="*/ 787 w 10155"/>
              <a:gd name="connsiteY5" fmla="*/ 9576 h 10000"/>
              <a:gd name="connsiteX6" fmla="*/ 787 w 10155"/>
              <a:gd name="connsiteY6" fmla="*/ 9006 h 10000"/>
              <a:gd name="connsiteX7" fmla="*/ 2264 w 10155"/>
              <a:gd name="connsiteY7" fmla="*/ 8117 h 10000"/>
              <a:gd name="connsiteX8" fmla="*/ 1673 w 10155"/>
              <a:gd name="connsiteY8" fmla="*/ 7610 h 10000"/>
              <a:gd name="connsiteX9" fmla="*/ 2264 w 10155"/>
              <a:gd name="connsiteY9" fmla="*/ 7166 h 10000"/>
              <a:gd name="connsiteX10" fmla="*/ 1729 w 10155"/>
              <a:gd name="connsiteY10" fmla="*/ 7400 h 10000"/>
              <a:gd name="connsiteX11" fmla="*/ 1711 w 10155"/>
              <a:gd name="connsiteY11" fmla="*/ 7448 h 10000"/>
              <a:gd name="connsiteX12" fmla="*/ 347 w 10155"/>
              <a:gd name="connsiteY12" fmla="*/ 8423 h 10000"/>
              <a:gd name="connsiteX13" fmla="*/ 69 w 10155"/>
              <a:gd name="connsiteY13" fmla="*/ 8266 h 10000"/>
              <a:gd name="connsiteX14" fmla="*/ 301 w 10155"/>
              <a:gd name="connsiteY14" fmla="*/ 7331 h 10000"/>
              <a:gd name="connsiteX15" fmla="*/ 802 w 10155"/>
              <a:gd name="connsiteY15" fmla="*/ 6701 h 10000"/>
              <a:gd name="connsiteX16" fmla="*/ 591 w 10155"/>
              <a:gd name="connsiteY16" fmla="*/ 6405 h 10000"/>
              <a:gd name="connsiteX17" fmla="*/ 0 w 10155"/>
              <a:gd name="connsiteY17" fmla="*/ 6405 h 10000"/>
              <a:gd name="connsiteX18" fmla="*/ 1496 w 10155"/>
              <a:gd name="connsiteY18" fmla="*/ 5231 h 10000"/>
              <a:gd name="connsiteX19" fmla="*/ 1116 w 10155"/>
              <a:gd name="connsiteY19" fmla="*/ 5164 h 10000"/>
              <a:gd name="connsiteX20" fmla="*/ 646 w 10155"/>
              <a:gd name="connsiteY20" fmla="*/ 5261 h 10000"/>
              <a:gd name="connsiteX21" fmla="*/ 0 w 10155"/>
              <a:gd name="connsiteY21" fmla="*/ 5011 h 10000"/>
              <a:gd name="connsiteX22" fmla="*/ 885 w 10155"/>
              <a:gd name="connsiteY22" fmla="*/ 4249 h 10000"/>
              <a:gd name="connsiteX23" fmla="*/ 885 w 10155"/>
              <a:gd name="connsiteY23" fmla="*/ 3679 h 10000"/>
              <a:gd name="connsiteX24" fmla="*/ 1772 w 10155"/>
              <a:gd name="connsiteY24" fmla="*/ 3742 h 10000"/>
              <a:gd name="connsiteX25" fmla="*/ 1673 w 10155"/>
              <a:gd name="connsiteY25" fmla="*/ 2790 h 10000"/>
              <a:gd name="connsiteX26" fmla="*/ 985 w 10155"/>
              <a:gd name="connsiteY26" fmla="*/ 2601 h 10000"/>
              <a:gd name="connsiteX27" fmla="*/ 2066 w 10155"/>
              <a:gd name="connsiteY27" fmla="*/ 1776 h 10000"/>
              <a:gd name="connsiteX28" fmla="*/ 3346 w 10155"/>
              <a:gd name="connsiteY28" fmla="*/ 1839 h 10000"/>
              <a:gd name="connsiteX29" fmla="*/ 3346 w 10155"/>
              <a:gd name="connsiteY29" fmla="*/ 888 h 10000"/>
              <a:gd name="connsiteX30" fmla="*/ 3838 w 10155"/>
              <a:gd name="connsiteY30" fmla="*/ 0 h 10000"/>
              <a:gd name="connsiteX31" fmla="*/ 4428 w 10155"/>
              <a:gd name="connsiteY31" fmla="*/ 0 h 10000"/>
              <a:gd name="connsiteX32" fmla="*/ 4428 w 10155"/>
              <a:gd name="connsiteY32" fmla="*/ 444 h 10000"/>
              <a:gd name="connsiteX33" fmla="*/ 8659 w 10155"/>
              <a:gd name="connsiteY33" fmla="*/ 500 h 10000"/>
              <a:gd name="connsiteX34" fmla="*/ 5115 w 10155"/>
              <a:gd name="connsiteY34" fmla="*/ 2786 h 10000"/>
              <a:gd name="connsiteX35" fmla="*/ 5215 w 10155"/>
              <a:gd name="connsiteY35" fmla="*/ 2854 h 10000"/>
              <a:gd name="connsiteX36" fmla="*/ 10155 w 10155"/>
              <a:gd name="connsiteY36" fmla="*/ 3102 h 10000"/>
              <a:gd name="connsiteX37" fmla="*/ 7971 w 10155"/>
              <a:gd name="connsiteY37" fmla="*/ 5834 h 10000"/>
              <a:gd name="connsiteX38" fmla="*/ 7839 w 10155"/>
              <a:gd name="connsiteY38" fmla="*/ 6086 h 10000"/>
              <a:gd name="connsiteX39" fmla="*/ 7747 w 10155"/>
              <a:gd name="connsiteY39" fmla="*/ 6397 h 10000"/>
              <a:gd name="connsiteX40" fmla="*/ 7475 w 10155"/>
              <a:gd name="connsiteY40" fmla="*/ 6870 h 10000"/>
              <a:gd name="connsiteX41" fmla="*/ 7160 w 10155"/>
              <a:gd name="connsiteY41" fmla="*/ 7036 h 10000"/>
              <a:gd name="connsiteX42" fmla="*/ 6138 w 10155"/>
              <a:gd name="connsiteY42" fmla="*/ 7087 h 10000"/>
              <a:gd name="connsiteX43" fmla="*/ 5460 w 10155"/>
              <a:gd name="connsiteY43" fmla="*/ 6971 h 10000"/>
              <a:gd name="connsiteX44" fmla="*/ 5554 w 10155"/>
              <a:gd name="connsiteY44" fmla="*/ 7052 h 10000"/>
              <a:gd name="connsiteX45" fmla="*/ 5401 w 10155"/>
              <a:gd name="connsiteY45" fmla="*/ 7276 h 10000"/>
              <a:gd name="connsiteX46" fmla="*/ 7381 w 10155"/>
              <a:gd name="connsiteY46" fmla="*/ 7294 h 10000"/>
              <a:gd name="connsiteX47" fmla="*/ 8070 w 10155"/>
              <a:gd name="connsiteY47" fmla="*/ 767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0155" h="10000">
                <a:moveTo>
                  <a:pt x="8070" y="7674"/>
                </a:moveTo>
                <a:lnTo>
                  <a:pt x="4822" y="9767"/>
                </a:lnTo>
                <a:lnTo>
                  <a:pt x="2559" y="9767"/>
                </a:lnTo>
                <a:lnTo>
                  <a:pt x="1968" y="9513"/>
                </a:lnTo>
                <a:lnTo>
                  <a:pt x="1139" y="10000"/>
                </a:lnTo>
                <a:lnTo>
                  <a:pt x="787" y="9576"/>
                </a:lnTo>
                <a:lnTo>
                  <a:pt x="787" y="9006"/>
                </a:lnTo>
                <a:lnTo>
                  <a:pt x="2264" y="8117"/>
                </a:lnTo>
                <a:lnTo>
                  <a:pt x="1673" y="7610"/>
                </a:lnTo>
                <a:lnTo>
                  <a:pt x="2264" y="7166"/>
                </a:lnTo>
                <a:lnTo>
                  <a:pt x="1729" y="7400"/>
                </a:lnTo>
                <a:cubicBezTo>
                  <a:pt x="1664" y="7231"/>
                  <a:pt x="1776" y="7617"/>
                  <a:pt x="1711" y="7448"/>
                </a:cubicBezTo>
                <a:lnTo>
                  <a:pt x="347" y="8423"/>
                </a:lnTo>
                <a:lnTo>
                  <a:pt x="69" y="8266"/>
                </a:lnTo>
                <a:cubicBezTo>
                  <a:pt x="146" y="7954"/>
                  <a:pt x="224" y="7643"/>
                  <a:pt x="301" y="7331"/>
                </a:cubicBezTo>
                <a:lnTo>
                  <a:pt x="802" y="6701"/>
                </a:lnTo>
                <a:cubicBezTo>
                  <a:pt x="732" y="6602"/>
                  <a:pt x="661" y="6504"/>
                  <a:pt x="591" y="6405"/>
                </a:cubicBezTo>
                <a:lnTo>
                  <a:pt x="0" y="6405"/>
                </a:lnTo>
                <a:lnTo>
                  <a:pt x="1496" y="5231"/>
                </a:lnTo>
                <a:cubicBezTo>
                  <a:pt x="1710" y="4979"/>
                  <a:pt x="902" y="5416"/>
                  <a:pt x="1116" y="5164"/>
                </a:cubicBezTo>
                <a:lnTo>
                  <a:pt x="646" y="5261"/>
                </a:lnTo>
                <a:lnTo>
                  <a:pt x="0" y="5011"/>
                </a:lnTo>
                <a:lnTo>
                  <a:pt x="885" y="4249"/>
                </a:lnTo>
                <a:lnTo>
                  <a:pt x="885" y="3679"/>
                </a:lnTo>
                <a:lnTo>
                  <a:pt x="1772" y="3742"/>
                </a:lnTo>
                <a:cubicBezTo>
                  <a:pt x="1739" y="3424"/>
                  <a:pt x="1706" y="3108"/>
                  <a:pt x="1673" y="2790"/>
                </a:cubicBezTo>
                <a:lnTo>
                  <a:pt x="985" y="2601"/>
                </a:lnTo>
                <a:lnTo>
                  <a:pt x="2066" y="1776"/>
                </a:lnTo>
                <a:lnTo>
                  <a:pt x="3346" y="1839"/>
                </a:lnTo>
                <a:lnTo>
                  <a:pt x="3346" y="888"/>
                </a:lnTo>
                <a:lnTo>
                  <a:pt x="3838" y="0"/>
                </a:lnTo>
                <a:lnTo>
                  <a:pt x="4428" y="0"/>
                </a:lnTo>
                <a:lnTo>
                  <a:pt x="4428" y="444"/>
                </a:lnTo>
                <a:lnTo>
                  <a:pt x="8659" y="500"/>
                </a:lnTo>
                <a:lnTo>
                  <a:pt x="5115" y="2786"/>
                </a:lnTo>
                <a:cubicBezTo>
                  <a:pt x="5148" y="2809"/>
                  <a:pt x="5182" y="2831"/>
                  <a:pt x="5215" y="2854"/>
                </a:cubicBezTo>
                <a:lnTo>
                  <a:pt x="10155" y="3102"/>
                </a:lnTo>
                <a:cubicBezTo>
                  <a:pt x="9174" y="5096"/>
                  <a:pt x="8647" y="4882"/>
                  <a:pt x="7971" y="5834"/>
                </a:cubicBezTo>
                <a:lnTo>
                  <a:pt x="7839" y="6086"/>
                </a:lnTo>
                <a:cubicBezTo>
                  <a:pt x="7808" y="6189"/>
                  <a:pt x="7778" y="6293"/>
                  <a:pt x="7747" y="6397"/>
                </a:cubicBezTo>
                <a:lnTo>
                  <a:pt x="7475" y="6870"/>
                </a:lnTo>
                <a:lnTo>
                  <a:pt x="7160" y="7036"/>
                </a:lnTo>
                <a:lnTo>
                  <a:pt x="6138" y="7087"/>
                </a:lnTo>
                <a:lnTo>
                  <a:pt x="5460" y="6971"/>
                </a:lnTo>
                <a:cubicBezTo>
                  <a:pt x="5491" y="6998"/>
                  <a:pt x="5523" y="7024"/>
                  <a:pt x="5554" y="7052"/>
                </a:cubicBezTo>
                <a:lnTo>
                  <a:pt x="5401" y="7276"/>
                </a:lnTo>
                <a:lnTo>
                  <a:pt x="7381" y="7294"/>
                </a:lnTo>
                <a:lnTo>
                  <a:pt x="8070" y="7674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47" name="TT"/>
          <p:cNvSpPr>
            <a:spLocks/>
          </p:cNvSpPr>
          <p:nvPr/>
        </p:nvSpPr>
        <p:spPr bwMode="auto">
          <a:xfrm rot="460133">
            <a:off x="5499100" y="3176588"/>
            <a:ext cx="739775" cy="1141412"/>
          </a:xfrm>
          <a:custGeom>
            <a:avLst/>
            <a:gdLst>
              <a:gd name="T0" fmla="*/ 2147483647 w 213"/>
              <a:gd name="T1" fmla="*/ 2147483647 h 335"/>
              <a:gd name="T2" fmla="*/ 2147483647 w 213"/>
              <a:gd name="T3" fmla="*/ 2147483647 h 335"/>
              <a:gd name="T4" fmla="*/ 2147483647 w 213"/>
              <a:gd name="T5" fmla="*/ 2147483647 h 335"/>
              <a:gd name="T6" fmla="*/ 2147483647 w 213"/>
              <a:gd name="T7" fmla="*/ 2147483647 h 335"/>
              <a:gd name="T8" fmla="*/ 2147483647 w 213"/>
              <a:gd name="T9" fmla="*/ 2147483647 h 335"/>
              <a:gd name="T10" fmla="*/ 2147483647 w 213"/>
              <a:gd name="T11" fmla="*/ 2147483647 h 335"/>
              <a:gd name="T12" fmla="*/ 2147483647 w 213"/>
              <a:gd name="T13" fmla="*/ 2147483647 h 335"/>
              <a:gd name="T14" fmla="*/ 2147483647 w 213"/>
              <a:gd name="T15" fmla="*/ 2147483647 h 335"/>
              <a:gd name="T16" fmla="*/ 2147483647 w 213"/>
              <a:gd name="T17" fmla="*/ 2147483647 h 335"/>
              <a:gd name="T18" fmla="*/ 2147483647 w 213"/>
              <a:gd name="T19" fmla="*/ 2147483647 h 335"/>
              <a:gd name="T20" fmla="*/ 2147483647 w 213"/>
              <a:gd name="T21" fmla="*/ 2147483647 h 335"/>
              <a:gd name="T22" fmla="*/ 2147483647 w 213"/>
              <a:gd name="T23" fmla="*/ 2147483647 h 335"/>
              <a:gd name="T24" fmla="*/ 2147483647 w 213"/>
              <a:gd name="T25" fmla="*/ 2147483647 h 335"/>
              <a:gd name="T26" fmla="*/ 2147483647 w 213"/>
              <a:gd name="T27" fmla="*/ 2147483647 h 335"/>
              <a:gd name="T28" fmla="*/ 2147483647 w 213"/>
              <a:gd name="T29" fmla="*/ 2147483647 h 335"/>
              <a:gd name="T30" fmla="*/ 2147483647 w 213"/>
              <a:gd name="T31" fmla="*/ 2147483647 h 335"/>
              <a:gd name="T32" fmla="*/ 2147483647 w 213"/>
              <a:gd name="T33" fmla="*/ 2147483647 h 335"/>
              <a:gd name="T34" fmla="*/ 2147483647 w 213"/>
              <a:gd name="T35" fmla="*/ 2147483647 h 335"/>
              <a:gd name="T36" fmla="*/ 2147483647 w 213"/>
              <a:gd name="T37" fmla="*/ 2147483647 h 335"/>
              <a:gd name="T38" fmla="*/ 2147483647 w 213"/>
              <a:gd name="T39" fmla="*/ 2147483647 h 335"/>
              <a:gd name="T40" fmla="*/ 2147483647 w 213"/>
              <a:gd name="T41" fmla="*/ 2147483647 h 335"/>
              <a:gd name="T42" fmla="*/ 2147483647 w 213"/>
              <a:gd name="T43" fmla="*/ 2147483647 h 335"/>
              <a:gd name="T44" fmla="*/ 2147483647 w 213"/>
              <a:gd name="T45" fmla="*/ 2147483647 h 335"/>
              <a:gd name="T46" fmla="*/ 2147483647 w 213"/>
              <a:gd name="T47" fmla="*/ 2147483647 h 335"/>
              <a:gd name="T48" fmla="*/ 2147483647 w 213"/>
              <a:gd name="T49" fmla="*/ 2147483647 h 335"/>
              <a:gd name="T50" fmla="*/ 2147483647 w 213"/>
              <a:gd name="T51" fmla="*/ 2147483647 h 335"/>
              <a:gd name="T52" fmla="*/ 2147483647 w 213"/>
              <a:gd name="T53" fmla="*/ 2147483647 h 335"/>
              <a:gd name="T54" fmla="*/ 2147483647 w 213"/>
              <a:gd name="T55" fmla="*/ 2147483647 h 335"/>
              <a:gd name="T56" fmla="*/ 2147483647 w 213"/>
              <a:gd name="T57" fmla="*/ 2147483647 h 335"/>
              <a:gd name="T58" fmla="*/ 2147483647 w 213"/>
              <a:gd name="T59" fmla="*/ 2147483647 h 335"/>
              <a:gd name="T60" fmla="*/ 2147483647 w 213"/>
              <a:gd name="T61" fmla="*/ 2147483647 h 335"/>
              <a:gd name="T62" fmla="*/ 2147483647 w 213"/>
              <a:gd name="T63" fmla="*/ 2147483647 h 335"/>
              <a:gd name="T64" fmla="*/ 2147483647 w 213"/>
              <a:gd name="T65" fmla="*/ 2147483647 h 335"/>
              <a:gd name="T66" fmla="*/ 2147483647 w 213"/>
              <a:gd name="T67" fmla="*/ 2147483647 h 335"/>
              <a:gd name="T68" fmla="*/ 2147483647 w 213"/>
              <a:gd name="T69" fmla="*/ 2147483647 h 335"/>
              <a:gd name="T70" fmla="*/ 2147483647 w 213"/>
              <a:gd name="T71" fmla="*/ 2147483647 h 335"/>
              <a:gd name="T72" fmla="*/ 2147483647 w 213"/>
              <a:gd name="T73" fmla="*/ 2147483647 h 335"/>
              <a:gd name="T74" fmla="*/ 2147483647 w 213"/>
              <a:gd name="T75" fmla="*/ 2147483647 h 335"/>
              <a:gd name="T76" fmla="*/ 2147483647 w 213"/>
              <a:gd name="T77" fmla="*/ 2147483647 h 335"/>
              <a:gd name="T78" fmla="*/ 2147483647 w 213"/>
              <a:gd name="T79" fmla="*/ 2147483647 h 335"/>
              <a:gd name="T80" fmla="*/ 2147483647 w 213"/>
              <a:gd name="T81" fmla="*/ 2147483647 h 335"/>
              <a:gd name="T82" fmla="*/ 2147483647 w 213"/>
              <a:gd name="T83" fmla="*/ 2147483647 h 335"/>
              <a:gd name="T84" fmla="*/ 2147483647 w 213"/>
              <a:gd name="T85" fmla="*/ 2147483647 h 335"/>
              <a:gd name="T86" fmla="*/ 2147483647 w 213"/>
              <a:gd name="T87" fmla="*/ 2147483647 h 335"/>
              <a:gd name="T88" fmla="*/ 2147483647 w 213"/>
              <a:gd name="T89" fmla="*/ 2147483647 h 335"/>
              <a:gd name="T90" fmla="*/ 2147483647 w 213"/>
              <a:gd name="T91" fmla="*/ 2147483647 h 33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13"/>
              <a:gd name="T139" fmla="*/ 0 h 335"/>
              <a:gd name="T140" fmla="*/ 213 w 213"/>
              <a:gd name="T141" fmla="*/ 335 h 335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2629 w 10000"/>
              <a:gd name="connsiteY42" fmla="*/ 2411 h 10441"/>
              <a:gd name="connsiteX43" fmla="*/ 2770 w 10000"/>
              <a:gd name="connsiteY43" fmla="*/ 2023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474 w 10000"/>
              <a:gd name="connsiteY54" fmla="*/ 59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4930 w 10000"/>
              <a:gd name="connsiteY58" fmla="*/ 1187 h 10441"/>
              <a:gd name="connsiteX59" fmla="*/ 5634 w 10000"/>
              <a:gd name="connsiteY59" fmla="*/ 1426 h 10441"/>
              <a:gd name="connsiteX60" fmla="*/ 5915 w 10000"/>
              <a:gd name="connsiteY60" fmla="*/ 1277 h 10441"/>
              <a:gd name="connsiteX61" fmla="*/ 6103 w 10000"/>
              <a:gd name="connsiteY61" fmla="*/ 1605 h 10441"/>
              <a:gd name="connsiteX62" fmla="*/ 5681 w 10000"/>
              <a:gd name="connsiteY62" fmla="*/ 1844 h 10441"/>
              <a:gd name="connsiteX63" fmla="*/ 6009 w 10000"/>
              <a:gd name="connsiteY63" fmla="*/ 1963 h 10441"/>
              <a:gd name="connsiteX64" fmla="*/ 5915 w 10000"/>
              <a:gd name="connsiteY64" fmla="*/ 2381 h 10441"/>
              <a:gd name="connsiteX65" fmla="*/ 5446 w 10000"/>
              <a:gd name="connsiteY65" fmla="*/ 2710 h 10441"/>
              <a:gd name="connsiteX66" fmla="*/ 7042 w 10000"/>
              <a:gd name="connsiteY66" fmla="*/ 3247 h 10441"/>
              <a:gd name="connsiteX67" fmla="*/ 6620 w 10000"/>
              <a:gd name="connsiteY67" fmla="*/ 3486 h 10441"/>
              <a:gd name="connsiteX68" fmla="*/ 6103 w 10000"/>
              <a:gd name="connsiteY68" fmla="*/ 3396 h 10441"/>
              <a:gd name="connsiteX69" fmla="*/ 5634 w 10000"/>
              <a:gd name="connsiteY69" fmla="*/ 3486 h 10441"/>
              <a:gd name="connsiteX70" fmla="*/ 5728 w 10000"/>
              <a:gd name="connsiteY70" fmla="*/ 3754 h 10441"/>
              <a:gd name="connsiteX71" fmla="*/ 6056 w 10000"/>
              <a:gd name="connsiteY71" fmla="*/ 3874 h 10441"/>
              <a:gd name="connsiteX72" fmla="*/ 6150 w 10000"/>
              <a:gd name="connsiteY72" fmla="*/ 4590 h 10441"/>
              <a:gd name="connsiteX73" fmla="*/ 5540 w 10000"/>
              <a:gd name="connsiteY73" fmla="*/ 4620 h 10441"/>
              <a:gd name="connsiteX74" fmla="*/ 5540 w 10000"/>
              <a:gd name="connsiteY74" fmla="*/ 5038 h 10441"/>
              <a:gd name="connsiteX75" fmla="*/ 4601 w 10000"/>
              <a:gd name="connsiteY75" fmla="*/ 5456 h 10441"/>
              <a:gd name="connsiteX76" fmla="*/ 4883 w 10000"/>
              <a:gd name="connsiteY76" fmla="*/ 5844 h 10441"/>
              <a:gd name="connsiteX77" fmla="*/ 4648 w 10000"/>
              <a:gd name="connsiteY77" fmla="*/ 6202 h 10441"/>
              <a:gd name="connsiteX78" fmla="*/ 5446 w 10000"/>
              <a:gd name="connsiteY78" fmla="*/ 6889 h 10441"/>
              <a:gd name="connsiteX79" fmla="*/ 6573 w 10000"/>
              <a:gd name="connsiteY79" fmla="*/ 6889 h 10441"/>
              <a:gd name="connsiteX80" fmla="*/ 7230 w 10000"/>
              <a:gd name="connsiteY80" fmla="*/ 6769 h 10441"/>
              <a:gd name="connsiteX81" fmla="*/ 7793 w 10000"/>
              <a:gd name="connsiteY81" fmla="*/ 6919 h 10441"/>
              <a:gd name="connsiteX82" fmla="*/ 8263 w 10000"/>
              <a:gd name="connsiteY82" fmla="*/ 7307 h 10441"/>
              <a:gd name="connsiteX83" fmla="*/ 8638 w 10000"/>
              <a:gd name="connsiteY83" fmla="*/ 8053 h 10441"/>
              <a:gd name="connsiteX84" fmla="*/ 9014 w 10000"/>
              <a:gd name="connsiteY84" fmla="*/ 8023 h 10441"/>
              <a:gd name="connsiteX85" fmla="*/ 10000 w 10000"/>
              <a:gd name="connsiteY85" fmla="*/ 8769 h 10441"/>
              <a:gd name="connsiteX86" fmla="*/ 8826 w 10000"/>
              <a:gd name="connsiteY86" fmla="*/ 9575 h 10441"/>
              <a:gd name="connsiteX87" fmla="*/ 9296 w 10000"/>
              <a:gd name="connsiteY87" fmla="*/ 10172 h 10441"/>
              <a:gd name="connsiteX88" fmla="*/ 9108 w 10000"/>
              <a:gd name="connsiteY88" fmla="*/ 10411 h 10441"/>
              <a:gd name="connsiteX89" fmla="*/ 8826 w 10000"/>
              <a:gd name="connsiteY89" fmla="*/ 10172 h 10441"/>
              <a:gd name="connsiteX90" fmla="*/ 6948 w 10000"/>
              <a:gd name="connsiteY90" fmla="*/ 10142 h 10441"/>
              <a:gd name="connsiteX91" fmla="*/ 6620 w 10000"/>
              <a:gd name="connsiteY91" fmla="*/ 10441 h 10441"/>
              <a:gd name="connsiteX92" fmla="*/ 6056 w 10000"/>
              <a:gd name="connsiteY92" fmla="*/ 10411 h 10441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2629 w 10000"/>
              <a:gd name="connsiteY42" fmla="*/ 2411 h 10441"/>
              <a:gd name="connsiteX43" fmla="*/ 2770 w 10000"/>
              <a:gd name="connsiteY43" fmla="*/ 2023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549 w 10000"/>
              <a:gd name="connsiteY54" fmla="*/ 13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4930 w 10000"/>
              <a:gd name="connsiteY58" fmla="*/ 1187 h 10441"/>
              <a:gd name="connsiteX59" fmla="*/ 5634 w 10000"/>
              <a:gd name="connsiteY59" fmla="*/ 1426 h 10441"/>
              <a:gd name="connsiteX60" fmla="*/ 5915 w 10000"/>
              <a:gd name="connsiteY60" fmla="*/ 1277 h 10441"/>
              <a:gd name="connsiteX61" fmla="*/ 6103 w 10000"/>
              <a:gd name="connsiteY61" fmla="*/ 1605 h 10441"/>
              <a:gd name="connsiteX62" fmla="*/ 5681 w 10000"/>
              <a:gd name="connsiteY62" fmla="*/ 1844 h 10441"/>
              <a:gd name="connsiteX63" fmla="*/ 6009 w 10000"/>
              <a:gd name="connsiteY63" fmla="*/ 1963 h 10441"/>
              <a:gd name="connsiteX64" fmla="*/ 5915 w 10000"/>
              <a:gd name="connsiteY64" fmla="*/ 2381 h 10441"/>
              <a:gd name="connsiteX65" fmla="*/ 5446 w 10000"/>
              <a:gd name="connsiteY65" fmla="*/ 2710 h 10441"/>
              <a:gd name="connsiteX66" fmla="*/ 7042 w 10000"/>
              <a:gd name="connsiteY66" fmla="*/ 3247 h 10441"/>
              <a:gd name="connsiteX67" fmla="*/ 6620 w 10000"/>
              <a:gd name="connsiteY67" fmla="*/ 3486 h 10441"/>
              <a:gd name="connsiteX68" fmla="*/ 6103 w 10000"/>
              <a:gd name="connsiteY68" fmla="*/ 3396 h 10441"/>
              <a:gd name="connsiteX69" fmla="*/ 5634 w 10000"/>
              <a:gd name="connsiteY69" fmla="*/ 3486 h 10441"/>
              <a:gd name="connsiteX70" fmla="*/ 5728 w 10000"/>
              <a:gd name="connsiteY70" fmla="*/ 3754 h 10441"/>
              <a:gd name="connsiteX71" fmla="*/ 6056 w 10000"/>
              <a:gd name="connsiteY71" fmla="*/ 3874 h 10441"/>
              <a:gd name="connsiteX72" fmla="*/ 6150 w 10000"/>
              <a:gd name="connsiteY72" fmla="*/ 4590 h 10441"/>
              <a:gd name="connsiteX73" fmla="*/ 5540 w 10000"/>
              <a:gd name="connsiteY73" fmla="*/ 4620 h 10441"/>
              <a:gd name="connsiteX74" fmla="*/ 5540 w 10000"/>
              <a:gd name="connsiteY74" fmla="*/ 5038 h 10441"/>
              <a:gd name="connsiteX75" fmla="*/ 4601 w 10000"/>
              <a:gd name="connsiteY75" fmla="*/ 5456 h 10441"/>
              <a:gd name="connsiteX76" fmla="*/ 4883 w 10000"/>
              <a:gd name="connsiteY76" fmla="*/ 5844 h 10441"/>
              <a:gd name="connsiteX77" fmla="*/ 4648 w 10000"/>
              <a:gd name="connsiteY77" fmla="*/ 6202 h 10441"/>
              <a:gd name="connsiteX78" fmla="*/ 5446 w 10000"/>
              <a:gd name="connsiteY78" fmla="*/ 6889 h 10441"/>
              <a:gd name="connsiteX79" fmla="*/ 6573 w 10000"/>
              <a:gd name="connsiteY79" fmla="*/ 6889 h 10441"/>
              <a:gd name="connsiteX80" fmla="*/ 7230 w 10000"/>
              <a:gd name="connsiteY80" fmla="*/ 6769 h 10441"/>
              <a:gd name="connsiteX81" fmla="*/ 7793 w 10000"/>
              <a:gd name="connsiteY81" fmla="*/ 6919 h 10441"/>
              <a:gd name="connsiteX82" fmla="*/ 8263 w 10000"/>
              <a:gd name="connsiteY82" fmla="*/ 7307 h 10441"/>
              <a:gd name="connsiteX83" fmla="*/ 8638 w 10000"/>
              <a:gd name="connsiteY83" fmla="*/ 8053 h 10441"/>
              <a:gd name="connsiteX84" fmla="*/ 9014 w 10000"/>
              <a:gd name="connsiteY84" fmla="*/ 8023 h 10441"/>
              <a:gd name="connsiteX85" fmla="*/ 10000 w 10000"/>
              <a:gd name="connsiteY85" fmla="*/ 8769 h 10441"/>
              <a:gd name="connsiteX86" fmla="*/ 8826 w 10000"/>
              <a:gd name="connsiteY86" fmla="*/ 9575 h 10441"/>
              <a:gd name="connsiteX87" fmla="*/ 9296 w 10000"/>
              <a:gd name="connsiteY87" fmla="*/ 10172 h 10441"/>
              <a:gd name="connsiteX88" fmla="*/ 9108 w 10000"/>
              <a:gd name="connsiteY88" fmla="*/ 10411 h 10441"/>
              <a:gd name="connsiteX89" fmla="*/ 8826 w 10000"/>
              <a:gd name="connsiteY89" fmla="*/ 10172 h 10441"/>
              <a:gd name="connsiteX90" fmla="*/ 6948 w 10000"/>
              <a:gd name="connsiteY90" fmla="*/ 10142 h 10441"/>
              <a:gd name="connsiteX91" fmla="*/ 6620 w 10000"/>
              <a:gd name="connsiteY91" fmla="*/ 10441 h 10441"/>
              <a:gd name="connsiteX92" fmla="*/ 6056 w 10000"/>
              <a:gd name="connsiteY92" fmla="*/ 10411 h 10441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2629 w 10000"/>
              <a:gd name="connsiteY42" fmla="*/ 2411 h 10441"/>
              <a:gd name="connsiteX43" fmla="*/ 2770 w 10000"/>
              <a:gd name="connsiteY43" fmla="*/ 2023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549 w 10000"/>
              <a:gd name="connsiteY54" fmla="*/ 13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5562 w 10000"/>
              <a:gd name="connsiteY58" fmla="*/ 1016 h 10441"/>
              <a:gd name="connsiteX59" fmla="*/ 5634 w 10000"/>
              <a:gd name="connsiteY59" fmla="*/ 1426 h 10441"/>
              <a:gd name="connsiteX60" fmla="*/ 5915 w 10000"/>
              <a:gd name="connsiteY60" fmla="*/ 1277 h 10441"/>
              <a:gd name="connsiteX61" fmla="*/ 6103 w 10000"/>
              <a:gd name="connsiteY61" fmla="*/ 1605 h 10441"/>
              <a:gd name="connsiteX62" fmla="*/ 5681 w 10000"/>
              <a:gd name="connsiteY62" fmla="*/ 1844 h 10441"/>
              <a:gd name="connsiteX63" fmla="*/ 6009 w 10000"/>
              <a:gd name="connsiteY63" fmla="*/ 1963 h 10441"/>
              <a:gd name="connsiteX64" fmla="*/ 5915 w 10000"/>
              <a:gd name="connsiteY64" fmla="*/ 2381 h 10441"/>
              <a:gd name="connsiteX65" fmla="*/ 5446 w 10000"/>
              <a:gd name="connsiteY65" fmla="*/ 2710 h 10441"/>
              <a:gd name="connsiteX66" fmla="*/ 7042 w 10000"/>
              <a:gd name="connsiteY66" fmla="*/ 3247 h 10441"/>
              <a:gd name="connsiteX67" fmla="*/ 6620 w 10000"/>
              <a:gd name="connsiteY67" fmla="*/ 3486 h 10441"/>
              <a:gd name="connsiteX68" fmla="*/ 6103 w 10000"/>
              <a:gd name="connsiteY68" fmla="*/ 3396 h 10441"/>
              <a:gd name="connsiteX69" fmla="*/ 5634 w 10000"/>
              <a:gd name="connsiteY69" fmla="*/ 3486 h 10441"/>
              <a:gd name="connsiteX70" fmla="*/ 5728 w 10000"/>
              <a:gd name="connsiteY70" fmla="*/ 3754 h 10441"/>
              <a:gd name="connsiteX71" fmla="*/ 6056 w 10000"/>
              <a:gd name="connsiteY71" fmla="*/ 3874 h 10441"/>
              <a:gd name="connsiteX72" fmla="*/ 6150 w 10000"/>
              <a:gd name="connsiteY72" fmla="*/ 4590 h 10441"/>
              <a:gd name="connsiteX73" fmla="*/ 5540 w 10000"/>
              <a:gd name="connsiteY73" fmla="*/ 4620 h 10441"/>
              <a:gd name="connsiteX74" fmla="*/ 5540 w 10000"/>
              <a:gd name="connsiteY74" fmla="*/ 5038 h 10441"/>
              <a:gd name="connsiteX75" fmla="*/ 4601 w 10000"/>
              <a:gd name="connsiteY75" fmla="*/ 5456 h 10441"/>
              <a:gd name="connsiteX76" fmla="*/ 4883 w 10000"/>
              <a:gd name="connsiteY76" fmla="*/ 5844 h 10441"/>
              <a:gd name="connsiteX77" fmla="*/ 4648 w 10000"/>
              <a:gd name="connsiteY77" fmla="*/ 6202 h 10441"/>
              <a:gd name="connsiteX78" fmla="*/ 5446 w 10000"/>
              <a:gd name="connsiteY78" fmla="*/ 6889 h 10441"/>
              <a:gd name="connsiteX79" fmla="*/ 6573 w 10000"/>
              <a:gd name="connsiteY79" fmla="*/ 6889 h 10441"/>
              <a:gd name="connsiteX80" fmla="*/ 7230 w 10000"/>
              <a:gd name="connsiteY80" fmla="*/ 6769 h 10441"/>
              <a:gd name="connsiteX81" fmla="*/ 7793 w 10000"/>
              <a:gd name="connsiteY81" fmla="*/ 6919 h 10441"/>
              <a:gd name="connsiteX82" fmla="*/ 8263 w 10000"/>
              <a:gd name="connsiteY82" fmla="*/ 7307 h 10441"/>
              <a:gd name="connsiteX83" fmla="*/ 8638 w 10000"/>
              <a:gd name="connsiteY83" fmla="*/ 8053 h 10441"/>
              <a:gd name="connsiteX84" fmla="*/ 9014 w 10000"/>
              <a:gd name="connsiteY84" fmla="*/ 8023 h 10441"/>
              <a:gd name="connsiteX85" fmla="*/ 10000 w 10000"/>
              <a:gd name="connsiteY85" fmla="*/ 8769 h 10441"/>
              <a:gd name="connsiteX86" fmla="*/ 8826 w 10000"/>
              <a:gd name="connsiteY86" fmla="*/ 9575 h 10441"/>
              <a:gd name="connsiteX87" fmla="*/ 9296 w 10000"/>
              <a:gd name="connsiteY87" fmla="*/ 10172 h 10441"/>
              <a:gd name="connsiteX88" fmla="*/ 9108 w 10000"/>
              <a:gd name="connsiteY88" fmla="*/ 10411 h 10441"/>
              <a:gd name="connsiteX89" fmla="*/ 8826 w 10000"/>
              <a:gd name="connsiteY89" fmla="*/ 10172 h 10441"/>
              <a:gd name="connsiteX90" fmla="*/ 6948 w 10000"/>
              <a:gd name="connsiteY90" fmla="*/ 10142 h 10441"/>
              <a:gd name="connsiteX91" fmla="*/ 6620 w 10000"/>
              <a:gd name="connsiteY91" fmla="*/ 10441 h 10441"/>
              <a:gd name="connsiteX92" fmla="*/ 6056 w 10000"/>
              <a:gd name="connsiteY92" fmla="*/ 10411 h 10441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2629 w 10000"/>
              <a:gd name="connsiteY42" fmla="*/ 2411 h 10441"/>
              <a:gd name="connsiteX43" fmla="*/ 2770 w 10000"/>
              <a:gd name="connsiteY43" fmla="*/ 2023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549 w 10000"/>
              <a:gd name="connsiteY54" fmla="*/ 13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5562 w 10000"/>
              <a:gd name="connsiteY58" fmla="*/ 1016 h 10441"/>
              <a:gd name="connsiteX59" fmla="*/ 5634 w 10000"/>
              <a:gd name="connsiteY59" fmla="*/ 1426 h 10441"/>
              <a:gd name="connsiteX60" fmla="*/ 5915 w 10000"/>
              <a:gd name="connsiteY60" fmla="*/ 1277 h 10441"/>
              <a:gd name="connsiteX61" fmla="*/ 6103 w 10000"/>
              <a:gd name="connsiteY61" fmla="*/ 1605 h 10441"/>
              <a:gd name="connsiteX62" fmla="*/ 5681 w 10000"/>
              <a:gd name="connsiteY62" fmla="*/ 1844 h 10441"/>
              <a:gd name="connsiteX63" fmla="*/ 6009 w 10000"/>
              <a:gd name="connsiteY63" fmla="*/ 1963 h 10441"/>
              <a:gd name="connsiteX64" fmla="*/ 5915 w 10000"/>
              <a:gd name="connsiteY64" fmla="*/ 2381 h 10441"/>
              <a:gd name="connsiteX65" fmla="*/ 6553 w 10000"/>
              <a:gd name="connsiteY65" fmla="*/ 2835 h 10441"/>
              <a:gd name="connsiteX66" fmla="*/ 7042 w 10000"/>
              <a:gd name="connsiteY66" fmla="*/ 3247 h 10441"/>
              <a:gd name="connsiteX67" fmla="*/ 6620 w 10000"/>
              <a:gd name="connsiteY67" fmla="*/ 3486 h 10441"/>
              <a:gd name="connsiteX68" fmla="*/ 6103 w 10000"/>
              <a:gd name="connsiteY68" fmla="*/ 3396 h 10441"/>
              <a:gd name="connsiteX69" fmla="*/ 5634 w 10000"/>
              <a:gd name="connsiteY69" fmla="*/ 3486 h 10441"/>
              <a:gd name="connsiteX70" fmla="*/ 5728 w 10000"/>
              <a:gd name="connsiteY70" fmla="*/ 3754 h 10441"/>
              <a:gd name="connsiteX71" fmla="*/ 6056 w 10000"/>
              <a:gd name="connsiteY71" fmla="*/ 3874 h 10441"/>
              <a:gd name="connsiteX72" fmla="*/ 6150 w 10000"/>
              <a:gd name="connsiteY72" fmla="*/ 4590 h 10441"/>
              <a:gd name="connsiteX73" fmla="*/ 5540 w 10000"/>
              <a:gd name="connsiteY73" fmla="*/ 4620 h 10441"/>
              <a:gd name="connsiteX74" fmla="*/ 5540 w 10000"/>
              <a:gd name="connsiteY74" fmla="*/ 5038 h 10441"/>
              <a:gd name="connsiteX75" fmla="*/ 4601 w 10000"/>
              <a:gd name="connsiteY75" fmla="*/ 5456 h 10441"/>
              <a:gd name="connsiteX76" fmla="*/ 4883 w 10000"/>
              <a:gd name="connsiteY76" fmla="*/ 5844 h 10441"/>
              <a:gd name="connsiteX77" fmla="*/ 4648 w 10000"/>
              <a:gd name="connsiteY77" fmla="*/ 6202 h 10441"/>
              <a:gd name="connsiteX78" fmla="*/ 5446 w 10000"/>
              <a:gd name="connsiteY78" fmla="*/ 6889 h 10441"/>
              <a:gd name="connsiteX79" fmla="*/ 6573 w 10000"/>
              <a:gd name="connsiteY79" fmla="*/ 6889 h 10441"/>
              <a:gd name="connsiteX80" fmla="*/ 7230 w 10000"/>
              <a:gd name="connsiteY80" fmla="*/ 6769 h 10441"/>
              <a:gd name="connsiteX81" fmla="*/ 7793 w 10000"/>
              <a:gd name="connsiteY81" fmla="*/ 6919 h 10441"/>
              <a:gd name="connsiteX82" fmla="*/ 8263 w 10000"/>
              <a:gd name="connsiteY82" fmla="*/ 7307 h 10441"/>
              <a:gd name="connsiteX83" fmla="*/ 8638 w 10000"/>
              <a:gd name="connsiteY83" fmla="*/ 8053 h 10441"/>
              <a:gd name="connsiteX84" fmla="*/ 9014 w 10000"/>
              <a:gd name="connsiteY84" fmla="*/ 8023 h 10441"/>
              <a:gd name="connsiteX85" fmla="*/ 10000 w 10000"/>
              <a:gd name="connsiteY85" fmla="*/ 8769 h 10441"/>
              <a:gd name="connsiteX86" fmla="*/ 8826 w 10000"/>
              <a:gd name="connsiteY86" fmla="*/ 9575 h 10441"/>
              <a:gd name="connsiteX87" fmla="*/ 9296 w 10000"/>
              <a:gd name="connsiteY87" fmla="*/ 10172 h 10441"/>
              <a:gd name="connsiteX88" fmla="*/ 9108 w 10000"/>
              <a:gd name="connsiteY88" fmla="*/ 10411 h 10441"/>
              <a:gd name="connsiteX89" fmla="*/ 8826 w 10000"/>
              <a:gd name="connsiteY89" fmla="*/ 10172 h 10441"/>
              <a:gd name="connsiteX90" fmla="*/ 6948 w 10000"/>
              <a:gd name="connsiteY90" fmla="*/ 10142 h 10441"/>
              <a:gd name="connsiteX91" fmla="*/ 6620 w 10000"/>
              <a:gd name="connsiteY91" fmla="*/ 10441 h 10441"/>
              <a:gd name="connsiteX92" fmla="*/ 6056 w 10000"/>
              <a:gd name="connsiteY92" fmla="*/ 10411 h 10441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1854 w 10000"/>
              <a:gd name="connsiteY42" fmla="*/ 1859 h 10441"/>
              <a:gd name="connsiteX43" fmla="*/ 2770 w 10000"/>
              <a:gd name="connsiteY43" fmla="*/ 2023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549 w 10000"/>
              <a:gd name="connsiteY54" fmla="*/ 13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5562 w 10000"/>
              <a:gd name="connsiteY58" fmla="*/ 1016 h 10441"/>
              <a:gd name="connsiteX59" fmla="*/ 5634 w 10000"/>
              <a:gd name="connsiteY59" fmla="*/ 1426 h 10441"/>
              <a:gd name="connsiteX60" fmla="*/ 5915 w 10000"/>
              <a:gd name="connsiteY60" fmla="*/ 1277 h 10441"/>
              <a:gd name="connsiteX61" fmla="*/ 6103 w 10000"/>
              <a:gd name="connsiteY61" fmla="*/ 1605 h 10441"/>
              <a:gd name="connsiteX62" fmla="*/ 5681 w 10000"/>
              <a:gd name="connsiteY62" fmla="*/ 1844 h 10441"/>
              <a:gd name="connsiteX63" fmla="*/ 6009 w 10000"/>
              <a:gd name="connsiteY63" fmla="*/ 1963 h 10441"/>
              <a:gd name="connsiteX64" fmla="*/ 5915 w 10000"/>
              <a:gd name="connsiteY64" fmla="*/ 2381 h 10441"/>
              <a:gd name="connsiteX65" fmla="*/ 6553 w 10000"/>
              <a:gd name="connsiteY65" fmla="*/ 2835 h 10441"/>
              <a:gd name="connsiteX66" fmla="*/ 7042 w 10000"/>
              <a:gd name="connsiteY66" fmla="*/ 3247 h 10441"/>
              <a:gd name="connsiteX67" fmla="*/ 6620 w 10000"/>
              <a:gd name="connsiteY67" fmla="*/ 3486 h 10441"/>
              <a:gd name="connsiteX68" fmla="*/ 6103 w 10000"/>
              <a:gd name="connsiteY68" fmla="*/ 3396 h 10441"/>
              <a:gd name="connsiteX69" fmla="*/ 5634 w 10000"/>
              <a:gd name="connsiteY69" fmla="*/ 3486 h 10441"/>
              <a:gd name="connsiteX70" fmla="*/ 5728 w 10000"/>
              <a:gd name="connsiteY70" fmla="*/ 3754 h 10441"/>
              <a:gd name="connsiteX71" fmla="*/ 6056 w 10000"/>
              <a:gd name="connsiteY71" fmla="*/ 3874 h 10441"/>
              <a:gd name="connsiteX72" fmla="*/ 6150 w 10000"/>
              <a:gd name="connsiteY72" fmla="*/ 4590 h 10441"/>
              <a:gd name="connsiteX73" fmla="*/ 5540 w 10000"/>
              <a:gd name="connsiteY73" fmla="*/ 4620 h 10441"/>
              <a:gd name="connsiteX74" fmla="*/ 5540 w 10000"/>
              <a:gd name="connsiteY74" fmla="*/ 5038 h 10441"/>
              <a:gd name="connsiteX75" fmla="*/ 4601 w 10000"/>
              <a:gd name="connsiteY75" fmla="*/ 5456 h 10441"/>
              <a:gd name="connsiteX76" fmla="*/ 4883 w 10000"/>
              <a:gd name="connsiteY76" fmla="*/ 5844 h 10441"/>
              <a:gd name="connsiteX77" fmla="*/ 4648 w 10000"/>
              <a:gd name="connsiteY77" fmla="*/ 6202 h 10441"/>
              <a:gd name="connsiteX78" fmla="*/ 5446 w 10000"/>
              <a:gd name="connsiteY78" fmla="*/ 6889 h 10441"/>
              <a:gd name="connsiteX79" fmla="*/ 6573 w 10000"/>
              <a:gd name="connsiteY79" fmla="*/ 6889 h 10441"/>
              <a:gd name="connsiteX80" fmla="*/ 7230 w 10000"/>
              <a:gd name="connsiteY80" fmla="*/ 6769 h 10441"/>
              <a:gd name="connsiteX81" fmla="*/ 7793 w 10000"/>
              <a:gd name="connsiteY81" fmla="*/ 6919 h 10441"/>
              <a:gd name="connsiteX82" fmla="*/ 8263 w 10000"/>
              <a:gd name="connsiteY82" fmla="*/ 7307 h 10441"/>
              <a:gd name="connsiteX83" fmla="*/ 8638 w 10000"/>
              <a:gd name="connsiteY83" fmla="*/ 8053 h 10441"/>
              <a:gd name="connsiteX84" fmla="*/ 9014 w 10000"/>
              <a:gd name="connsiteY84" fmla="*/ 8023 h 10441"/>
              <a:gd name="connsiteX85" fmla="*/ 10000 w 10000"/>
              <a:gd name="connsiteY85" fmla="*/ 8769 h 10441"/>
              <a:gd name="connsiteX86" fmla="*/ 8826 w 10000"/>
              <a:gd name="connsiteY86" fmla="*/ 9575 h 10441"/>
              <a:gd name="connsiteX87" fmla="*/ 9296 w 10000"/>
              <a:gd name="connsiteY87" fmla="*/ 10172 h 10441"/>
              <a:gd name="connsiteX88" fmla="*/ 9108 w 10000"/>
              <a:gd name="connsiteY88" fmla="*/ 10411 h 10441"/>
              <a:gd name="connsiteX89" fmla="*/ 8826 w 10000"/>
              <a:gd name="connsiteY89" fmla="*/ 10172 h 10441"/>
              <a:gd name="connsiteX90" fmla="*/ 6948 w 10000"/>
              <a:gd name="connsiteY90" fmla="*/ 10142 h 10441"/>
              <a:gd name="connsiteX91" fmla="*/ 6620 w 10000"/>
              <a:gd name="connsiteY91" fmla="*/ 10441 h 10441"/>
              <a:gd name="connsiteX92" fmla="*/ 6056 w 10000"/>
              <a:gd name="connsiteY92" fmla="*/ 10411 h 10441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1854 w 10000"/>
              <a:gd name="connsiteY42" fmla="*/ 1859 h 10441"/>
              <a:gd name="connsiteX43" fmla="*/ 2180 w 10000"/>
              <a:gd name="connsiteY43" fmla="*/ 1567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549 w 10000"/>
              <a:gd name="connsiteY54" fmla="*/ 13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5562 w 10000"/>
              <a:gd name="connsiteY58" fmla="*/ 1016 h 10441"/>
              <a:gd name="connsiteX59" fmla="*/ 5634 w 10000"/>
              <a:gd name="connsiteY59" fmla="*/ 1426 h 10441"/>
              <a:gd name="connsiteX60" fmla="*/ 5915 w 10000"/>
              <a:gd name="connsiteY60" fmla="*/ 1277 h 10441"/>
              <a:gd name="connsiteX61" fmla="*/ 6103 w 10000"/>
              <a:gd name="connsiteY61" fmla="*/ 1605 h 10441"/>
              <a:gd name="connsiteX62" fmla="*/ 5681 w 10000"/>
              <a:gd name="connsiteY62" fmla="*/ 1844 h 10441"/>
              <a:gd name="connsiteX63" fmla="*/ 6009 w 10000"/>
              <a:gd name="connsiteY63" fmla="*/ 1963 h 10441"/>
              <a:gd name="connsiteX64" fmla="*/ 5915 w 10000"/>
              <a:gd name="connsiteY64" fmla="*/ 2381 h 10441"/>
              <a:gd name="connsiteX65" fmla="*/ 6553 w 10000"/>
              <a:gd name="connsiteY65" fmla="*/ 2835 h 10441"/>
              <a:gd name="connsiteX66" fmla="*/ 7042 w 10000"/>
              <a:gd name="connsiteY66" fmla="*/ 3247 h 10441"/>
              <a:gd name="connsiteX67" fmla="*/ 6620 w 10000"/>
              <a:gd name="connsiteY67" fmla="*/ 3486 h 10441"/>
              <a:gd name="connsiteX68" fmla="*/ 6103 w 10000"/>
              <a:gd name="connsiteY68" fmla="*/ 3396 h 10441"/>
              <a:gd name="connsiteX69" fmla="*/ 5634 w 10000"/>
              <a:gd name="connsiteY69" fmla="*/ 3486 h 10441"/>
              <a:gd name="connsiteX70" fmla="*/ 5728 w 10000"/>
              <a:gd name="connsiteY70" fmla="*/ 3754 h 10441"/>
              <a:gd name="connsiteX71" fmla="*/ 6056 w 10000"/>
              <a:gd name="connsiteY71" fmla="*/ 3874 h 10441"/>
              <a:gd name="connsiteX72" fmla="*/ 6150 w 10000"/>
              <a:gd name="connsiteY72" fmla="*/ 4590 h 10441"/>
              <a:gd name="connsiteX73" fmla="*/ 5540 w 10000"/>
              <a:gd name="connsiteY73" fmla="*/ 4620 h 10441"/>
              <a:gd name="connsiteX74" fmla="*/ 5540 w 10000"/>
              <a:gd name="connsiteY74" fmla="*/ 5038 h 10441"/>
              <a:gd name="connsiteX75" fmla="*/ 4601 w 10000"/>
              <a:gd name="connsiteY75" fmla="*/ 5456 h 10441"/>
              <a:gd name="connsiteX76" fmla="*/ 4883 w 10000"/>
              <a:gd name="connsiteY76" fmla="*/ 5844 h 10441"/>
              <a:gd name="connsiteX77" fmla="*/ 4648 w 10000"/>
              <a:gd name="connsiteY77" fmla="*/ 6202 h 10441"/>
              <a:gd name="connsiteX78" fmla="*/ 5446 w 10000"/>
              <a:gd name="connsiteY78" fmla="*/ 6889 h 10441"/>
              <a:gd name="connsiteX79" fmla="*/ 6573 w 10000"/>
              <a:gd name="connsiteY79" fmla="*/ 6889 h 10441"/>
              <a:gd name="connsiteX80" fmla="*/ 7230 w 10000"/>
              <a:gd name="connsiteY80" fmla="*/ 6769 h 10441"/>
              <a:gd name="connsiteX81" fmla="*/ 7793 w 10000"/>
              <a:gd name="connsiteY81" fmla="*/ 6919 h 10441"/>
              <a:gd name="connsiteX82" fmla="*/ 8263 w 10000"/>
              <a:gd name="connsiteY82" fmla="*/ 7307 h 10441"/>
              <a:gd name="connsiteX83" fmla="*/ 8638 w 10000"/>
              <a:gd name="connsiteY83" fmla="*/ 8053 h 10441"/>
              <a:gd name="connsiteX84" fmla="*/ 9014 w 10000"/>
              <a:gd name="connsiteY84" fmla="*/ 8023 h 10441"/>
              <a:gd name="connsiteX85" fmla="*/ 10000 w 10000"/>
              <a:gd name="connsiteY85" fmla="*/ 8769 h 10441"/>
              <a:gd name="connsiteX86" fmla="*/ 8826 w 10000"/>
              <a:gd name="connsiteY86" fmla="*/ 9575 h 10441"/>
              <a:gd name="connsiteX87" fmla="*/ 9296 w 10000"/>
              <a:gd name="connsiteY87" fmla="*/ 10172 h 10441"/>
              <a:gd name="connsiteX88" fmla="*/ 9108 w 10000"/>
              <a:gd name="connsiteY88" fmla="*/ 10411 h 10441"/>
              <a:gd name="connsiteX89" fmla="*/ 8826 w 10000"/>
              <a:gd name="connsiteY89" fmla="*/ 10172 h 10441"/>
              <a:gd name="connsiteX90" fmla="*/ 6948 w 10000"/>
              <a:gd name="connsiteY90" fmla="*/ 10142 h 10441"/>
              <a:gd name="connsiteX91" fmla="*/ 6620 w 10000"/>
              <a:gd name="connsiteY91" fmla="*/ 10441 h 10441"/>
              <a:gd name="connsiteX92" fmla="*/ 6056 w 10000"/>
              <a:gd name="connsiteY92" fmla="*/ 10411 h 10441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1854 w 10000"/>
              <a:gd name="connsiteY42" fmla="*/ 1859 h 10441"/>
              <a:gd name="connsiteX43" fmla="*/ 2180 w 10000"/>
              <a:gd name="connsiteY43" fmla="*/ 1567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549 w 10000"/>
              <a:gd name="connsiteY54" fmla="*/ 13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5143 w 10000"/>
              <a:gd name="connsiteY58" fmla="*/ 981 h 10441"/>
              <a:gd name="connsiteX59" fmla="*/ 5562 w 10000"/>
              <a:gd name="connsiteY59" fmla="*/ 1016 h 10441"/>
              <a:gd name="connsiteX60" fmla="*/ 5634 w 10000"/>
              <a:gd name="connsiteY60" fmla="*/ 1426 h 10441"/>
              <a:gd name="connsiteX61" fmla="*/ 5915 w 10000"/>
              <a:gd name="connsiteY61" fmla="*/ 1277 h 10441"/>
              <a:gd name="connsiteX62" fmla="*/ 6103 w 10000"/>
              <a:gd name="connsiteY62" fmla="*/ 1605 h 10441"/>
              <a:gd name="connsiteX63" fmla="*/ 5681 w 10000"/>
              <a:gd name="connsiteY63" fmla="*/ 1844 h 10441"/>
              <a:gd name="connsiteX64" fmla="*/ 6009 w 10000"/>
              <a:gd name="connsiteY64" fmla="*/ 1963 h 10441"/>
              <a:gd name="connsiteX65" fmla="*/ 5915 w 10000"/>
              <a:gd name="connsiteY65" fmla="*/ 2381 h 10441"/>
              <a:gd name="connsiteX66" fmla="*/ 6553 w 10000"/>
              <a:gd name="connsiteY66" fmla="*/ 2835 h 10441"/>
              <a:gd name="connsiteX67" fmla="*/ 7042 w 10000"/>
              <a:gd name="connsiteY67" fmla="*/ 3247 h 10441"/>
              <a:gd name="connsiteX68" fmla="*/ 6620 w 10000"/>
              <a:gd name="connsiteY68" fmla="*/ 3486 h 10441"/>
              <a:gd name="connsiteX69" fmla="*/ 6103 w 10000"/>
              <a:gd name="connsiteY69" fmla="*/ 3396 h 10441"/>
              <a:gd name="connsiteX70" fmla="*/ 5634 w 10000"/>
              <a:gd name="connsiteY70" fmla="*/ 3486 h 10441"/>
              <a:gd name="connsiteX71" fmla="*/ 5728 w 10000"/>
              <a:gd name="connsiteY71" fmla="*/ 3754 h 10441"/>
              <a:gd name="connsiteX72" fmla="*/ 6056 w 10000"/>
              <a:gd name="connsiteY72" fmla="*/ 3874 h 10441"/>
              <a:gd name="connsiteX73" fmla="*/ 6150 w 10000"/>
              <a:gd name="connsiteY73" fmla="*/ 4590 h 10441"/>
              <a:gd name="connsiteX74" fmla="*/ 5540 w 10000"/>
              <a:gd name="connsiteY74" fmla="*/ 4620 h 10441"/>
              <a:gd name="connsiteX75" fmla="*/ 5540 w 10000"/>
              <a:gd name="connsiteY75" fmla="*/ 5038 h 10441"/>
              <a:gd name="connsiteX76" fmla="*/ 4601 w 10000"/>
              <a:gd name="connsiteY76" fmla="*/ 5456 h 10441"/>
              <a:gd name="connsiteX77" fmla="*/ 4883 w 10000"/>
              <a:gd name="connsiteY77" fmla="*/ 5844 h 10441"/>
              <a:gd name="connsiteX78" fmla="*/ 4648 w 10000"/>
              <a:gd name="connsiteY78" fmla="*/ 6202 h 10441"/>
              <a:gd name="connsiteX79" fmla="*/ 5446 w 10000"/>
              <a:gd name="connsiteY79" fmla="*/ 6889 h 10441"/>
              <a:gd name="connsiteX80" fmla="*/ 6573 w 10000"/>
              <a:gd name="connsiteY80" fmla="*/ 6889 h 10441"/>
              <a:gd name="connsiteX81" fmla="*/ 7230 w 10000"/>
              <a:gd name="connsiteY81" fmla="*/ 6769 h 10441"/>
              <a:gd name="connsiteX82" fmla="*/ 7793 w 10000"/>
              <a:gd name="connsiteY82" fmla="*/ 6919 h 10441"/>
              <a:gd name="connsiteX83" fmla="*/ 8263 w 10000"/>
              <a:gd name="connsiteY83" fmla="*/ 7307 h 10441"/>
              <a:gd name="connsiteX84" fmla="*/ 8638 w 10000"/>
              <a:gd name="connsiteY84" fmla="*/ 8053 h 10441"/>
              <a:gd name="connsiteX85" fmla="*/ 9014 w 10000"/>
              <a:gd name="connsiteY85" fmla="*/ 8023 h 10441"/>
              <a:gd name="connsiteX86" fmla="*/ 10000 w 10000"/>
              <a:gd name="connsiteY86" fmla="*/ 8769 h 10441"/>
              <a:gd name="connsiteX87" fmla="*/ 8826 w 10000"/>
              <a:gd name="connsiteY87" fmla="*/ 9575 h 10441"/>
              <a:gd name="connsiteX88" fmla="*/ 9296 w 10000"/>
              <a:gd name="connsiteY88" fmla="*/ 10172 h 10441"/>
              <a:gd name="connsiteX89" fmla="*/ 9108 w 10000"/>
              <a:gd name="connsiteY89" fmla="*/ 10411 h 10441"/>
              <a:gd name="connsiteX90" fmla="*/ 8826 w 10000"/>
              <a:gd name="connsiteY90" fmla="*/ 10172 h 10441"/>
              <a:gd name="connsiteX91" fmla="*/ 6948 w 10000"/>
              <a:gd name="connsiteY91" fmla="*/ 10142 h 10441"/>
              <a:gd name="connsiteX92" fmla="*/ 6620 w 10000"/>
              <a:gd name="connsiteY92" fmla="*/ 10441 h 10441"/>
              <a:gd name="connsiteX93" fmla="*/ 6056 w 10000"/>
              <a:gd name="connsiteY93" fmla="*/ 10411 h 10441"/>
              <a:gd name="connsiteX0" fmla="*/ 6056 w 10000"/>
              <a:gd name="connsiteY0" fmla="*/ 10411 h 10441"/>
              <a:gd name="connsiteX1" fmla="*/ 6150 w 10000"/>
              <a:gd name="connsiteY1" fmla="*/ 9575 h 10441"/>
              <a:gd name="connsiteX2" fmla="*/ 6432 w 10000"/>
              <a:gd name="connsiteY2" fmla="*/ 8769 h 10441"/>
              <a:gd name="connsiteX3" fmla="*/ 5634 w 10000"/>
              <a:gd name="connsiteY3" fmla="*/ 8590 h 10441"/>
              <a:gd name="connsiteX4" fmla="*/ 5399 w 10000"/>
              <a:gd name="connsiteY4" fmla="*/ 8411 h 10441"/>
              <a:gd name="connsiteX5" fmla="*/ 5023 w 10000"/>
              <a:gd name="connsiteY5" fmla="*/ 8501 h 10441"/>
              <a:gd name="connsiteX6" fmla="*/ 4695 w 10000"/>
              <a:gd name="connsiteY6" fmla="*/ 7934 h 10441"/>
              <a:gd name="connsiteX7" fmla="*/ 4131 w 10000"/>
              <a:gd name="connsiteY7" fmla="*/ 7575 h 10441"/>
              <a:gd name="connsiteX8" fmla="*/ 3709 w 10000"/>
              <a:gd name="connsiteY8" fmla="*/ 7605 h 10441"/>
              <a:gd name="connsiteX9" fmla="*/ 3803 w 10000"/>
              <a:gd name="connsiteY9" fmla="*/ 7784 h 10441"/>
              <a:gd name="connsiteX10" fmla="*/ 3333 w 10000"/>
              <a:gd name="connsiteY10" fmla="*/ 7814 h 10441"/>
              <a:gd name="connsiteX11" fmla="*/ 3286 w 10000"/>
              <a:gd name="connsiteY11" fmla="*/ 7128 h 10441"/>
              <a:gd name="connsiteX12" fmla="*/ 2535 w 10000"/>
              <a:gd name="connsiteY12" fmla="*/ 7098 h 10441"/>
              <a:gd name="connsiteX13" fmla="*/ 2629 w 10000"/>
              <a:gd name="connsiteY13" fmla="*/ 6799 h 10441"/>
              <a:gd name="connsiteX14" fmla="*/ 2300 w 10000"/>
              <a:gd name="connsiteY14" fmla="*/ 6710 h 10441"/>
              <a:gd name="connsiteX15" fmla="*/ 2113 w 10000"/>
              <a:gd name="connsiteY15" fmla="*/ 6202 h 10441"/>
              <a:gd name="connsiteX16" fmla="*/ 2441 w 10000"/>
              <a:gd name="connsiteY16" fmla="*/ 6053 h 10441"/>
              <a:gd name="connsiteX17" fmla="*/ 2911 w 10000"/>
              <a:gd name="connsiteY17" fmla="*/ 5665 h 10441"/>
              <a:gd name="connsiteX18" fmla="*/ 2629 w 10000"/>
              <a:gd name="connsiteY18" fmla="*/ 5456 h 10441"/>
              <a:gd name="connsiteX19" fmla="*/ 3192 w 10000"/>
              <a:gd name="connsiteY19" fmla="*/ 5128 h 10441"/>
              <a:gd name="connsiteX20" fmla="*/ 2629 w 10000"/>
              <a:gd name="connsiteY20" fmla="*/ 5128 h 10441"/>
              <a:gd name="connsiteX21" fmla="*/ 2629 w 10000"/>
              <a:gd name="connsiteY21" fmla="*/ 4769 h 10441"/>
              <a:gd name="connsiteX22" fmla="*/ 2817 w 10000"/>
              <a:gd name="connsiteY22" fmla="*/ 4202 h 10441"/>
              <a:gd name="connsiteX23" fmla="*/ 2582 w 10000"/>
              <a:gd name="connsiteY23" fmla="*/ 3725 h 10441"/>
              <a:gd name="connsiteX24" fmla="*/ 2019 w 10000"/>
              <a:gd name="connsiteY24" fmla="*/ 3993 h 10441"/>
              <a:gd name="connsiteX25" fmla="*/ 1643 w 10000"/>
              <a:gd name="connsiteY25" fmla="*/ 3725 h 10441"/>
              <a:gd name="connsiteX26" fmla="*/ 1315 w 10000"/>
              <a:gd name="connsiteY26" fmla="*/ 3725 h 10441"/>
              <a:gd name="connsiteX27" fmla="*/ 1925 w 10000"/>
              <a:gd name="connsiteY27" fmla="*/ 3038 h 10441"/>
              <a:gd name="connsiteX28" fmla="*/ 1831 w 10000"/>
              <a:gd name="connsiteY28" fmla="*/ 2799 h 10441"/>
              <a:gd name="connsiteX29" fmla="*/ 1315 w 10000"/>
              <a:gd name="connsiteY29" fmla="*/ 2799 h 10441"/>
              <a:gd name="connsiteX30" fmla="*/ 939 w 10000"/>
              <a:gd name="connsiteY30" fmla="*/ 2620 h 10441"/>
              <a:gd name="connsiteX31" fmla="*/ 610 w 10000"/>
              <a:gd name="connsiteY31" fmla="*/ 2590 h 10441"/>
              <a:gd name="connsiteX32" fmla="*/ 798 w 10000"/>
              <a:gd name="connsiteY32" fmla="*/ 2292 h 10441"/>
              <a:gd name="connsiteX33" fmla="*/ 188 w 10000"/>
              <a:gd name="connsiteY33" fmla="*/ 2501 h 10441"/>
              <a:gd name="connsiteX34" fmla="*/ 0 w 10000"/>
              <a:gd name="connsiteY34" fmla="*/ 2471 h 10441"/>
              <a:gd name="connsiteX35" fmla="*/ 751 w 10000"/>
              <a:gd name="connsiteY35" fmla="*/ 2142 h 10441"/>
              <a:gd name="connsiteX36" fmla="*/ 986 w 10000"/>
              <a:gd name="connsiteY36" fmla="*/ 2142 h 10441"/>
              <a:gd name="connsiteX37" fmla="*/ 1784 w 10000"/>
              <a:gd name="connsiteY37" fmla="*/ 2142 h 10441"/>
              <a:gd name="connsiteX38" fmla="*/ 1033 w 10000"/>
              <a:gd name="connsiteY38" fmla="*/ 2202 h 10441"/>
              <a:gd name="connsiteX39" fmla="*/ 986 w 10000"/>
              <a:gd name="connsiteY39" fmla="*/ 2292 h 10441"/>
              <a:gd name="connsiteX40" fmla="*/ 1878 w 10000"/>
              <a:gd name="connsiteY40" fmla="*/ 2262 h 10441"/>
              <a:gd name="connsiteX41" fmla="*/ 2066 w 10000"/>
              <a:gd name="connsiteY41" fmla="*/ 2501 h 10441"/>
              <a:gd name="connsiteX42" fmla="*/ 1854 w 10000"/>
              <a:gd name="connsiteY42" fmla="*/ 1859 h 10441"/>
              <a:gd name="connsiteX43" fmla="*/ 2180 w 10000"/>
              <a:gd name="connsiteY43" fmla="*/ 1567 h 10441"/>
              <a:gd name="connsiteX44" fmla="*/ 3146 w 10000"/>
              <a:gd name="connsiteY44" fmla="*/ 1754 h 10441"/>
              <a:gd name="connsiteX45" fmla="*/ 3005 w 10000"/>
              <a:gd name="connsiteY45" fmla="*/ 1486 h 10441"/>
              <a:gd name="connsiteX46" fmla="*/ 2723 w 10000"/>
              <a:gd name="connsiteY46" fmla="*/ 1516 h 10441"/>
              <a:gd name="connsiteX47" fmla="*/ 2535 w 10000"/>
              <a:gd name="connsiteY47" fmla="*/ 1277 h 10441"/>
              <a:gd name="connsiteX48" fmla="*/ 3146 w 10000"/>
              <a:gd name="connsiteY48" fmla="*/ 1187 h 10441"/>
              <a:gd name="connsiteX49" fmla="*/ 2676 w 10000"/>
              <a:gd name="connsiteY49" fmla="*/ 680 h 10441"/>
              <a:gd name="connsiteX50" fmla="*/ 2300 w 10000"/>
              <a:gd name="connsiteY50" fmla="*/ 740 h 10441"/>
              <a:gd name="connsiteX51" fmla="*/ 2254 w 10000"/>
              <a:gd name="connsiteY51" fmla="*/ 560 h 10441"/>
              <a:gd name="connsiteX52" fmla="*/ 2629 w 10000"/>
              <a:gd name="connsiteY52" fmla="*/ 441 h 10441"/>
              <a:gd name="connsiteX53" fmla="*/ 2497 w 10000"/>
              <a:gd name="connsiteY53" fmla="*/ 0 h 10441"/>
              <a:gd name="connsiteX54" fmla="*/ 3876 w 10000"/>
              <a:gd name="connsiteY54" fmla="*/ 100 h 10441"/>
              <a:gd name="connsiteX55" fmla="*/ 4601 w 10000"/>
              <a:gd name="connsiteY55" fmla="*/ 769 h 10441"/>
              <a:gd name="connsiteX56" fmla="*/ 4695 w 10000"/>
              <a:gd name="connsiteY56" fmla="*/ 1068 h 10441"/>
              <a:gd name="connsiteX57" fmla="*/ 4413 w 10000"/>
              <a:gd name="connsiteY57" fmla="*/ 1307 h 10441"/>
              <a:gd name="connsiteX58" fmla="*/ 5143 w 10000"/>
              <a:gd name="connsiteY58" fmla="*/ 981 h 10441"/>
              <a:gd name="connsiteX59" fmla="*/ 5562 w 10000"/>
              <a:gd name="connsiteY59" fmla="*/ 1016 h 10441"/>
              <a:gd name="connsiteX60" fmla="*/ 5634 w 10000"/>
              <a:gd name="connsiteY60" fmla="*/ 1426 h 10441"/>
              <a:gd name="connsiteX61" fmla="*/ 5915 w 10000"/>
              <a:gd name="connsiteY61" fmla="*/ 1277 h 10441"/>
              <a:gd name="connsiteX62" fmla="*/ 6103 w 10000"/>
              <a:gd name="connsiteY62" fmla="*/ 1605 h 10441"/>
              <a:gd name="connsiteX63" fmla="*/ 5681 w 10000"/>
              <a:gd name="connsiteY63" fmla="*/ 1844 h 10441"/>
              <a:gd name="connsiteX64" fmla="*/ 6009 w 10000"/>
              <a:gd name="connsiteY64" fmla="*/ 1963 h 10441"/>
              <a:gd name="connsiteX65" fmla="*/ 5915 w 10000"/>
              <a:gd name="connsiteY65" fmla="*/ 2381 h 10441"/>
              <a:gd name="connsiteX66" fmla="*/ 6553 w 10000"/>
              <a:gd name="connsiteY66" fmla="*/ 2835 h 10441"/>
              <a:gd name="connsiteX67" fmla="*/ 7042 w 10000"/>
              <a:gd name="connsiteY67" fmla="*/ 3247 h 10441"/>
              <a:gd name="connsiteX68" fmla="*/ 6620 w 10000"/>
              <a:gd name="connsiteY68" fmla="*/ 3486 h 10441"/>
              <a:gd name="connsiteX69" fmla="*/ 6103 w 10000"/>
              <a:gd name="connsiteY69" fmla="*/ 3396 h 10441"/>
              <a:gd name="connsiteX70" fmla="*/ 5634 w 10000"/>
              <a:gd name="connsiteY70" fmla="*/ 3486 h 10441"/>
              <a:gd name="connsiteX71" fmla="*/ 5728 w 10000"/>
              <a:gd name="connsiteY71" fmla="*/ 3754 h 10441"/>
              <a:gd name="connsiteX72" fmla="*/ 6056 w 10000"/>
              <a:gd name="connsiteY72" fmla="*/ 3874 h 10441"/>
              <a:gd name="connsiteX73" fmla="*/ 6150 w 10000"/>
              <a:gd name="connsiteY73" fmla="*/ 4590 h 10441"/>
              <a:gd name="connsiteX74" fmla="*/ 5540 w 10000"/>
              <a:gd name="connsiteY74" fmla="*/ 4620 h 10441"/>
              <a:gd name="connsiteX75" fmla="*/ 5540 w 10000"/>
              <a:gd name="connsiteY75" fmla="*/ 5038 h 10441"/>
              <a:gd name="connsiteX76" fmla="*/ 4601 w 10000"/>
              <a:gd name="connsiteY76" fmla="*/ 5456 h 10441"/>
              <a:gd name="connsiteX77" fmla="*/ 4883 w 10000"/>
              <a:gd name="connsiteY77" fmla="*/ 5844 h 10441"/>
              <a:gd name="connsiteX78" fmla="*/ 4648 w 10000"/>
              <a:gd name="connsiteY78" fmla="*/ 6202 h 10441"/>
              <a:gd name="connsiteX79" fmla="*/ 5446 w 10000"/>
              <a:gd name="connsiteY79" fmla="*/ 6889 h 10441"/>
              <a:gd name="connsiteX80" fmla="*/ 6573 w 10000"/>
              <a:gd name="connsiteY80" fmla="*/ 6889 h 10441"/>
              <a:gd name="connsiteX81" fmla="*/ 7230 w 10000"/>
              <a:gd name="connsiteY81" fmla="*/ 6769 h 10441"/>
              <a:gd name="connsiteX82" fmla="*/ 7793 w 10000"/>
              <a:gd name="connsiteY82" fmla="*/ 6919 h 10441"/>
              <a:gd name="connsiteX83" fmla="*/ 8263 w 10000"/>
              <a:gd name="connsiteY83" fmla="*/ 7307 h 10441"/>
              <a:gd name="connsiteX84" fmla="*/ 8638 w 10000"/>
              <a:gd name="connsiteY84" fmla="*/ 8053 h 10441"/>
              <a:gd name="connsiteX85" fmla="*/ 9014 w 10000"/>
              <a:gd name="connsiteY85" fmla="*/ 8023 h 10441"/>
              <a:gd name="connsiteX86" fmla="*/ 10000 w 10000"/>
              <a:gd name="connsiteY86" fmla="*/ 8769 h 10441"/>
              <a:gd name="connsiteX87" fmla="*/ 8826 w 10000"/>
              <a:gd name="connsiteY87" fmla="*/ 9575 h 10441"/>
              <a:gd name="connsiteX88" fmla="*/ 9296 w 10000"/>
              <a:gd name="connsiteY88" fmla="*/ 10172 h 10441"/>
              <a:gd name="connsiteX89" fmla="*/ 9108 w 10000"/>
              <a:gd name="connsiteY89" fmla="*/ 10411 h 10441"/>
              <a:gd name="connsiteX90" fmla="*/ 8826 w 10000"/>
              <a:gd name="connsiteY90" fmla="*/ 10172 h 10441"/>
              <a:gd name="connsiteX91" fmla="*/ 6948 w 10000"/>
              <a:gd name="connsiteY91" fmla="*/ 10142 h 10441"/>
              <a:gd name="connsiteX92" fmla="*/ 6620 w 10000"/>
              <a:gd name="connsiteY92" fmla="*/ 10441 h 10441"/>
              <a:gd name="connsiteX93" fmla="*/ 6056 w 10000"/>
              <a:gd name="connsiteY93" fmla="*/ 10411 h 10441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3146 w 10000"/>
              <a:gd name="connsiteY48" fmla="*/ 1506 h 10760"/>
              <a:gd name="connsiteX49" fmla="*/ 2676 w 10000"/>
              <a:gd name="connsiteY49" fmla="*/ 99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629 w 10000"/>
              <a:gd name="connsiteY52" fmla="*/ 760 h 10760"/>
              <a:gd name="connsiteX53" fmla="*/ 2267 w 10000"/>
              <a:gd name="connsiteY53" fmla="*/ 0 h 10760"/>
              <a:gd name="connsiteX54" fmla="*/ 3876 w 10000"/>
              <a:gd name="connsiteY54" fmla="*/ 419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413 w 10000"/>
              <a:gd name="connsiteY57" fmla="*/ 1626 h 10760"/>
              <a:gd name="connsiteX58" fmla="*/ 5143 w 10000"/>
              <a:gd name="connsiteY58" fmla="*/ 1300 h 10760"/>
              <a:gd name="connsiteX59" fmla="*/ 5562 w 10000"/>
              <a:gd name="connsiteY59" fmla="*/ 1335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3146 w 10000"/>
              <a:gd name="connsiteY48" fmla="*/ 1506 h 10760"/>
              <a:gd name="connsiteX49" fmla="*/ 2676 w 10000"/>
              <a:gd name="connsiteY49" fmla="*/ 99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629 w 10000"/>
              <a:gd name="connsiteY52" fmla="*/ 760 h 10760"/>
              <a:gd name="connsiteX53" fmla="*/ 2267 w 10000"/>
              <a:gd name="connsiteY53" fmla="*/ 0 h 10760"/>
              <a:gd name="connsiteX54" fmla="*/ 3423 w 10000"/>
              <a:gd name="connsiteY54" fmla="*/ 234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413 w 10000"/>
              <a:gd name="connsiteY57" fmla="*/ 1626 h 10760"/>
              <a:gd name="connsiteX58" fmla="*/ 5143 w 10000"/>
              <a:gd name="connsiteY58" fmla="*/ 1300 h 10760"/>
              <a:gd name="connsiteX59" fmla="*/ 5562 w 10000"/>
              <a:gd name="connsiteY59" fmla="*/ 1335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676 w 10000"/>
              <a:gd name="connsiteY49" fmla="*/ 99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629 w 10000"/>
              <a:gd name="connsiteY52" fmla="*/ 760 h 10760"/>
              <a:gd name="connsiteX53" fmla="*/ 2267 w 10000"/>
              <a:gd name="connsiteY53" fmla="*/ 0 h 10760"/>
              <a:gd name="connsiteX54" fmla="*/ 3423 w 10000"/>
              <a:gd name="connsiteY54" fmla="*/ 234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413 w 10000"/>
              <a:gd name="connsiteY57" fmla="*/ 1626 h 10760"/>
              <a:gd name="connsiteX58" fmla="*/ 5143 w 10000"/>
              <a:gd name="connsiteY58" fmla="*/ 1300 h 10760"/>
              <a:gd name="connsiteX59" fmla="*/ 5562 w 10000"/>
              <a:gd name="connsiteY59" fmla="*/ 1335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629 w 10000"/>
              <a:gd name="connsiteY52" fmla="*/ 760 h 10760"/>
              <a:gd name="connsiteX53" fmla="*/ 2267 w 10000"/>
              <a:gd name="connsiteY53" fmla="*/ 0 h 10760"/>
              <a:gd name="connsiteX54" fmla="*/ 3423 w 10000"/>
              <a:gd name="connsiteY54" fmla="*/ 234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413 w 10000"/>
              <a:gd name="connsiteY57" fmla="*/ 1626 h 10760"/>
              <a:gd name="connsiteX58" fmla="*/ 5143 w 10000"/>
              <a:gd name="connsiteY58" fmla="*/ 1300 h 10760"/>
              <a:gd name="connsiteX59" fmla="*/ 5562 w 10000"/>
              <a:gd name="connsiteY59" fmla="*/ 1335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423 w 10000"/>
              <a:gd name="connsiteY54" fmla="*/ 234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413 w 10000"/>
              <a:gd name="connsiteY57" fmla="*/ 1626 h 10760"/>
              <a:gd name="connsiteX58" fmla="*/ 5143 w 10000"/>
              <a:gd name="connsiteY58" fmla="*/ 1300 h 10760"/>
              <a:gd name="connsiteX59" fmla="*/ 5562 w 10000"/>
              <a:gd name="connsiteY59" fmla="*/ 1335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413 w 10000"/>
              <a:gd name="connsiteY57" fmla="*/ 1626 h 10760"/>
              <a:gd name="connsiteX58" fmla="*/ 5143 w 10000"/>
              <a:gd name="connsiteY58" fmla="*/ 1300 h 10760"/>
              <a:gd name="connsiteX59" fmla="*/ 5562 w 10000"/>
              <a:gd name="connsiteY59" fmla="*/ 1335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62 w 10000"/>
              <a:gd name="connsiteY59" fmla="*/ 1335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695 w 10000"/>
              <a:gd name="connsiteY56" fmla="*/ 1387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553 w 10000"/>
              <a:gd name="connsiteY66" fmla="*/ 3154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7042 w 10000"/>
              <a:gd name="connsiteY67" fmla="*/ 3566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6620 w 10000"/>
              <a:gd name="connsiteY68" fmla="*/ 3805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6056 w 10000"/>
              <a:gd name="connsiteY72" fmla="*/ 4193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728 w 10000"/>
              <a:gd name="connsiteY71" fmla="*/ 4073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2019 w 10000"/>
              <a:gd name="connsiteY24" fmla="*/ 431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1643 w 10000"/>
              <a:gd name="connsiteY25" fmla="*/ 4044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1315 w 10000"/>
              <a:gd name="connsiteY26" fmla="*/ 4044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831 w 10000"/>
              <a:gd name="connsiteY28" fmla="*/ 3118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610 w 10000"/>
              <a:gd name="connsiteY31" fmla="*/ 2909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798 w 10000"/>
              <a:gd name="connsiteY32" fmla="*/ 2611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751 w 10000"/>
              <a:gd name="connsiteY35" fmla="*/ 2461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358 w 10000"/>
              <a:gd name="connsiteY35" fmla="*/ 1986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986 w 10000"/>
              <a:gd name="connsiteY39" fmla="*/ 261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358 w 10000"/>
              <a:gd name="connsiteY35" fmla="*/ 1986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1033 w 10000"/>
              <a:gd name="connsiteY38" fmla="*/ 2521 h 10760"/>
              <a:gd name="connsiteX39" fmla="*/ 1019 w 10000"/>
              <a:gd name="connsiteY39" fmla="*/ 202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358 w 10000"/>
              <a:gd name="connsiteY35" fmla="*/ 1986 h 10760"/>
              <a:gd name="connsiteX36" fmla="*/ 986 w 10000"/>
              <a:gd name="connsiteY36" fmla="*/ 2461 h 10760"/>
              <a:gd name="connsiteX37" fmla="*/ 1784 w 10000"/>
              <a:gd name="connsiteY37" fmla="*/ 2461 h 10760"/>
              <a:gd name="connsiteX38" fmla="*/ 708 w 10000"/>
              <a:gd name="connsiteY38" fmla="*/ 2015 h 10760"/>
              <a:gd name="connsiteX39" fmla="*/ 1019 w 10000"/>
              <a:gd name="connsiteY39" fmla="*/ 202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358 w 10000"/>
              <a:gd name="connsiteY35" fmla="*/ 1986 h 10760"/>
              <a:gd name="connsiteX36" fmla="*/ 1007 w 10000"/>
              <a:gd name="connsiteY36" fmla="*/ 1999 h 10760"/>
              <a:gd name="connsiteX37" fmla="*/ 1784 w 10000"/>
              <a:gd name="connsiteY37" fmla="*/ 2461 h 10760"/>
              <a:gd name="connsiteX38" fmla="*/ 708 w 10000"/>
              <a:gd name="connsiteY38" fmla="*/ 2015 h 10760"/>
              <a:gd name="connsiteX39" fmla="*/ 1019 w 10000"/>
              <a:gd name="connsiteY39" fmla="*/ 202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358 w 10000"/>
              <a:gd name="connsiteY35" fmla="*/ 1986 h 10760"/>
              <a:gd name="connsiteX36" fmla="*/ 1007 w 10000"/>
              <a:gd name="connsiteY36" fmla="*/ 1999 h 10760"/>
              <a:gd name="connsiteX37" fmla="*/ 1784 w 10000"/>
              <a:gd name="connsiteY37" fmla="*/ 2461 h 10760"/>
              <a:gd name="connsiteX38" fmla="*/ 708 w 10000"/>
              <a:gd name="connsiteY38" fmla="*/ 2015 h 10760"/>
              <a:gd name="connsiteX39" fmla="*/ 1019 w 10000"/>
              <a:gd name="connsiteY39" fmla="*/ 202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3146 w 10000"/>
              <a:gd name="connsiteY44" fmla="*/ 207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358 w 10000"/>
              <a:gd name="connsiteY35" fmla="*/ 1986 h 10760"/>
              <a:gd name="connsiteX36" fmla="*/ 1007 w 10000"/>
              <a:gd name="connsiteY36" fmla="*/ 1999 h 10760"/>
              <a:gd name="connsiteX37" fmla="*/ 1784 w 10000"/>
              <a:gd name="connsiteY37" fmla="*/ 2461 h 10760"/>
              <a:gd name="connsiteX38" fmla="*/ 708 w 10000"/>
              <a:gd name="connsiteY38" fmla="*/ 2015 h 10760"/>
              <a:gd name="connsiteX39" fmla="*/ 1019 w 10000"/>
              <a:gd name="connsiteY39" fmla="*/ 2021 h 10760"/>
              <a:gd name="connsiteX40" fmla="*/ 1878 w 10000"/>
              <a:gd name="connsiteY40" fmla="*/ 2581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2305 w 10000"/>
              <a:gd name="connsiteY44" fmla="*/ 179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056 w 10000"/>
              <a:gd name="connsiteY0" fmla="*/ 10730 h 10760"/>
              <a:gd name="connsiteX1" fmla="*/ 6150 w 10000"/>
              <a:gd name="connsiteY1" fmla="*/ 9894 h 10760"/>
              <a:gd name="connsiteX2" fmla="*/ 6432 w 10000"/>
              <a:gd name="connsiteY2" fmla="*/ 9088 h 10760"/>
              <a:gd name="connsiteX3" fmla="*/ 5634 w 10000"/>
              <a:gd name="connsiteY3" fmla="*/ 8909 h 10760"/>
              <a:gd name="connsiteX4" fmla="*/ 5399 w 10000"/>
              <a:gd name="connsiteY4" fmla="*/ 8730 h 10760"/>
              <a:gd name="connsiteX5" fmla="*/ 5023 w 10000"/>
              <a:gd name="connsiteY5" fmla="*/ 8820 h 10760"/>
              <a:gd name="connsiteX6" fmla="*/ 4695 w 10000"/>
              <a:gd name="connsiteY6" fmla="*/ 8253 h 10760"/>
              <a:gd name="connsiteX7" fmla="*/ 4131 w 10000"/>
              <a:gd name="connsiteY7" fmla="*/ 7894 h 10760"/>
              <a:gd name="connsiteX8" fmla="*/ 3709 w 10000"/>
              <a:gd name="connsiteY8" fmla="*/ 7924 h 10760"/>
              <a:gd name="connsiteX9" fmla="*/ 3803 w 10000"/>
              <a:gd name="connsiteY9" fmla="*/ 8103 h 10760"/>
              <a:gd name="connsiteX10" fmla="*/ 3333 w 10000"/>
              <a:gd name="connsiteY10" fmla="*/ 8133 h 10760"/>
              <a:gd name="connsiteX11" fmla="*/ 3286 w 10000"/>
              <a:gd name="connsiteY11" fmla="*/ 7447 h 10760"/>
              <a:gd name="connsiteX12" fmla="*/ 2535 w 10000"/>
              <a:gd name="connsiteY12" fmla="*/ 7417 h 10760"/>
              <a:gd name="connsiteX13" fmla="*/ 2629 w 10000"/>
              <a:gd name="connsiteY13" fmla="*/ 7118 h 10760"/>
              <a:gd name="connsiteX14" fmla="*/ 2300 w 10000"/>
              <a:gd name="connsiteY14" fmla="*/ 7029 h 10760"/>
              <a:gd name="connsiteX15" fmla="*/ 2113 w 10000"/>
              <a:gd name="connsiteY15" fmla="*/ 6521 h 10760"/>
              <a:gd name="connsiteX16" fmla="*/ 2441 w 10000"/>
              <a:gd name="connsiteY16" fmla="*/ 6372 h 10760"/>
              <a:gd name="connsiteX17" fmla="*/ 2911 w 10000"/>
              <a:gd name="connsiteY17" fmla="*/ 5984 h 10760"/>
              <a:gd name="connsiteX18" fmla="*/ 2629 w 10000"/>
              <a:gd name="connsiteY18" fmla="*/ 5775 h 10760"/>
              <a:gd name="connsiteX19" fmla="*/ 3192 w 10000"/>
              <a:gd name="connsiteY19" fmla="*/ 5447 h 10760"/>
              <a:gd name="connsiteX20" fmla="*/ 2629 w 10000"/>
              <a:gd name="connsiteY20" fmla="*/ 5447 h 10760"/>
              <a:gd name="connsiteX21" fmla="*/ 2629 w 10000"/>
              <a:gd name="connsiteY21" fmla="*/ 5088 h 10760"/>
              <a:gd name="connsiteX22" fmla="*/ 2817 w 10000"/>
              <a:gd name="connsiteY22" fmla="*/ 4521 h 10760"/>
              <a:gd name="connsiteX23" fmla="*/ 2582 w 10000"/>
              <a:gd name="connsiteY23" fmla="*/ 4044 h 10760"/>
              <a:gd name="connsiteX24" fmla="*/ 3288 w 10000"/>
              <a:gd name="connsiteY24" fmla="*/ 3532 h 10760"/>
              <a:gd name="connsiteX25" fmla="*/ 2890 w 10000"/>
              <a:gd name="connsiteY25" fmla="*/ 3342 h 10760"/>
              <a:gd name="connsiteX26" fmla="*/ 2620 w 10000"/>
              <a:gd name="connsiteY26" fmla="*/ 3260 h 10760"/>
              <a:gd name="connsiteX27" fmla="*/ 1925 w 10000"/>
              <a:gd name="connsiteY27" fmla="*/ 3357 h 10760"/>
              <a:gd name="connsiteX28" fmla="*/ 1687 w 10000"/>
              <a:gd name="connsiteY28" fmla="*/ 3336 h 10760"/>
              <a:gd name="connsiteX29" fmla="*/ 1315 w 10000"/>
              <a:gd name="connsiteY29" fmla="*/ 3118 h 10760"/>
              <a:gd name="connsiteX30" fmla="*/ 939 w 10000"/>
              <a:gd name="connsiteY30" fmla="*/ 2939 h 10760"/>
              <a:gd name="connsiteX31" fmla="*/ 169 w 10000"/>
              <a:gd name="connsiteY31" fmla="*/ 2950 h 10760"/>
              <a:gd name="connsiteX32" fmla="*/ 135 w 10000"/>
              <a:gd name="connsiteY32" fmla="*/ 2289 h 10760"/>
              <a:gd name="connsiteX33" fmla="*/ 188 w 10000"/>
              <a:gd name="connsiteY33" fmla="*/ 2820 h 10760"/>
              <a:gd name="connsiteX34" fmla="*/ 0 w 10000"/>
              <a:gd name="connsiteY34" fmla="*/ 2790 h 10760"/>
              <a:gd name="connsiteX35" fmla="*/ 358 w 10000"/>
              <a:gd name="connsiteY35" fmla="*/ 1986 h 10760"/>
              <a:gd name="connsiteX36" fmla="*/ 1007 w 10000"/>
              <a:gd name="connsiteY36" fmla="*/ 1999 h 10760"/>
              <a:gd name="connsiteX37" fmla="*/ 1784 w 10000"/>
              <a:gd name="connsiteY37" fmla="*/ 2461 h 10760"/>
              <a:gd name="connsiteX38" fmla="*/ 708 w 10000"/>
              <a:gd name="connsiteY38" fmla="*/ 2015 h 10760"/>
              <a:gd name="connsiteX39" fmla="*/ 1019 w 10000"/>
              <a:gd name="connsiteY39" fmla="*/ 2021 h 10760"/>
              <a:gd name="connsiteX40" fmla="*/ 1181 w 10000"/>
              <a:gd name="connsiteY40" fmla="*/ 2083 h 10760"/>
              <a:gd name="connsiteX41" fmla="*/ 2066 w 10000"/>
              <a:gd name="connsiteY41" fmla="*/ 2820 h 10760"/>
              <a:gd name="connsiteX42" fmla="*/ 1854 w 10000"/>
              <a:gd name="connsiteY42" fmla="*/ 2178 h 10760"/>
              <a:gd name="connsiteX43" fmla="*/ 2180 w 10000"/>
              <a:gd name="connsiteY43" fmla="*/ 1886 h 10760"/>
              <a:gd name="connsiteX44" fmla="*/ 2305 w 10000"/>
              <a:gd name="connsiteY44" fmla="*/ 1793 h 10760"/>
              <a:gd name="connsiteX45" fmla="*/ 3005 w 10000"/>
              <a:gd name="connsiteY45" fmla="*/ 1805 h 10760"/>
              <a:gd name="connsiteX46" fmla="*/ 2723 w 10000"/>
              <a:gd name="connsiteY46" fmla="*/ 1835 h 10760"/>
              <a:gd name="connsiteX47" fmla="*/ 2535 w 10000"/>
              <a:gd name="connsiteY47" fmla="*/ 1596 h 10760"/>
              <a:gd name="connsiteX48" fmla="*/ 2518 w 10000"/>
              <a:gd name="connsiteY48" fmla="*/ 1359 h 10760"/>
              <a:gd name="connsiteX49" fmla="*/ 2566 w 10000"/>
              <a:gd name="connsiteY49" fmla="*/ 1009 h 10760"/>
              <a:gd name="connsiteX50" fmla="*/ 2300 w 10000"/>
              <a:gd name="connsiteY50" fmla="*/ 1059 h 10760"/>
              <a:gd name="connsiteX51" fmla="*/ 2254 w 10000"/>
              <a:gd name="connsiteY51" fmla="*/ 879 h 10760"/>
              <a:gd name="connsiteX52" fmla="*/ 2369 w 10000"/>
              <a:gd name="connsiteY52" fmla="*/ 580 h 10760"/>
              <a:gd name="connsiteX53" fmla="*/ 2267 w 10000"/>
              <a:gd name="connsiteY53" fmla="*/ 0 h 10760"/>
              <a:gd name="connsiteX54" fmla="*/ 3565 w 10000"/>
              <a:gd name="connsiteY54" fmla="*/ 195 h 10760"/>
              <a:gd name="connsiteX55" fmla="*/ 4601 w 10000"/>
              <a:gd name="connsiteY55" fmla="*/ 1088 h 10760"/>
              <a:gd name="connsiteX56" fmla="*/ 4861 w 10000"/>
              <a:gd name="connsiteY56" fmla="*/ 1091 h 10760"/>
              <a:gd name="connsiteX57" fmla="*/ 4927 w 10000"/>
              <a:gd name="connsiteY57" fmla="*/ 1196 h 10760"/>
              <a:gd name="connsiteX58" fmla="*/ 5143 w 10000"/>
              <a:gd name="connsiteY58" fmla="*/ 1300 h 10760"/>
              <a:gd name="connsiteX59" fmla="*/ 5584 w 10000"/>
              <a:gd name="connsiteY59" fmla="*/ 1256 h 10760"/>
              <a:gd name="connsiteX60" fmla="*/ 5634 w 10000"/>
              <a:gd name="connsiteY60" fmla="*/ 1745 h 10760"/>
              <a:gd name="connsiteX61" fmla="*/ 5915 w 10000"/>
              <a:gd name="connsiteY61" fmla="*/ 1596 h 10760"/>
              <a:gd name="connsiteX62" fmla="*/ 6103 w 10000"/>
              <a:gd name="connsiteY62" fmla="*/ 1924 h 10760"/>
              <a:gd name="connsiteX63" fmla="*/ 5681 w 10000"/>
              <a:gd name="connsiteY63" fmla="*/ 2163 h 10760"/>
              <a:gd name="connsiteX64" fmla="*/ 6009 w 10000"/>
              <a:gd name="connsiteY64" fmla="*/ 2282 h 10760"/>
              <a:gd name="connsiteX65" fmla="*/ 5915 w 10000"/>
              <a:gd name="connsiteY65" fmla="*/ 2700 h 10760"/>
              <a:gd name="connsiteX66" fmla="*/ 6810 w 10000"/>
              <a:gd name="connsiteY66" fmla="*/ 3130 h 10760"/>
              <a:gd name="connsiteX67" fmla="*/ 5423 w 10000"/>
              <a:gd name="connsiteY67" fmla="*/ 3332 h 10760"/>
              <a:gd name="connsiteX68" fmla="*/ 5676 w 10000"/>
              <a:gd name="connsiteY68" fmla="*/ 3764 h 10760"/>
              <a:gd name="connsiteX69" fmla="*/ 6103 w 10000"/>
              <a:gd name="connsiteY69" fmla="*/ 3715 h 10760"/>
              <a:gd name="connsiteX70" fmla="*/ 5634 w 10000"/>
              <a:gd name="connsiteY70" fmla="*/ 3805 h 10760"/>
              <a:gd name="connsiteX71" fmla="*/ 5966 w 10000"/>
              <a:gd name="connsiteY71" fmla="*/ 3949 h 10760"/>
              <a:gd name="connsiteX72" fmla="*/ 5867 w 10000"/>
              <a:gd name="connsiteY72" fmla="*/ 4185 h 10760"/>
              <a:gd name="connsiteX73" fmla="*/ 6150 w 10000"/>
              <a:gd name="connsiteY73" fmla="*/ 4909 h 10760"/>
              <a:gd name="connsiteX74" fmla="*/ 5540 w 10000"/>
              <a:gd name="connsiteY74" fmla="*/ 4939 h 10760"/>
              <a:gd name="connsiteX75" fmla="*/ 5540 w 10000"/>
              <a:gd name="connsiteY75" fmla="*/ 5357 h 10760"/>
              <a:gd name="connsiteX76" fmla="*/ 4601 w 10000"/>
              <a:gd name="connsiteY76" fmla="*/ 5775 h 10760"/>
              <a:gd name="connsiteX77" fmla="*/ 4883 w 10000"/>
              <a:gd name="connsiteY77" fmla="*/ 6163 h 10760"/>
              <a:gd name="connsiteX78" fmla="*/ 4648 w 10000"/>
              <a:gd name="connsiteY78" fmla="*/ 6521 h 10760"/>
              <a:gd name="connsiteX79" fmla="*/ 5446 w 10000"/>
              <a:gd name="connsiteY79" fmla="*/ 7208 h 10760"/>
              <a:gd name="connsiteX80" fmla="*/ 6573 w 10000"/>
              <a:gd name="connsiteY80" fmla="*/ 7208 h 10760"/>
              <a:gd name="connsiteX81" fmla="*/ 7230 w 10000"/>
              <a:gd name="connsiteY81" fmla="*/ 7088 h 10760"/>
              <a:gd name="connsiteX82" fmla="*/ 7793 w 10000"/>
              <a:gd name="connsiteY82" fmla="*/ 7238 h 10760"/>
              <a:gd name="connsiteX83" fmla="*/ 8263 w 10000"/>
              <a:gd name="connsiteY83" fmla="*/ 7626 h 10760"/>
              <a:gd name="connsiteX84" fmla="*/ 8638 w 10000"/>
              <a:gd name="connsiteY84" fmla="*/ 8372 h 10760"/>
              <a:gd name="connsiteX85" fmla="*/ 9014 w 10000"/>
              <a:gd name="connsiteY85" fmla="*/ 8342 h 10760"/>
              <a:gd name="connsiteX86" fmla="*/ 10000 w 10000"/>
              <a:gd name="connsiteY86" fmla="*/ 9088 h 10760"/>
              <a:gd name="connsiteX87" fmla="*/ 8826 w 10000"/>
              <a:gd name="connsiteY87" fmla="*/ 9894 h 10760"/>
              <a:gd name="connsiteX88" fmla="*/ 9296 w 10000"/>
              <a:gd name="connsiteY88" fmla="*/ 10491 h 10760"/>
              <a:gd name="connsiteX89" fmla="*/ 9108 w 10000"/>
              <a:gd name="connsiteY89" fmla="*/ 10730 h 10760"/>
              <a:gd name="connsiteX90" fmla="*/ 8826 w 10000"/>
              <a:gd name="connsiteY90" fmla="*/ 10491 h 10760"/>
              <a:gd name="connsiteX91" fmla="*/ 6948 w 10000"/>
              <a:gd name="connsiteY91" fmla="*/ 10461 h 10760"/>
              <a:gd name="connsiteX92" fmla="*/ 6620 w 10000"/>
              <a:gd name="connsiteY92" fmla="*/ 10760 h 10760"/>
              <a:gd name="connsiteX93" fmla="*/ 6056 w 10000"/>
              <a:gd name="connsiteY93" fmla="*/ 10730 h 10760"/>
              <a:gd name="connsiteX0" fmla="*/ 6112 w 10056"/>
              <a:gd name="connsiteY0" fmla="*/ 10730 h 10760"/>
              <a:gd name="connsiteX1" fmla="*/ 6206 w 10056"/>
              <a:gd name="connsiteY1" fmla="*/ 9894 h 10760"/>
              <a:gd name="connsiteX2" fmla="*/ 6488 w 10056"/>
              <a:gd name="connsiteY2" fmla="*/ 9088 h 10760"/>
              <a:gd name="connsiteX3" fmla="*/ 5690 w 10056"/>
              <a:gd name="connsiteY3" fmla="*/ 8909 h 10760"/>
              <a:gd name="connsiteX4" fmla="*/ 5455 w 10056"/>
              <a:gd name="connsiteY4" fmla="*/ 8730 h 10760"/>
              <a:gd name="connsiteX5" fmla="*/ 5079 w 10056"/>
              <a:gd name="connsiteY5" fmla="*/ 8820 h 10760"/>
              <a:gd name="connsiteX6" fmla="*/ 4751 w 10056"/>
              <a:gd name="connsiteY6" fmla="*/ 8253 h 10760"/>
              <a:gd name="connsiteX7" fmla="*/ 4187 w 10056"/>
              <a:gd name="connsiteY7" fmla="*/ 7894 h 10760"/>
              <a:gd name="connsiteX8" fmla="*/ 3765 w 10056"/>
              <a:gd name="connsiteY8" fmla="*/ 7924 h 10760"/>
              <a:gd name="connsiteX9" fmla="*/ 3859 w 10056"/>
              <a:gd name="connsiteY9" fmla="*/ 8103 h 10760"/>
              <a:gd name="connsiteX10" fmla="*/ 3389 w 10056"/>
              <a:gd name="connsiteY10" fmla="*/ 8133 h 10760"/>
              <a:gd name="connsiteX11" fmla="*/ 3342 w 10056"/>
              <a:gd name="connsiteY11" fmla="*/ 7447 h 10760"/>
              <a:gd name="connsiteX12" fmla="*/ 2591 w 10056"/>
              <a:gd name="connsiteY12" fmla="*/ 7417 h 10760"/>
              <a:gd name="connsiteX13" fmla="*/ 2685 w 10056"/>
              <a:gd name="connsiteY13" fmla="*/ 7118 h 10760"/>
              <a:gd name="connsiteX14" fmla="*/ 2356 w 10056"/>
              <a:gd name="connsiteY14" fmla="*/ 7029 h 10760"/>
              <a:gd name="connsiteX15" fmla="*/ 2169 w 10056"/>
              <a:gd name="connsiteY15" fmla="*/ 6521 h 10760"/>
              <a:gd name="connsiteX16" fmla="*/ 2497 w 10056"/>
              <a:gd name="connsiteY16" fmla="*/ 6372 h 10760"/>
              <a:gd name="connsiteX17" fmla="*/ 2967 w 10056"/>
              <a:gd name="connsiteY17" fmla="*/ 5984 h 10760"/>
              <a:gd name="connsiteX18" fmla="*/ 2685 w 10056"/>
              <a:gd name="connsiteY18" fmla="*/ 5775 h 10760"/>
              <a:gd name="connsiteX19" fmla="*/ 3248 w 10056"/>
              <a:gd name="connsiteY19" fmla="*/ 5447 h 10760"/>
              <a:gd name="connsiteX20" fmla="*/ 2685 w 10056"/>
              <a:gd name="connsiteY20" fmla="*/ 5447 h 10760"/>
              <a:gd name="connsiteX21" fmla="*/ 2685 w 10056"/>
              <a:gd name="connsiteY21" fmla="*/ 5088 h 10760"/>
              <a:gd name="connsiteX22" fmla="*/ 2873 w 10056"/>
              <a:gd name="connsiteY22" fmla="*/ 4521 h 10760"/>
              <a:gd name="connsiteX23" fmla="*/ 2638 w 10056"/>
              <a:gd name="connsiteY23" fmla="*/ 4044 h 10760"/>
              <a:gd name="connsiteX24" fmla="*/ 3344 w 10056"/>
              <a:gd name="connsiteY24" fmla="*/ 3532 h 10760"/>
              <a:gd name="connsiteX25" fmla="*/ 2946 w 10056"/>
              <a:gd name="connsiteY25" fmla="*/ 3342 h 10760"/>
              <a:gd name="connsiteX26" fmla="*/ 2676 w 10056"/>
              <a:gd name="connsiteY26" fmla="*/ 3260 h 10760"/>
              <a:gd name="connsiteX27" fmla="*/ 1981 w 10056"/>
              <a:gd name="connsiteY27" fmla="*/ 3357 h 10760"/>
              <a:gd name="connsiteX28" fmla="*/ 1743 w 10056"/>
              <a:gd name="connsiteY28" fmla="*/ 3336 h 10760"/>
              <a:gd name="connsiteX29" fmla="*/ 1371 w 10056"/>
              <a:gd name="connsiteY29" fmla="*/ 3118 h 10760"/>
              <a:gd name="connsiteX30" fmla="*/ 995 w 10056"/>
              <a:gd name="connsiteY30" fmla="*/ 2939 h 10760"/>
              <a:gd name="connsiteX31" fmla="*/ 225 w 10056"/>
              <a:gd name="connsiteY31" fmla="*/ 2950 h 10760"/>
              <a:gd name="connsiteX32" fmla="*/ 7 w 10056"/>
              <a:gd name="connsiteY32" fmla="*/ 2306 h 10760"/>
              <a:gd name="connsiteX33" fmla="*/ 244 w 10056"/>
              <a:gd name="connsiteY33" fmla="*/ 2820 h 10760"/>
              <a:gd name="connsiteX34" fmla="*/ 56 w 10056"/>
              <a:gd name="connsiteY34" fmla="*/ 2790 h 10760"/>
              <a:gd name="connsiteX35" fmla="*/ 414 w 10056"/>
              <a:gd name="connsiteY35" fmla="*/ 1986 h 10760"/>
              <a:gd name="connsiteX36" fmla="*/ 1063 w 10056"/>
              <a:gd name="connsiteY36" fmla="*/ 1999 h 10760"/>
              <a:gd name="connsiteX37" fmla="*/ 1840 w 10056"/>
              <a:gd name="connsiteY37" fmla="*/ 2461 h 10760"/>
              <a:gd name="connsiteX38" fmla="*/ 764 w 10056"/>
              <a:gd name="connsiteY38" fmla="*/ 2015 h 10760"/>
              <a:gd name="connsiteX39" fmla="*/ 1075 w 10056"/>
              <a:gd name="connsiteY39" fmla="*/ 2021 h 10760"/>
              <a:gd name="connsiteX40" fmla="*/ 1237 w 10056"/>
              <a:gd name="connsiteY40" fmla="*/ 2083 h 10760"/>
              <a:gd name="connsiteX41" fmla="*/ 2122 w 10056"/>
              <a:gd name="connsiteY41" fmla="*/ 2820 h 10760"/>
              <a:gd name="connsiteX42" fmla="*/ 1910 w 10056"/>
              <a:gd name="connsiteY42" fmla="*/ 2178 h 10760"/>
              <a:gd name="connsiteX43" fmla="*/ 2236 w 10056"/>
              <a:gd name="connsiteY43" fmla="*/ 1886 h 10760"/>
              <a:gd name="connsiteX44" fmla="*/ 2361 w 10056"/>
              <a:gd name="connsiteY44" fmla="*/ 1793 h 10760"/>
              <a:gd name="connsiteX45" fmla="*/ 3061 w 10056"/>
              <a:gd name="connsiteY45" fmla="*/ 1805 h 10760"/>
              <a:gd name="connsiteX46" fmla="*/ 2779 w 10056"/>
              <a:gd name="connsiteY46" fmla="*/ 1835 h 10760"/>
              <a:gd name="connsiteX47" fmla="*/ 2591 w 10056"/>
              <a:gd name="connsiteY47" fmla="*/ 1596 h 10760"/>
              <a:gd name="connsiteX48" fmla="*/ 2574 w 10056"/>
              <a:gd name="connsiteY48" fmla="*/ 1359 h 10760"/>
              <a:gd name="connsiteX49" fmla="*/ 2622 w 10056"/>
              <a:gd name="connsiteY49" fmla="*/ 1009 h 10760"/>
              <a:gd name="connsiteX50" fmla="*/ 2356 w 10056"/>
              <a:gd name="connsiteY50" fmla="*/ 1059 h 10760"/>
              <a:gd name="connsiteX51" fmla="*/ 2310 w 10056"/>
              <a:gd name="connsiteY51" fmla="*/ 879 h 10760"/>
              <a:gd name="connsiteX52" fmla="*/ 2425 w 10056"/>
              <a:gd name="connsiteY52" fmla="*/ 580 h 10760"/>
              <a:gd name="connsiteX53" fmla="*/ 2323 w 10056"/>
              <a:gd name="connsiteY53" fmla="*/ 0 h 10760"/>
              <a:gd name="connsiteX54" fmla="*/ 3621 w 10056"/>
              <a:gd name="connsiteY54" fmla="*/ 195 h 10760"/>
              <a:gd name="connsiteX55" fmla="*/ 4657 w 10056"/>
              <a:gd name="connsiteY55" fmla="*/ 1088 h 10760"/>
              <a:gd name="connsiteX56" fmla="*/ 4917 w 10056"/>
              <a:gd name="connsiteY56" fmla="*/ 1091 h 10760"/>
              <a:gd name="connsiteX57" fmla="*/ 4983 w 10056"/>
              <a:gd name="connsiteY57" fmla="*/ 1196 h 10760"/>
              <a:gd name="connsiteX58" fmla="*/ 5199 w 10056"/>
              <a:gd name="connsiteY58" fmla="*/ 1300 h 10760"/>
              <a:gd name="connsiteX59" fmla="*/ 5640 w 10056"/>
              <a:gd name="connsiteY59" fmla="*/ 1256 h 10760"/>
              <a:gd name="connsiteX60" fmla="*/ 5690 w 10056"/>
              <a:gd name="connsiteY60" fmla="*/ 1745 h 10760"/>
              <a:gd name="connsiteX61" fmla="*/ 5971 w 10056"/>
              <a:gd name="connsiteY61" fmla="*/ 1596 h 10760"/>
              <a:gd name="connsiteX62" fmla="*/ 6159 w 10056"/>
              <a:gd name="connsiteY62" fmla="*/ 1924 h 10760"/>
              <a:gd name="connsiteX63" fmla="*/ 5737 w 10056"/>
              <a:gd name="connsiteY63" fmla="*/ 2163 h 10760"/>
              <a:gd name="connsiteX64" fmla="*/ 6065 w 10056"/>
              <a:gd name="connsiteY64" fmla="*/ 2282 h 10760"/>
              <a:gd name="connsiteX65" fmla="*/ 5971 w 10056"/>
              <a:gd name="connsiteY65" fmla="*/ 2700 h 10760"/>
              <a:gd name="connsiteX66" fmla="*/ 6866 w 10056"/>
              <a:gd name="connsiteY66" fmla="*/ 3130 h 10760"/>
              <a:gd name="connsiteX67" fmla="*/ 5479 w 10056"/>
              <a:gd name="connsiteY67" fmla="*/ 3332 h 10760"/>
              <a:gd name="connsiteX68" fmla="*/ 5732 w 10056"/>
              <a:gd name="connsiteY68" fmla="*/ 3764 h 10760"/>
              <a:gd name="connsiteX69" fmla="*/ 6159 w 10056"/>
              <a:gd name="connsiteY69" fmla="*/ 3715 h 10760"/>
              <a:gd name="connsiteX70" fmla="*/ 5690 w 10056"/>
              <a:gd name="connsiteY70" fmla="*/ 3805 h 10760"/>
              <a:gd name="connsiteX71" fmla="*/ 6022 w 10056"/>
              <a:gd name="connsiteY71" fmla="*/ 3949 h 10760"/>
              <a:gd name="connsiteX72" fmla="*/ 5923 w 10056"/>
              <a:gd name="connsiteY72" fmla="*/ 4185 h 10760"/>
              <a:gd name="connsiteX73" fmla="*/ 6206 w 10056"/>
              <a:gd name="connsiteY73" fmla="*/ 4909 h 10760"/>
              <a:gd name="connsiteX74" fmla="*/ 5596 w 10056"/>
              <a:gd name="connsiteY74" fmla="*/ 4939 h 10760"/>
              <a:gd name="connsiteX75" fmla="*/ 5596 w 10056"/>
              <a:gd name="connsiteY75" fmla="*/ 5357 h 10760"/>
              <a:gd name="connsiteX76" fmla="*/ 4657 w 10056"/>
              <a:gd name="connsiteY76" fmla="*/ 5775 h 10760"/>
              <a:gd name="connsiteX77" fmla="*/ 4939 w 10056"/>
              <a:gd name="connsiteY77" fmla="*/ 6163 h 10760"/>
              <a:gd name="connsiteX78" fmla="*/ 4704 w 10056"/>
              <a:gd name="connsiteY78" fmla="*/ 6521 h 10760"/>
              <a:gd name="connsiteX79" fmla="*/ 5502 w 10056"/>
              <a:gd name="connsiteY79" fmla="*/ 7208 h 10760"/>
              <a:gd name="connsiteX80" fmla="*/ 6629 w 10056"/>
              <a:gd name="connsiteY80" fmla="*/ 7208 h 10760"/>
              <a:gd name="connsiteX81" fmla="*/ 7286 w 10056"/>
              <a:gd name="connsiteY81" fmla="*/ 7088 h 10760"/>
              <a:gd name="connsiteX82" fmla="*/ 7849 w 10056"/>
              <a:gd name="connsiteY82" fmla="*/ 7238 h 10760"/>
              <a:gd name="connsiteX83" fmla="*/ 8319 w 10056"/>
              <a:gd name="connsiteY83" fmla="*/ 7626 h 10760"/>
              <a:gd name="connsiteX84" fmla="*/ 8694 w 10056"/>
              <a:gd name="connsiteY84" fmla="*/ 8372 h 10760"/>
              <a:gd name="connsiteX85" fmla="*/ 9070 w 10056"/>
              <a:gd name="connsiteY85" fmla="*/ 8342 h 10760"/>
              <a:gd name="connsiteX86" fmla="*/ 10056 w 10056"/>
              <a:gd name="connsiteY86" fmla="*/ 9088 h 10760"/>
              <a:gd name="connsiteX87" fmla="*/ 8882 w 10056"/>
              <a:gd name="connsiteY87" fmla="*/ 9894 h 10760"/>
              <a:gd name="connsiteX88" fmla="*/ 9352 w 10056"/>
              <a:gd name="connsiteY88" fmla="*/ 10491 h 10760"/>
              <a:gd name="connsiteX89" fmla="*/ 9164 w 10056"/>
              <a:gd name="connsiteY89" fmla="*/ 10730 h 10760"/>
              <a:gd name="connsiteX90" fmla="*/ 8882 w 10056"/>
              <a:gd name="connsiteY90" fmla="*/ 10491 h 10760"/>
              <a:gd name="connsiteX91" fmla="*/ 7004 w 10056"/>
              <a:gd name="connsiteY91" fmla="*/ 10461 h 10760"/>
              <a:gd name="connsiteX92" fmla="*/ 6676 w 10056"/>
              <a:gd name="connsiteY92" fmla="*/ 10760 h 10760"/>
              <a:gd name="connsiteX93" fmla="*/ 6112 w 10056"/>
              <a:gd name="connsiteY93" fmla="*/ 10730 h 10760"/>
              <a:gd name="connsiteX0" fmla="*/ 6221 w 10165"/>
              <a:gd name="connsiteY0" fmla="*/ 10730 h 10760"/>
              <a:gd name="connsiteX1" fmla="*/ 6315 w 10165"/>
              <a:gd name="connsiteY1" fmla="*/ 9894 h 10760"/>
              <a:gd name="connsiteX2" fmla="*/ 6597 w 10165"/>
              <a:gd name="connsiteY2" fmla="*/ 9088 h 10760"/>
              <a:gd name="connsiteX3" fmla="*/ 5799 w 10165"/>
              <a:gd name="connsiteY3" fmla="*/ 8909 h 10760"/>
              <a:gd name="connsiteX4" fmla="*/ 5564 w 10165"/>
              <a:gd name="connsiteY4" fmla="*/ 8730 h 10760"/>
              <a:gd name="connsiteX5" fmla="*/ 5188 w 10165"/>
              <a:gd name="connsiteY5" fmla="*/ 8820 h 10760"/>
              <a:gd name="connsiteX6" fmla="*/ 4860 w 10165"/>
              <a:gd name="connsiteY6" fmla="*/ 8253 h 10760"/>
              <a:gd name="connsiteX7" fmla="*/ 4296 w 10165"/>
              <a:gd name="connsiteY7" fmla="*/ 7894 h 10760"/>
              <a:gd name="connsiteX8" fmla="*/ 3874 w 10165"/>
              <a:gd name="connsiteY8" fmla="*/ 7924 h 10760"/>
              <a:gd name="connsiteX9" fmla="*/ 3968 w 10165"/>
              <a:gd name="connsiteY9" fmla="*/ 8103 h 10760"/>
              <a:gd name="connsiteX10" fmla="*/ 3498 w 10165"/>
              <a:gd name="connsiteY10" fmla="*/ 8133 h 10760"/>
              <a:gd name="connsiteX11" fmla="*/ 3451 w 10165"/>
              <a:gd name="connsiteY11" fmla="*/ 7447 h 10760"/>
              <a:gd name="connsiteX12" fmla="*/ 2700 w 10165"/>
              <a:gd name="connsiteY12" fmla="*/ 7417 h 10760"/>
              <a:gd name="connsiteX13" fmla="*/ 2794 w 10165"/>
              <a:gd name="connsiteY13" fmla="*/ 7118 h 10760"/>
              <a:gd name="connsiteX14" fmla="*/ 2465 w 10165"/>
              <a:gd name="connsiteY14" fmla="*/ 7029 h 10760"/>
              <a:gd name="connsiteX15" fmla="*/ 2278 w 10165"/>
              <a:gd name="connsiteY15" fmla="*/ 6521 h 10760"/>
              <a:gd name="connsiteX16" fmla="*/ 2606 w 10165"/>
              <a:gd name="connsiteY16" fmla="*/ 6372 h 10760"/>
              <a:gd name="connsiteX17" fmla="*/ 3076 w 10165"/>
              <a:gd name="connsiteY17" fmla="*/ 5984 h 10760"/>
              <a:gd name="connsiteX18" fmla="*/ 2794 w 10165"/>
              <a:gd name="connsiteY18" fmla="*/ 5775 h 10760"/>
              <a:gd name="connsiteX19" fmla="*/ 3357 w 10165"/>
              <a:gd name="connsiteY19" fmla="*/ 5447 h 10760"/>
              <a:gd name="connsiteX20" fmla="*/ 2794 w 10165"/>
              <a:gd name="connsiteY20" fmla="*/ 5447 h 10760"/>
              <a:gd name="connsiteX21" fmla="*/ 2794 w 10165"/>
              <a:gd name="connsiteY21" fmla="*/ 5088 h 10760"/>
              <a:gd name="connsiteX22" fmla="*/ 2982 w 10165"/>
              <a:gd name="connsiteY22" fmla="*/ 4521 h 10760"/>
              <a:gd name="connsiteX23" fmla="*/ 2747 w 10165"/>
              <a:gd name="connsiteY23" fmla="*/ 4044 h 10760"/>
              <a:gd name="connsiteX24" fmla="*/ 3453 w 10165"/>
              <a:gd name="connsiteY24" fmla="*/ 3532 h 10760"/>
              <a:gd name="connsiteX25" fmla="*/ 3055 w 10165"/>
              <a:gd name="connsiteY25" fmla="*/ 3342 h 10760"/>
              <a:gd name="connsiteX26" fmla="*/ 2785 w 10165"/>
              <a:gd name="connsiteY26" fmla="*/ 3260 h 10760"/>
              <a:gd name="connsiteX27" fmla="*/ 2090 w 10165"/>
              <a:gd name="connsiteY27" fmla="*/ 3357 h 10760"/>
              <a:gd name="connsiteX28" fmla="*/ 1852 w 10165"/>
              <a:gd name="connsiteY28" fmla="*/ 3336 h 10760"/>
              <a:gd name="connsiteX29" fmla="*/ 1480 w 10165"/>
              <a:gd name="connsiteY29" fmla="*/ 3118 h 10760"/>
              <a:gd name="connsiteX30" fmla="*/ 1104 w 10165"/>
              <a:gd name="connsiteY30" fmla="*/ 2939 h 10760"/>
              <a:gd name="connsiteX31" fmla="*/ 334 w 10165"/>
              <a:gd name="connsiteY31" fmla="*/ 2950 h 10760"/>
              <a:gd name="connsiteX32" fmla="*/ 6 w 10165"/>
              <a:gd name="connsiteY32" fmla="*/ 2316 h 10760"/>
              <a:gd name="connsiteX33" fmla="*/ 353 w 10165"/>
              <a:gd name="connsiteY33" fmla="*/ 2820 h 10760"/>
              <a:gd name="connsiteX34" fmla="*/ 165 w 10165"/>
              <a:gd name="connsiteY34" fmla="*/ 2790 h 10760"/>
              <a:gd name="connsiteX35" fmla="*/ 523 w 10165"/>
              <a:gd name="connsiteY35" fmla="*/ 1986 h 10760"/>
              <a:gd name="connsiteX36" fmla="*/ 1172 w 10165"/>
              <a:gd name="connsiteY36" fmla="*/ 1999 h 10760"/>
              <a:gd name="connsiteX37" fmla="*/ 1949 w 10165"/>
              <a:gd name="connsiteY37" fmla="*/ 2461 h 10760"/>
              <a:gd name="connsiteX38" fmla="*/ 873 w 10165"/>
              <a:gd name="connsiteY38" fmla="*/ 2015 h 10760"/>
              <a:gd name="connsiteX39" fmla="*/ 1184 w 10165"/>
              <a:gd name="connsiteY39" fmla="*/ 2021 h 10760"/>
              <a:gd name="connsiteX40" fmla="*/ 1346 w 10165"/>
              <a:gd name="connsiteY40" fmla="*/ 2083 h 10760"/>
              <a:gd name="connsiteX41" fmla="*/ 2231 w 10165"/>
              <a:gd name="connsiteY41" fmla="*/ 2820 h 10760"/>
              <a:gd name="connsiteX42" fmla="*/ 2019 w 10165"/>
              <a:gd name="connsiteY42" fmla="*/ 2178 h 10760"/>
              <a:gd name="connsiteX43" fmla="*/ 2345 w 10165"/>
              <a:gd name="connsiteY43" fmla="*/ 1886 h 10760"/>
              <a:gd name="connsiteX44" fmla="*/ 2470 w 10165"/>
              <a:gd name="connsiteY44" fmla="*/ 1793 h 10760"/>
              <a:gd name="connsiteX45" fmla="*/ 3170 w 10165"/>
              <a:gd name="connsiteY45" fmla="*/ 1805 h 10760"/>
              <a:gd name="connsiteX46" fmla="*/ 2888 w 10165"/>
              <a:gd name="connsiteY46" fmla="*/ 1835 h 10760"/>
              <a:gd name="connsiteX47" fmla="*/ 2700 w 10165"/>
              <a:gd name="connsiteY47" fmla="*/ 1596 h 10760"/>
              <a:gd name="connsiteX48" fmla="*/ 2683 w 10165"/>
              <a:gd name="connsiteY48" fmla="*/ 1359 h 10760"/>
              <a:gd name="connsiteX49" fmla="*/ 2731 w 10165"/>
              <a:gd name="connsiteY49" fmla="*/ 1009 h 10760"/>
              <a:gd name="connsiteX50" fmla="*/ 2465 w 10165"/>
              <a:gd name="connsiteY50" fmla="*/ 1059 h 10760"/>
              <a:gd name="connsiteX51" fmla="*/ 2419 w 10165"/>
              <a:gd name="connsiteY51" fmla="*/ 879 h 10760"/>
              <a:gd name="connsiteX52" fmla="*/ 2534 w 10165"/>
              <a:gd name="connsiteY52" fmla="*/ 580 h 10760"/>
              <a:gd name="connsiteX53" fmla="*/ 2432 w 10165"/>
              <a:gd name="connsiteY53" fmla="*/ 0 h 10760"/>
              <a:gd name="connsiteX54" fmla="*/ 3730 w 10165"/>
              <a:gd name="connsiteY54" fmla="*/ 195 h 10760"/>
              <a:gd name="connsiteX55" fmla="*/ 4766 w 10165"/>
              <a:gd name="connsiteY55" fmla="*/ 1088 h 10760"/>
              <a:gd name="connsiteX56" fmla="*/ 5026 w 10165"/>
              <a:gd name="connsiteY56" fmla="*/ 1091 h 10760"/>
              <a:gd name="connsiteX57" fmla="*/ 5092 w 10165"/>
              <a:gd name="connsiteY57" fmla="*/ 1196 h 10760"/>
              <a:gd name="connsiteX58" fmla="*/ 5308 w 10165"/>
              <a:gd name="connsiteY58" fmla="*/ 1300 h 10760"/>
              <a:gd name="connsiteX59" fmla="*/ 5749 w 10165"/>
              <a:gd name="connsiteY59" fmla="*/ 1256 h 10760"/>
              <a:gd name="connsiteX60" fmla="*/ 5799 w 10165"/>
              <a:gd name="connsiteY60" fmla="*/ 1745 h 10760"/>
              <a:gd name="connsiteX61" fmla="*/ 6080 w 10165"/>
              <a:gd name="connsiteY61" fmla="*/ 1596 h 10760"/>
              <a:gd name="connsiteX62" fmla="*/ 6268 w 10165"/>
              <a:gd name="connsiteY62" fmla="*/ 1924 h 10760"/>
              <a:gd name="connsiteX63" fmla="*/ 5846 w 10165"/>
              <a:gd name="connsiteY63" fmla="*/ 2163 h 10760"/>
              <a:gd name="connsiteX64" fmla="*/ 6174 w 10165"/>
              <a:gd name="connsiteY64" fmla="*/ 2282 h 10760"/>
              <a:gd name="connsiteX65" fmla="*/ 6080 w 10165"/>
              <a:gd name="connsiteY65" fmla="*/ 2700 h 10760"/>
              <a:gd name="connsiteX66" fmla="*/ 6975 w 10165"/>
              <a:gd name="connsiteY66" fmla="*/ 3130 h 10760"/>
              <a:gd name="connsiteX67" fmla="*/ 5588 w 10165"/>
              <a:gd name="connsiteY67" fmla="*/ 3332 h 10760"/>
              <a:gd name="connsiteX68" fmla="*/ 5841 w 10165"/>
              <a:gd name="connsiteY68" fmla="*/ 3764 h 10760"/>
              <a:gd name="connsiteX69" fmla="*/ 6268 w 10165"/>
              <a:gd name="connsiteY69" fmla="*/ 3715 h 10760"/>
              <a:gd name="connsiteX70" fmla="*/ 5799 w 10165"/>
              <a:gd name="connsiteY70" fmla="*/ 3805 h 10760"/>
              <a:gd name="connsiteX71" fmla="*/ 6131 w 10165"/>
              <a:gd name="connsiteY71" fmla="*/ 3949 h 10760"/>
              <a:gd name="connsiteX72" fmla="*/ 6032 w 10165"/>
              <a:gd name="connsiteY72" fmla="*/ 4185 h 10760"/>
              <a:gd name="connsiteX73" fmla="*/ 6315 w 10165"/>
              <a:gd name="connsiteY73" fmla="*/ 4909 h 10760"/>
              <a:gd name="connsiteX74" fmla="*/ 5705 w 10165"/>
              <a:gd name="connsiteY74" fmla="*/ 4939 h 10760"/>
              <a:gd name="connsiteX75" fmla="*/ 5705 w 10165"/>
              <a:gd name="connsiteY75" fmla="*/ 5357 h 10760"/>
              <a:gd name="connsiteX76" fmla="*/ 4766 w 10165"/>
              <a:gd name="connsiteY76" fmla="*/ 5775 h 10760"/>
              <a:gd name="connsiteX77" fmla="*/ 5048 w 10165"/>
              <a:gd name="connsiteY77" fmla="*/ 6163 h 10760"/>
              <a:gd name="connsiteX78" fmla="*/ 4813 w 10165"/>
              <a:gd name="connsiteY78" fmla="*/ 6521 h 10760"/>
              <a:gd name="connsiteX79" fmla="*/ 5611 w 10165"/>
              <a:gd name="connsiteY79" fmla="*/ 7208 h 10760"/>
              <a:gd name="connsiteX80" fmla="*/ 6738 w 10165"/>
              <a:gd name="connsiteY80" fmla="*/ 7208 h 10760"/>
              <a:gd name="connsiteX81" fmla="*/ 7395 w 10165"/>
              <a:gd name="connsiteY81" fmla="*/ 7088 h 10760"/>
              <a:gd name="connsiteX82" fmla="*/ 7958 w 10165"/>
              <a:gd name="connsiteY82" fmla="*/ 7238 h 10760"/>
              <a:gd name="connsiteX83" fmla="*/ 8428 w 10165"/>
              <a:gd name="connsiteY83" fmla="*/ 7626 h 10760"/>
              <a:gd name="connsiteX84" fmla="*/ 8803 w 10165"/>
              <a:gd name="connsiteY84" fmla="*/ 8372 h 10760"/>
              <a:gd name="connsiteX85" fmla="*/ 9179 w 10165"/>
              <a:gd name="connsiteY85" fmla="*/ 8342 h 10760"/>
              <a:gd name="connsiteX86" fmla="*/ 10165 w 10165"/>
              <a:gd name="connsiteY86" fmla="*/ 9088 h 10760"/>
              <a:gd name="connsiteX87" fmla="*/ 8991 w 10165"/>
              <a:gd name="connsiteY87" fmla="*/ 9894 h 10760"/>
              <a:gd name="connsiteX88" fmla="*/ 9461 w 10165"/>
              <a:gd name="connsiteY88" fmla="*/ 10491 h 10760"/>
              <a:gd name="connsiteX89" fmla="*/ 9273 w 10165"/>
              <a:gd name="connsiteY89" fmla="*/ 10730 h 10760"/>
              <a:gd name="connsiteX90" fmla="*/ 8991 w 10165"/>
              <a:gd name="connsiteY90" fmla="*/ 10491 h 10760"/>
              <a:gd name="connsiteX91" fmla="*/ 7113 w 10165"/>
              <a:gd name="connsiteY91" fmla="*/ 10461 h 10760"/>
              <a:gd name="connsiteX92" fmla="*/ 6785 w 10165"/>
              <a:gd name="connsiteY92" fmla="*/ 10760 h 10760"/>
              <a:gd name="connsiteX93" fmla="*/ 6221 w 10165"/>
              <a:gd name="connsiteY93" fmla="*/ 10730 h 10760"/>
              <a:gd name="connsiteX0" fmla="*/ 6221 w 10165"/>
              <a:gd name="connsiteY0" fmla="*/ 10730 h 10760"/>
              <a:gd name="connsiteX1" fmla="*/ 6315 w 10165"/>
              <a:gd name="connsiteY1" fmla="*/ 9894 h 10760"/>
              <a:gd name="connsiteX2" fmla="*/ 6597 w 10165"/>
              <a:gd name="connsiteY2" fmla="*/ 9088 h 10760"/>
              <a:gd name="connsiteX3" fmla="*/ 5799 w 10165"/>
              <a:gd name="connsiteY3" fmla="*/ 8909 h 10760"/>
              <a:gd name="connsiteX4" fmla="*/ 5564 w 10165"/>
              <a:gd name="connsiteY4" fmla="*/ 8730 h 10760"/>
              <a:gd name="connsiteX5" fmla="*/ 5188 w 10165"/>
              <a:gd name="connsiteY5" fmla="*/ 8820 h 10760"/>
              <a:gd name="connsiteX6" fmla="*/ 4860 w 10165"/>
              <a:gd name="connsiteY6" fmla="*/ 8253 h 10760"/>
              <a:gd name="connsiteX7" fmla="*/ 4296 w 10165"/>
              <a:gd name="connsiteY7" fmla="*/ 7894 h 10760"/>
              <a:gd name="connsiteX8" fmla="*/ 3874 w 10165"/>
              <a:gd name="connsiteY8" fmla="*/ 7924 h 10760"/>
              <a:gd name="connsiteX9" fmla="*/ 3968 w 10165"/>
              <a:gd name="connsiteY9" fmla="*/ 8103 h 10760"/>
              <a:gd name="connsiteX10" fmla="*/ 3498 w 10165"/>
              <a:gd name="connsiteY10" fmla="*/ 8133 h 10760"/>
              <a:gd name="connsiteX11" fmla="*/ 3451 w 10165"/>
              <a:gd name="connsiteY11" fmla="*/ 7447 h 10760"/>
              <a:gd name="connsiteX12" fmla="*/ 2700 w 10165"/>
              <a:gd name="connsiteY12" fmla="*/ 7417 h 10760"/>
              <a:gd name="connsiteX13" fmla="*/ 2794 w 10165"/>
              <a:gd name="connsiteY13" fmla="*/ 7118 h 10760"/>
              <a:gd name="connsiteX14" fmla="*/ 2465 w 10165"/>
              <a:gd name="connsiteY14" fmla="*/ 7029 h 10760"/>
              <a:gd name="connsiteX15" fmla="*/ 2278 w 10165"/>
              <a:gd name="connsiteY15" fmla="*/ 6521 h 10760"/>
              <a:gd name="connsiteX16" fmla="*/ 2606 w 10165"/>
              <a:gd name="connsiteY16" fmla="*/ 6372 h 10760"/>
              <a:gd name="connsiteX17" fmla="*/ 3076 w 10165"/>
              <a:gd name="connsiteY17" fmla="*/ 5984 h 10760"/>
              <a:gd name="connsiteX18" fmla="*/ 2794 w 10165"/>
              <a:gd name="connsiteY18" fmla="*/ 5775 h 10760"/>
              <a:gd name="connsiteX19" fmla="*/ 3357 w 10165"/>
              <a:gd name="connsiteY19" fmla="*/ 5447 h 10760"/>
              <a:gd name="connsiteX20" fmla="*/ 2794 w 10165"/>
              <a:gd name="connsiteY20" fmla="*/ 5447 h 10760"/>
              <a:gd name="connsiteX21" fmla="*/ 2794 w 10165"/>
              <a:gd name="connsiteY21" fmla="*/ 5088 h 10760"/>
              <a:gd name="connsiteX22" fmla="*/ 2982 w 10165"/>
              <a:gd name="connsiteY22" fmla="*/ 4521 h 10760"/>
              <a:gd name="connsiteX23" fmla="*/ 2747 w 10165"/>
              <a:gd name="connsiteY23" fmla="*/ 4044 h 10760"/>
              <a:gd name="connsiteX24" fmla="*/ 3453 w 10165"/>
              <a:gd name="connsiteY24" fmla="*/ 3532 h 10760"/>
              <a:gd name="connsiteX25" fmla="*/ 3055 w 10165"/>
              <a:gd name="connsiteY25" fmla="*/ 3342 h 10760"/>
              <a:gd name="connsiteX26" fmla="*/ 2785 w 10165"/>
              <a:gd name="connsiteY26" fmla="*/ 3260 h 10760"/>
              <a:gd name="connsiteX27" fmla="*/ 2090 w 10165"/>
              <a:gd name="connsiteY27" fmla="*/ 3357 h 10760"/>
              <a:gd name="connsiteX28" fmla="*/ 1852 w 10165"/>
              <a:gd name="connsiteY28" fmla="*/ 3336 h 10760"/>
              <a:gd name="connsiteX29" fmla="*/ 1480 w 10165"/>
              <a:gd name="connsiteY29" fmla="*/ 3118 h 10760"/>
              <a:gd name="connsiteX30" fmla="*/ 1104 w 10165"/>
              <a:gd name="connsiteY30" fmla="*/ 2939 h 10760"/>
              <a:gd name="connsiteX31" fmla="*/ 334 w 10165"/>
              <a:gd name="connsiteY31" fmla="*/ 2950 h 10760"/>
              <a:gd name="connsiteX32" fmla="*/ 6 w 10165"/>
              <a:gd name="connsiteY32" fmla="*/ 2316 h 10760"/>
              <a:gd name="connsiteX33" fmla="*/ 353 w 10165"/>
              <a:gd name="connsiteY33" fmla="*/ 2820 h 10760"/>
              <a:gd name="connsiteX34" fmla="*/ 165 w 10165"/>
              <a:gd name="connsiteY34" fmla="*/ 2790 h 10760"/>
              <a:gd name="connsiteX35" fmla="*/ 523 w 10165"/>
              <a:gd name="connsiteY35" fmla="*/ 1986 h 10760"/>
              <a:gd name="connsiteX36" fmla="*/ 1172 w 10165"/>
              <a:gd name="connsiteY36" fmla="*/ 1999 h 10760"/>
              <a:gd name="connsiteX37" fmla="*/ 1949 w 10165"/>
              <a:gd name="connsiteY37" fmla="*/ 2461 h 10760"/>
              <a:gd name="connsiteX38" fmla="*/ 873 w 10165"/>
              <a:gd name="connsiteY38" fmla="*/ 2015 h 10760"/>
              <a:gd name="connsiteX39" fmla="*/ 1184 w 10165"/>
              <a:gd name="connsiteY39" fmla="*/ 2021 h 10760"/>
              <a:gd name="connsiteX40" fmla="*/ 1346 w 10165"/>
              <a:gd name="connsiteY40" fmla="*/ 2083 h 10760"/>
              <a:gd name="connsiteX41" fmla="*/ 1821 w 10165"/>
              <a:gd name="connsiteY41" fmla="*/ 2449 h 10760"/>
              <a:gd name="connsiteX42" fmla="*/ 2019 w 10165"/>
              <a:gd name="connsiteY42" fmla="*/ 2178 h 10760"/>
              <a:gd name="connsiteX43" fmla="*/ 2345 w 10165"/>
              <a:gd name="connsiteY43" fmla="*/ 1886 h 10760"/>
              <a:gd name="connsiteX44" fmla="*/ 2470 w 10165"/>
              <a:gd name="connsiteY44" fmla="*/ 1793 h 10760"/>
              <a:gd name="connsiteX45" fmla="*/ 3170 w 10165"/>
              <a:gd name="connsiteY45" fmla="*/ 1805 h 10760"/>
              <a:gd name="connsiteX46" fmla="*/ 2888 w 10165"/>
              <a:gd name="connsiteY46" fmla="*/ 1835 h 10760"/>
              <a:gd name="connsiteX47" fmla="*/ 2700 w 10165"/>
              <a:gd name="connsiteY47" fmla="*/ 1596 h 10760"/>
              <a:gd name="connsiteX48" fmla="*/ 2683 w 10165"/>
              <a:gd name="connsiteY48" fmla="*/ 1359 h 10760"/>
              <a:gd name="connsiteX49" fmla="*/ 2731 w 10165"/>
              <a:gd name="connsiteY49" fmla="*/ 1009 h 10760"/>
              <a:gd name="connsiteX50" fmla="*/ 2465 w 10165"/>
              <a:gd name="connsiteY50" fmla="*/ 1059 h 10760"/>
              <a:gd name="connsiteX51" fmla="*/ 2419 w 10165"/>
              <a:gd name="connsiteY51" fmla="*/ 879 h 10760"/>
              <a:gd name="connsiteX52" fmla="*/ 2534 w 10165"/>
              <a:gd name="connsiteY52" fmla="*/ 580 h 10760"/>
              <a:gd name="connsiteX53" fmla="*/ 2432 w 10165"/>
              <a:gd name="connsiteY53" fmla="*/ 0 h 10760"/>
              <a:gd name="connsiteX54" fmla="*/ 3730 w 10165"/>
              <a:gd name="connsiteY54" fmla="*/ 195 h 10760"/>
              <a:gd name="connsiteX55" fmla="*/ 4766 w 10165"/>
              <a:gd name="connsiteY55" fmla="*/ 1088 h 10760"/>
              <a:gd name="connsiteX56" fmla="*/ 5026 w 10165"/>
              <a:gd name="connsiteY56" fmla="*/ 1091 h 10760"/>
              <a:gd name="connsiteX57" fmla="*/ 5092 w 10165"/>
              <a:gd name="connsiteY57" fmla="*/ 1196 h 10760"/>
              <a:gd name="connsiteX58" fmla="*/ 5308 w 10165"/>
              <a:gd name="connsiteY58" fmla="*/ 1300 h 10760"/>
              <a:gd name="connsiteX59" fmla="*/ 5749 w 10165"/>
              <a:gd name="connsiteY59" fmla="*/ 1256 h 10760"/>
              <a:gd name="connsiteX60" fmla="*/ 5799 w 10165"/>
              <a:gd name="connsiteY60" fmla="*/ 1745 h 10760"/>
              <a:gd name="connsiteX61" fmla="*/ 6080 w 10165"/>
              <a:gd name="connsiteY61" fmla="*/ 1596 h 10760"/>
              <a:gd name="connsiteX62" fmla="*/ 6268 w 10165"/>
              <a:gd name="connsiteY62" fmla="*/ 1924 h 10760"/>
              <a:gd name="connsiteX63" fmla="*/ 5846 w 10165"/>
              <a:gd name="connsiteY63" fmla="*/ 2163 h 10760"/>
              <a:gd name="connsiteX64" fmla="*/ 6174 w 10165"/>
              <a:gd name="connsiteY64" fmla="*/ 2282 h 10760"/>
              <a:gd name="connsiteX65" fmla="*/ 6080 w 10165"/>
              <a:gd name="connsiteY65" fmla="*/ 2700 h 10760"/>
              <a:gd name="connsiteX66" fmla="*/ 6975 w 10165"/>
              <a:gd name="connsiteY66" fmla="*/ 3130 h 10760"/>
              <a:gd name="connsiteX67" fmla="*/ 5588 w 10165"/>
              <a:gd name="connsiteY67" fmla="*/ 3332 h 10760"/>
              <a:gd name="connsiteX68" fmla="*/ 5841 w 10165"/>
              <a:gd name="connsiteY68" fmla="*/ 3764 h 10760"/>
              <a:gd name="connsiteX69" fmla="*/ 6268 w 10165"/>
              <a:gd name="connsiteY69" fmla="*/ 3715 h 10760"/>
              <a:gd name="connsiteX70" fmla="*/ 5799 w 10165"/>
              <a:gd name="connsiteY70" fmla="*/ 3805 h 10760"/>
              <a:gd name="connsiteX71" fmla="*/ 6131 w 10165"/>
              <a:gd name="connsiteY71" fmla="*/ 3949 h 10760"/>
              <a:gd name="connsiteX72" fmla="*/ 6032 w 10165"/>
              <a:gd name="connsiteY72" fmla="*/ 4185 h 10760"/>
              <a:gd name="connsiteX73" fmla="*/ 6315 w 10165"/>
              <a:gd name="connsiteY73" fmla="*/ 4909 h 10760"/>
              <a:gd name="connsiteX74" fmla="*/ 5705 w 10165"/>
              <a:gd name="connsiteY74" fmla="*/ 4939 h 10760"/>
              <a:gd name="connsiteX75" fmla="*/ 5705 w 10165"/>
              <a:gd name="connsiteY75" fmla="*/ 5357 h 10760"/>
              <a:gd name="connsiteX76" fmla="*/ 4766 w 10165"/>
              <a:gd name="connsiteY76" fmla="*/ 5775 h 10760"/>
              <a:gd name="connsiteX77" fmla="*/ 5048 w 10165"/>
              <a:gd name="connsiteY77" fmla="*/ 6163 h 10760"/>
              <a:gd name="connsiteX78" fmla="*/ 4813 w 10165"/>
              <a:gd name="connsiteY78" fmla="*/ 6521 h 10760"/>
              <a:gd name="connsiteX79" fmla="*/ 5611 w 10165"/>
              <a:gd name="connsiteY79" fmla="*/ 7208 h 10760"/>
              <a:gd name="connsiteX80" fmla="*/ 6738 w 10165"/>
              <a:gd name="connsiteY80" fmla="*/ 7208 h 10760"/>
              <a:gd name="connsiteX81" fmla="*/ 7395 w 10165"/>
              <a:gd name="connsiteY81" fmla="*/ 7088 h 10760"/>
              <a:gd name="connsiteX82" fmla="*/ 7958 w 10165"/>
              <a:gd name="connsiteY82" fmla="*/ 7238 h 10760"/>
              <a:gd name="connsiteX83" fmla="*/ 8428 w 10165"/>
              <a:gd name="connsiteY83" fmla="*/ 7626 h 10760"/>
              <a:gd name="connsiteX84" fmla="*/ 8803 w 10165"/>
              <a:gd name="connsiteY84" fmla="*/ 8372 h 10760"/>
              <a:gd name="connsiteX85" fmla="*/ 9179 w 10165"/>
              <a:gd name="connsiteY85" fmla="*/ 8342 h 10760"/>
              <a:gd name="connsiteX86" fmla="*/ 10165 w 10165"/>
              <a:gd name="connsiteY86" fmla="*/ 9088 h 10760"/>
              <a:gd name="connsiteX87" fmla="*/ 8991 w 10165"/>
              <a:gd name="connsiteY87" fmla="*/ 9894 h 10760"/>
              <a:gd name="connsiteX88" fmla="*/ 9461 w 10165"/>
              <a:gd name="connsiteY88" fmla="*/ 10491 h 10760"/>
              <a:gd name="connsiteX89" fmla="*/ 9273 w 10165"/>
              <a:gd name="connsiteY89" fmla="*/ 10730 h 10760"/>
              <a:gd name="connsiteX90" fmla="*/ 8991 w 10165"/>
              <a:gd name="connsiteY90" fmla="*/ 10491 h 10760"/>
              <a:gd name="connsiteX91" fmla="*/ 7113 w 10165"/>
              <a:gd name="connsiteY91" fmla="*/ 10461 h 10760"/>
              <a:gd name="connsiteX92" fmla="*/ 6785 w 10165"/>
              <a:gd name="connsiteY92" fmla="*/ 10760 h 10760"/>
              <a:gd name="connsiteX93" fmla="*/ 6221 w 10165"/>
              <a:gd name="connsiteY93" fmla="*/ 10730 h 10760"/>
              <a:gd name="connsiteX0" fmla="*/ 6221 w 10165"/>
              <a:gd name="connsiteY0" fmla="*/ 10730 h 10760"/>
              <a:gd name="connsiteX1" fmla="*/ 6315 w 10165"/>
              <a:gd name="connsiteY1" fmla="*/ 9894 h 10760"/>
              <a:gd name="connsiteX2" fmla="*/ 6597 w 10165"/>
              <a:gd name="connsiteY2" fmla="*/ 9088 h 10760"/>
              <a:gd name="connsiteX3" fmla="*/ 5799 w 10165"/>
              <a:gd name="connsiteY3" fmla="*/ 8909 h 10760"/>
              <a:gd name="connsiteX4" fmla="*/ 5564 w 10165"/>
              <a:gd name="connsiteY4" fmla="*/ 8730 h 10760"/>
              <a:gd name="connsiteX5" fmla="*/ 5188 w 10165"/>
              <a:gd name="connsiteY5" fmla="*/ 8820 h 10760"/>
              <a:gd name="connsiteX6" fmla="*/ 4860 w 10165"/>
              <a:gd name="connsiteY6" fmla="*/ 8253 h 10760"/>
              <a:gd name="connsiteX7" fmla="*/ 4296 w 10165"/>
              <a:gd name="connsiteY7" fmla="*/ 7894 h 10760"/>
              <a:gd name="connsiteX8" fmla="*/ 3874 w 10165"/>
              <a:gd name="connsiteY8" fmla="*/ 7924 h 10760"/>
              <a:gd name="connsiteX9" fmla="*/ 3968 w 10165"/>
              <a:gd name="connsiteY9" fmla="*/ 8103 h 10760"/>
              <a:gd name="connsiteX10" fmla="*/ 3498 w 10165"/>
              <a:gd name="connsiteY10" fmla="*/ 8133 h 10760"/>
              <a:gd name="connsiteX11" fmla="*/ 3451 w 10165"/>
              <a:gd name="connsiteY11" fmla="*/ 7447 h 10760"/>
              <a:gd name="connsiteX12" fmla="*/ 2700 w 10165"/>
              <a:gd name="connsiteY12" fmla="*/ 7417 h 10760"/>
              <a:gd name="connsiteX13" fmla="*/ 2794 w 10165"/>
              <a:gd name="connsiteY13" fmla="*/ 7118 h 10760"/>
              <a:gd name="connsiteX14" fmla="*/ 2465 w 10165"/>
              <a:gd name="connsiteY14" fmla="*/ 7029 h 10760"/>
              <a:gd name="connsiteX15" fmla="*/ 2278 w 10165"/>
              <a:gd name="connsiteY15" fmla="*/ 6521 h 10760"/>
              <a:gd name="connsiteX16" fmla="*/ 2606 w 10165"/>
              <a:gd name="connsiteY16" fmla="*/ 6372 h 10760"/>
              <a:gd name="connsiteX17" fmla="*/ 3076 w 10165"/>
              <a:gd name="connsiteY17" fmla="*/ 5984 h 10760"/>
              <a:gd name="connsiteX18" fmla="*/ 2794 w 10165"/>
              <a:gd name="connsiteY18" fmla="*/ 5775 h 10760"/>
              <a:gd name="connsiteX19" fmla="*/ 3357 w 10165"/>
              <a:gd name="connsiteY19" fmla="*/ 5447 h 10760"/>
              <a:gd name="connsiteX20" fmla="*/ 2794 w 10165"/>
              <a:gd name="connsiteY20" fmla="*/ 5447 h 10760"/>
              <a:gd name="connsiteX21" fmla="*/ 2794 w 10165"/>
              <a:gd name="connsiteY21" fmla="*/ 5088 h 10760"/>
              <a:gd name="connsiteX22" fmla="*/ 2982 w 10165"/>
              <a:gd name="connsiteY22" fmla="*/ 4521 h 10760"/>
              <a:gd name="connsiteX23" fmla="*/ 2747 w 10165"/>
              <a:gd name="connsiteY23" fmla="*/ 4044 h 10760"/>
              <a:gd name="connsiteX24" fmla="*/ 3453 w 10165"/>
              <a:gd name="connsiteY24" fmla="*/ 3532 h 10760"/>
              <a:gd name="connsiteX25" fmla="*/ 3055 w 10165"/>
              <a:gd name="connsiteY25" fmla="*/ 3342 h 10760"/>
              <a:gd name="connsiteX26" fmla="*/ 2785 w 10165"/>
              <a:gd name="connsiteY26" fmla="*/ 3260 h 10760"/>
              <a:gd name="connsiteX27" fmla="*/ 2090 w 10165"/>
              <a:gd name="connsiteY27" fmla="*/ 3357 h 10760"/>
              <a:gd name="connsiteX28" fmla="*/ 1852 w 10165"/>
              <a:gd name="connsiteY28" fmla="*/ 3336 h 10760"/>
              <a:gd name="connsiteX29" fmla="*/ 1480 w 10165"/>
              <a:gd name="connsiteY29" fmla="*/ 3118 h 10760"/>
              <a:gd name="connsiteX30" fmla="*/ 1104 w 10165"/>
              <a:gd name="connsiteY30" fmla="*/ 2939 h 10760"/>
              <a:gd name="connsiteX31" fmla="*/ 334 w 10165"/>
              <a:gd name="connsiteY31" fmla="*/ 2950 h 10760"/>
              <a:gd name="connsiteX32" fmla="*/ 6 w 10165"/>
              <a:gd name="connsiteY32" fmla="*/ 2316 h 10760"/>
              <a:gd name="connsiteX33" fmla="*/ 353 w 10165"/>
              <a:gd name="connsiteY33" fmla="*/ 2820 h 10760"/>
              <a:gd name="connsiteX34" fmla="*/ 165 w 10165"/>
              <a:gd name="connsiteY34" fmla="*/ 2790 h 10760"/>
              <a:gd name="connsiteX35" fmla="*/ 523 w 10165"/>
              <a:gd name="connsiteY35" fmla="*/ 1986 h 10760"/>
              <a:gd name="connsiteX36" fmla="*/ 1172 w 10165"/>
              <a:gd name="connsiteY36" fmla="*/ 1999 h 10760"/>
              <a:gd name="connsiteX37" fmla="*/ 1949 w 10165"/>
              <a:gd name="connsiteY37" fmla="*/ 2461 h 10760"/>
              <a:gd name="connsiteX38" fmla="*/ 873 w 10165"/>
              <a:gd name="connsiteY38" fmla="*/ 2015 h 10760"/>
              <a:gd name="connsiteX39" fmla="*/ 1184 w 10165"/>
              <a:gd name="connsiteY39" fmla="*/ 2021 h 10760"/>
              <a:gd name="connsiteX40" fmla="*/ 1346 w 10165"/>
              <a:gd name="connsiteY40" fmla="*/ 2083 h 10760"/>
              <a:gd name="connsiteX41" fmla="*/ 1821 w 10165"/>
              <a:gd name="connsiteY41" fmla="*/ 2449 h 10760"/>
              <a:gd name="connsiteX42" fmla="*/ 2019 w 10165"/>
              <a:gd name="connsiteY42" fmla="*/ 2178 h 10760"/>
              <a:gd name="connsiteX43" fmla="*/ 2345 w 10165"/>
              <a:gd name="connsiteY43" fmla="*/ 1886 h 10760"/>
              <a:gd name="connsiteX44" fmla="*/ 2470 w 10165"/>
              <a:gd name="connsiteY44" fmla="*/ 1793 h 10760"/>
              <a:gd name="connsiteX45" fmla="*/ 3170 w 10165"/>
              <a:gd name="connsiteY45" fmla="*/ 1805 h 10760"/>
              <a:gd name="connsiteX46" fmla="*/ 2888 w 10165"/>
              <a:gd name="connsiteY46" fmla="*/ 1835 h 10760"/>
              <a:gd name="connsiteX47" fmla="*/ 2700 w 10165"/>
              <a:gd name="connsiteY47" fmla="*/ 1596 h 10760"/>
              <a:gd name="connsiteX48" fmla="*/ 2683 w 10165"/>
              <a:gd name="connsiteY48" fmla="*/ 1359 h 10760"/>
              <a:gd name="connsiteX49" fmla="*/ 2731 w 10165"/>
              <a:gd name="connsiteY49" fmla="*/ 1009 h 10760"/>
              <a:gd name="connsiteX50" fmla="*/ 2465 w 10165"/>
              <a:gd name="connsiteY50" fmla="*/ 1059 h 10760"/>
              <a:gd name="connsiteX51" fmla="*/ 2419 w 10165"/>
              <a:gd name="connsiteY51" fmla="*/ 879 h 10760"/>
              <a:gd name="connsiteX52" fmla="*/ 2534 w 10165"/>
              <a:gd name="connsiteY52" fmla="*/ 580 h 10760"/>
              <a:gd name="connsiteX53" fmla="*/ 2432 w 10165"/>
              <a:gd name="connsiteY53" fmla="*/ 0 h 10760"/>
              <a:gd name="connsiteX54" fmla="*/ 3730 w 10165"/>
              <a:gd name="connsiteY54" fmla="*/ 195 h 10760"/>
              <a:gd name="connsiteX55" fmla="*/ 4766 w 10165"/>
              <a:gd name="connsiteY55" fmla="*/ 1088 h 10760"/>
              <a:gd name="connsiteX56" fmla="*/ 5026 w 10165"/>
              <a:gd name="connsiteY56" fmla="*/ 1091 h 10760"/>
              <a:gd name="connsiteX57" fmla="*/ 5092 w 10165"/>
              <a:gd name="connsiteY57" fmla="*/ 1196 h 10760"/>
              <a:gd name="connsiteX58" fmla="*/ 5308 w 10165"/>
              <a:gd name="connsiteY58" fmla="*/ 1300 h 10760"/>
              <a:gd name="connsiteX59" fmla="*/ 5749 w 10165"/>
              <a:gd name="connsiteY59" fmla="*/ 1256 h 10760"/>
              <a:gd name="connsiteX60" fmla="*/ 5799 w 10165"/>
              <a:gd name="connsiteY60" fmla="*/ 1745 h 10760"/>
              <a:gd name="connsiteX61" fmla="*/ 6080 w 10165"/>
              <a:gd name="connsiteY61" fmla="*/ 1596 h 10760"/>
              <a:gd name="connsiteX62" fmla="*/ 6268 w 10165"/>
              <a:gd name="connsiteY62" fmla="*/ 1924 h 10760"/>
              <a:gd name="connsiteX63" fmla="*/ 5846 w 10165"/>
              <a:gd name="connsiteY63" fmla="*/ 2163 h 10760"/>
              <a:gd name="connsiteX64" fmla="*/ 6174 w 10165"/>
              <a:gd name="connsiteY64" fmla="*/ 2282 h 10760"/>
              <a:gd name="connsiteX65" fmla="*/ 6080 w 10165"/>
              <a:gd name="connsiteY65" fmla="*/ 2700 h 10760"/>
              <a:gd name="connsiteX66" fmla="*/ 6975 w 10165"/>
              <a:gd name="connsiteY66" fmla="*/ 3130 h 10760"/>
              <a:gd name="connsiteX67" fmla="*/ 5588 w 10165"/>
              <a:gd name="connsiteY67" fmla="*/ 3332 h 10760"/>
              <a:gd name="connsiteX68" fmla="*/ 5841 w 10165"/>
              <a:gd name="connsiteY68" fmla="*/ 3764 h 10760"/>
              <a:gd name="connsiteX69" fmla="*/ 6268 w 10165"/>
              <a:gd name="connsiteY69" fmla="*/ 3715 h 10760"/>
              <a:gd name="connsiteX70" fmla="*/ 5799 w 10165"/>
              <a:gd name="connsiteY70" fmla="*/ 3805 h 10760"/>
              <a:gd name="connsiteX71" fmla="*/ 6131 w 10165"/>
              <a:gd name="connsiteY71" fmla="*/ 3949 h 10760"/>
              <a:gd name="connsiteX72" fmla="*/ 6032 w 10165"/>
              <a:gd name="connsiteY72" fmla="*/ 4185 h 10760"/>
              <a:gd name="connsiteX73" fmla="*/ 6315 w 10165"/>
              <a:gd name="connsiteY73" fmla="*/ 4909 h 10760"/>
              <a:gd name="connsiteX74" fmla="*/ 5705 w 10165"/>
              <a:gd name="connsiteY74" fmla="*/ 4939 h 10760"/>
              <a:gd name="connsiteX75" fmla="*/ 5705 w 10165"/>
              <a:gd name="connsiteY75" fmla="*/ 5357 h 10760"/>
              <a:gd name="connsiteX76" fmla="*/ 4766 w 10165"/>
              <a:gd name="connsiteY76" fmla="*/ 5775 h 10760"/>
              <a:gd name="connsiteX77" fmla="*/ 5048 w 10165"/>
              <a:gd name="connsiteY77" fmla="*/ 6163 h 10760"/>
              <a:gd name="connsiteX78" fmla="*/ 4813 w 10165"/>
              <a:gd name="connsiteY78" fmla="*/ 6521 h 10760"/>
              <a:gd name="connsiteX79" fmla="*/ 5611 w 10165"/>
              <a:gd name="connsiteY79" fmla="*/ 7208 h 10760"/>
              <a:gd name="connsiteX80" fmla="*/ 6738 w 10165"/>
              <a:gd name="connsiteY80" fmla="*/ 7208 h 10760"/>
              <a:gd name="connsiteX81" fmla="*/ 7395 w 10165"/>
              <a:gd name="connsiteY81" fmla="*/ 7088 h 10760"/>
              <a:gd name="connsiteX82" fmla="*/ 7958 w 10165"/>
              <a:gd name="connsiteY82" fmla="*/ 7238 h 10760"/>
              <a:gd name="connsiteX83" fmla="*/ 8428 w 10165"/>
              <a:gd name="connsiteY83" fmla="*/ 7626 h 10760"/>
              <a:gd name="connsiteX84" fmla="*/ 8803 w 10165"/>
              <a:gd name="connsiteY84" fmla="*/ 8372 h 10760"/>
              <a:gd name="connsiteX85" fmla="*/ 9179 w 10165"/>
              <a:gd name="connsiteY85" fmla="*/ 8342 h 10760"/>
              <a:gd name="connsiteX86" fmla="*/ 10165 w 10165"/>
              <a:gd name="connsiteY86" fmla="*/ 9088 h 10760"/>
              <a:gd name="connsiteX87" fmla="*/ 8991 w 10165"/>
              <a:gd name="connsiteY87" fmla="*/ 9894 h 10760"/>
              <a:gd name="connsiteX88" fmla="*/ 9461 w 10165"/>
              <a:gd name="connsiteY88" fmla="*/ 10491 h 10760"/>
              <a:gd name="connsiteX89" fmla="*/ 9273 w 10165"/>
              <a:gd name="connsiteY89" fmla="*/ 10730 h 10760"/>
              <a:gd name="connsiteX90" fmla="*/ 8991 w 10165"/>
              <a:gd name="connsiteY90" fmla="*/ 10491 h 10760"/>
              <a:gd name="connsiteX91" fmla="*/ 7113 w 10165"/>
              <a:gd name="connsiteY91" fmla="*/ 10461 h 10760"/>
              <a:gd name="connsiteX92" fmla="*/ 6785 w 10165"/>
              <a:gd name="connsiteY92" fmla="*/ 10760 h 10760"/>
              <a:gd name="connsiteX93" fmla="*/ 6221 w 10165"/>
              <a:gd name="connsiteY93" fmla="*/ 10730 h 10760"/>
              <a:gd name="connsiteX0" fmla="*/ 6221 w 10165"/>
              <a:gd name="connsiteY0" fmla="*/ 10730 h 10760"/>
              <a:gd name="connsiteX1" fmla="*/ 6315 w 10165"/>
              <a:gd name="connsiteY1" fmla="*/ 9894 h 10760"/>
              <a:gd name="connsiteX2" fmla="*/ 6597 w 10165"/>
              <a:gd name="connsiteY2" fmla="*/ 9088 h 10760"/>
              <a:gd name="connsiteX3" fmla="*/ 5799 w 10165"/>
              <a:gd name="connsiteY3" fmla="*/ 8909 h 10760"/>
              <a:gd name="connsiteX4" fmla="*/ 5564 w 10165"/>
              <a:gd name="connsiteY4" fmla="*/ 8730 h 10760"/>
              <a:gd name="connsiteX5" fmla="*/ 5188 w 10165"/>
              <a:gd name="connsiteY5" fmla="*/ 8820 h 10760"/>
              <a:gd name="connsiteX6" fmla="*/ 4860 w 10165"/>
              <a:gd name="connsiteY6" fmla="*/ 8253 h 10760"/>
              <a:gd name="connsiteX7" fmla="*/ 4296 w 10165"/>
              <a:gd name="connsiteY7" fmla="*/ 7894 h 10760"/>
              <a:gd name="connsiteX8" fmla="*/ 3874 w 10165"/>
              <a:gd name="connsiteY8" fmla="*/ 7924 h 10760"/>
              <a:gd name="connsiteX9" fmla="*/ 3968 w 10165"/>
              <a:gd name="connsiteY9" fmla="*/ 8103 h 10760"/>
              <a:gd name="connsiteX10" fmla="*/ 3498 w 10165"/>
              <a:gd name="connsiteY10" fmla="*/ 8133 h 10760"/>
              <a:gd name="connsiteX11" fmla="*/ 3451 w 10165"/>
              <a:gd name="connsiteY11" fmla="*/ 7447 h 10760"/>
              <a:gd name="connsiteX12" fmla="*/ 2700 w 10165"/>
              <a:gd name="connsiteY12" fmla="*/ 7417 h 10760"/>
              <a:gd name="connsiteX13" fmla="*/ 2794 w 10165"/>
              <a:gd name="connsiteY13" fmla="*/ 7118 h 10760"/>
              <a:gd name="connsiteX14" fmla="*/ 2465 w 10165"/>
              <a:gd name="connsiteY14" fmla="*/ 7029 h 10760"/>
              <a:gd name="connsiteX15" fmla="*/ 2278 w 10165"/>
              <a:gd name="connsiteY15" fmla="*/ 6521 h 10760"/>
              <a:gd name="connsiteX16" fmla="*/ 2606 w 10165"/>
              <a:gd name="connsiteY16" fmla="*/ 6372 h 10760"/>
              <a:gd name="connsiteX17" fmla="*/ 3076 w 10165"/>
              <a:gd name="connsiteY17" fmla="*/ 5984 h 10760"/>
              <a:gd name="connsiteX18" fmla="*/ 2794 w 10165"/>
              <a:gd name="connsiteY18" fmla="*/ 5775 h 10760"/>
              <a:gd name="connsiteX19" fmla="*/ 3357 w 10165"/>
              <a:gd name="connsiteY19" fmla="*/ 5447 h 10760"/>
              <a:gd name="connsiteX20" fmla="*/ 2794 w 10165"/>
              <a:gd name="connsiteY20" fmla="*/ 5447 h 10760"/>
              <a:gd name="connsiteX21" fmla="*/ 2794 w 10165"/>
              <a:gd name="connsiteY21" fmla="*/ 5088 h 10760"/>
              <a:gd name="connsiteX22" fmla="*/ 2982 w 10165"/>
              <a:gd name="connsiteY22" fmla="*/ 4521 h 10760"/>
              <a:gd name="connsiteX23" fmla="*/ 2747 w 10165"/>
              <a:gd name="connsiteY23" fmla="*/ 4044 h 10760"/>
              <a:gd name="connsiteX24" fmla="*/ 3453 w 10165"/>
              <a:gd name="connsiteY24" fmla="*/ 3532 h 10760"/>
              <a:gd name="connsiteX25" fmla="*/ 3055 w 10165"/>
              <a:gd name="connsiteY25" fmla="*/ 3342 h 10760"/>
              <a:gd name="connsiteX26" fmla="*/ 2785 w 10165"/>
              <a:gd name="connsiteY26" fmla="*/ 3260 h 10760"/>
              <a:gd name="connsiteX27" fmla="*/ 2078 w 10165"/>
              <a:gd name="connsiteY27" fmla="*/ 3486 h 10760"/>
              <a:gd name="connsiteX28" fmla="*/ 1852 w 10165"/>
              <a:gd name="connsiteY28" fmla="*/ 3336 h 10760"/>
              <a:gd name="connsiteX29" fmla="*/ 1480 w 10165"/>
              <a:gd name="connsiteY29" fmla="*/ 3118 h 10760"/>
              <a:gd name="connsiteX30" fmla="*/ 1104 w 10165"/>
              <a:gd name="connsiteY30" fmla="*/ 2939 h 10760"/>
              <a:gd name="connsiteX31" fmla="*/ 334 w 10165"/>
              <a:gd name="connsiteY31" fmla="*/ 2950 h 10760"/>
              <a:gd name="connsiteX32" fmla="*/ 6 w 10165"/>
              <a:gd name="connsiteY32" fmla="*/ 2316 h 10760"/>
              <a:gd name="connsiteX33" fmla="*/ 353 w 10165"/>
              <a:gd name="connsiteY33" fmla="*/ 2820 h 10760"/>
              <a:gd name="connsiteX34" fmla="*/ 165 w 10165"/>
              <a:gd name="connsiteY34" fmla="*/ 2790 h 10760"/>
              <a:gd name="connsiteX35" fmla="*/ 523 w 10165"/>
              <a:gd name="connsiteY35" fmla="*/ 1986 h 10760"/>
              <a:gd name="connsiteX36" fmla="*/ 1172 w 10165"/>
              <a:gd name="connsiteY36" fmla="*/ 1999 h 10760"/>
              <a:gd name="connsiteX37" fmla="*/ 1949 w 10165"/>
              <a:gd name="connsiteY37" fmla="*/ 2461 h 10760"/>
              <a:gd name="connsiteX38" fmla="*/ 873 w 10165"/>
              <a:gd name="connsiteY38" fmla="*/ 2015 h 10760"/>
              <a:gd name="connsiteX39" fmla="*/ 1184 w 10165"/>
              <a:gd name="connsiteY39" fmla="*/ 2021 h 10760"/>
              <a:gd name="connsiteX40" fmla="*/ 1346 w 10165"/>
              <a:gd name="connsiteY40" fmla="*/ 2083 h 10760"/>
              <a:gd name="connsiteX41" fmla="*/ 1821 w 10165"/>
              <a:gd name="connsiteY41" fmla="*/ 2449 h 10760"/>
              <a:gd name="connsiteX42" fmla="*/ 2019 w 10165"/>
              <a:gd name="connsiteY42" fmla="*/ 2178 h 10760"/>
              <a:gd name="connsiteX43" fmla="*/ 2345 w 10165"/>
              <a:gd name="connsiteY43" fmla="*/ 1886 h 10760"/>
              <a:gd name="connsiteX44" fmla="*/ 2470 w 10165"/>
              <a:gd name="connsiteY44" fmla="*/ 1793 h 10760"/>
              <a:gd name="connsiteX45" fmla="*/ 3170 w 10165"/>
              <a:gd name="connsiteY45" fmla="*/ 1805 h 10760"/>
              <a:gd name="connsiteX46" fmla="*/ 2888 w 10165"/>
              <a:gd name="connsiteY46" fmla="*/ 1835 h 10760"/>
              <a:gd name="connsiteX47" fmla="*/ 2700 w 10165"/>
              <a:gd name="connsiteY47" fmla="*/ 1596 h 10760"/>
              <a:gd name="connsiteX48" fmla="*/ 2683 w 10165"/>
              <a:gd name="connsiteY48" fmla="*/ 1359 h 10760"/>
              <a:gd name="connsiteX49" fmla="*/ 2731 w 10165"/>
              <a:gd name="connsiteY49" fmla="*/ 1009 h 10760"/>
              <a:gd name="connsiteX50" fmla="*/ 2465 w 10165"/>
              <a:gd name="connsiteY50" fmla="*/ 1059 h 10760"/>
              <a:gd name="connsiteX51" fmla="*/ 2419 w 10165"/>
              <a:gd name="connsiteY51" fmla="*/ 879 h 10760"/>
              <a:gd name="connsiteX52" fmla="*/ 2534 w 10165"/>
              <a:gd name="connsiteY52" fmla="*/ 580 h 10760"/>
              <a:gd name="connsiteX53" fmla="*/ 2432 w 10165"/>
              <a:gd name="connsiteY53" fmla="*/ 0 h 10760"/>
              <a:gd name="connsiteX54" fmla="*/ 3730 w 10165"/>
              <a:gd name="connsiteY54" fmla="*/ 195 h 10760"/>
              <a:gd name="connsiteX55" fmla="*/ 4766 w 10165"/>
              <a:gd name="connsiteY55" fmla="*/ 1088 h 10760"/>
              <a:gd name="connsiteX56" fmla="*/ 5026 w 10165"/>
              <a:gd name="connsiteY56" fmla="*/ 1091 h 10760"/>
              <a:gd name="connsiteX57" fmla="*/ 5092 w 10165"/>
              <a:gd name="connsiteY57" fmla="*/ 1196 h 10760"/>
              <a:gd name="connsiteX58" fmla="*/ 5308 w 10165"/>
              <a:gd name="connsiteY58" fmla="*/ 1300 h 10760"/>
              <a:gd name="connsiteX59" fmla="*/ 5749 w 10165"/>
              <a:gd name="connsiteY59" fmla="*/ 1256 h 10760"/>
              <a:gd name="connsiteX60" fmla="*/ 5799 w 10165"/>
              <a:gd name="connsiteY60" fmla="*/ 1745 h 10760"/>
              <a:gd name="connsiteX61" fmla="*/ 6080 w 10165"/>
              <a:gd name="connsiteY61" fmla="*/ 1596 h 10760"/>
              <a:gd name="connsiteX62" fmla="*/ 6268 w 10165"/>
              <a:gd name="connsiteY62" fmla="*/ 1924 h 10760"/>
              <a:gd name="connsiteX63" fmla="*/ 5846 w 10165"/>
              <a:gd name="connsiteY63" fmla="*/ 2163 h 10760"/>
              <a:gd name="connsiteX64" fmla="*/ 6174 w 10165"/>
              <a:gd name="connsiteY64" fmla="*/ 2282 h 10760"/>
              <a:gd name="connsiteX65" fmla="*/ 6080 w 10165"/>
              <a:gd name="connsiteY65" fmla="*/ 2700 h 10760"/>
              <a:gd name="connsiteX66" fmla="*/ 6975 w 10165"/>
              <a:gd name="connsiteY66" fmla="*/ 3130 h 10760"/>
              <a:gd name="connsiteX67" fmla="*/ 5588 w 10165"/>
              <a:gd name="connsiteY67" fmla="*/ 3332 h 10760"/>
              <a:gd name="connsiteX68" fmla="*/ 5841 w 10165"/>
              <a:gd name="connsiteY68" fmla="*/ 3764 h 10760"/>
              <a:gd name="connsiteX69" fmla="*/ 6268 w 10165"/>
              <a:gd name="connsiteY69" fmla="*/ 3715 h 10760"/>
              <a:gd name="connsiteX70" fmla="*/ 5799 w 10165"/>
              <a:gd name="connsiteY70" fmla="*/ 3805 h 10760"/>
              <a:gd name="connsiteX71" fmla="*/ 6131 w 10165"/>
              <a:gd name="connsiteY71" fmla="*/ 3949 h 10760"/>
              <a:gd name="connsiteX72" fmla="*/ 6032 w 10165"/>
              <a:gd name="connsiteY72" fmla="*/ 4185 h 10760"/>
              <a:gd name="connsiteX73" fmla="*/ 6315 w 10165"/>
              <a:gd name="connsiteY73" fmla="*/ 4909 h 10760"/>
              <a:gd name="connsiteX74" fmla="*/ 5705 w 10165"/>
              <a:gd name="connsiteY74" fmla="*/ 4939 h 10760"/>
              <a:gd name="connsiteX75" fmla="*/ 5705 w 10165"/>
              <a:gd name="connsiteY75" fmla="*/ 5357 h 10760"/>
              <a:gd name="connsiteX76" fmla="*/ 4766 w 10165"/>
              <a:gd name="connsiteY76" fmla="*/ 5775 h 10760"/>
              <a:gd name="connsiteX77" fmla="*/ 5048 w 10165"/>
              <a:gd name="connsiteY77" fmla="*/ 6163 h 10760"/>
              <a:gd name="connsiteX78" fmla="*/ 4813 w 10165"/>
              <a:gd name="connsiteY78" fmla="*/ 6521 h 10760"/>
              <a:gd name="connsiteX79" fmla="*/ 5611 w 10165"/>
              <a:gd name="connsiteY79" fmla="*/ 7208 h 10760"/>
              <a:gd name="connsiteX80" fmla="*/ 6738 w 10165"/>
              <a:gd name="connsiteY80" fmla="*/ 7208 h 10760"/>
              <a:gd name="connsiteX81" fmla="*/ 7395 w 10165"/>
              <a:gd name="connsiteY81" fmla="*/ 7088 h 10760"/>
              <a:gd name="connsiteX82" fmla="*/ 7958 w 10165"/>
              <a:gd name="connsiteY82" fmla="*/ 7238 h 10760"/>
              <a:gd name="connsiteX83" fmla="*/ 8428 w 10165"/>
              <a:gd name="connsiteY83" fmla="*/ 7626 h 10760"/>
              <a:gd name="connsiteX84" fmla="*/ 8803 w 10165"/>
              <a:gd name="connsiteY84" fmla="*/ 8372 h 10760"/>
              <a:gd name="connsiteX85" fmla="*/ 9179 w 10165"/>
              <a:gd name="connsiteY85" fmla="*/ 8342 h 10760"/>
              <a:gd name="connsiteX86" fmla="*/ 10165 w 10165"/>
              <a:gd name="connsiteY86" fmla="*/ 9088 h 10760"/>
              <a:gd name="connsiteX87" fmla="*/ 8991 w 10165"/>
              <a:gd name="connsiteY87" fmla="*/ 9894 h 10760"/>
              <a:gd name="connsiteX88" fmla="*/ 9461 w 10165"/>
              <a:gd name="connsiteY88" fmla="*/ 10491 h 10760"/>
              <a:gd name="connsiteX89" fmla="*/ 9273 w 10165"/>
              <a:gd name="connsiteY89" fmla="*/ 10730 h 10760"/>
              <a:gd name="connsiteX90" fmla="*/ 8991 w 10165"/>
              <a:gd name="connsiteY90" fmla="*/ 10491 h 10760"/>
              <a:gd name="connsiteX91" fmla="*/ 7113 w 10165"/>
              <a:gd name="connsiteY91" fmla="*/ 10461 h 10760"/>
              <a:gd name="connsiteX92" fmla="*/ 6785 w 10165"/>
              <a:gd name="connsiteY92" fmla="*/ 10760 h 10760"/>
              <a:gd name="connsiteX93" fmla="*/ 6221 w 10165"/>
              <a:gd name="connsiteY93" fmla="*/ 10730 h 10760"/>
              <a:gd name="connsiteX0" fmla="*/ 6221 w 10165"/>
              <a:gd name="connsiteY0" fmla="*/ 10730 h 10760"/>
              <a:gd name="connsiteX1" fmla="*/ 6315 w 10165"/>
              <a:gd name="connsiteY1" fmla="*/ 9894 h 10760"/>
              <a:gd name="connsiteX2" fmla="*/ 6597 w 10165"/>
              <a:gd name="connsiteY2" fmla="*/ 9088 h 10760"/>
              <a:gd name="connsiteX3" fmla="*/ 5799 w 10165"/>
              <a:gd name="connsiteY3" fmla="*/ 8909 h 10760"/>
              <a:gd name="connsiteX4" fmla="*/ 5564 w 10165"/>
              <a:gd name="connsiteY4" fmla="*/ 8730 h 10760"/>
              <a:gd name="connsiteX5" fmla="*/ 5188 w 10165"/>
              <a:gd name="connsiteY5" fmla="*/ 8820 h 10760"/>
              <a:gd name="connsiteX6" fmla="*/ 4860 w 10165"/>
              <a:gd name="connsiteY6" fmla="*/ 8253 h 10760"/>
              <a:gd name="connsiteX7" fmla="*/ 4296 w 10165"/>
              <a:gd name="connsiteY7" fmla="*/ 7894 h 10760"/>
              <a:gd name="connsiteX8" fmla="*/ 3874 w 10165"/>
              <a:gd name="connsiteY8" fmla="*/ 7924 h 10760"/>
              <a:gd name="connsiteX9" fmla="*/ 3968 w 10165"/>
              <a:gd name="connsiteY9" fmla="*/ 8103 h 10760"/>
              <a:gd name="connsiteX10" fmla="*/ 3498 w 10165"/>
              <a:gd name="connsiteY10" fmla="*/ 8133 h 10760"/>
              <a:gd name="connsiteX11" fmla="*/ 3451 w 10165"/>
              <a:gd name="connsiteY11" fmla="*/ 7447 h 10760"/>
              <a:gd name="connsiteX12" fmla="*/ 2700 w 10165"/>
              <a:gd name="connsiteY12" fmla="*/ 7417 h 10760"/>
              <a:gd name="connsiteX13" fmla="*/ 2794 w 10165"/>
              <a:gd name="connsiteY13" fmla="*/ 7118 h 10760"/>
              <a:gd name="connsiteX14" fmla="*/ 2465 w 10165"/>
              <a:gd name="connsiteY14" fmla="*/ 7029 h 10760"/>
              <a:gd name="connsiteX15" fmla="*/ 2278 w 10165"/>
              <a:gd name="connsiteY15" fmla="*/ 6521 h 10760"/>
              <a:gd name="connsiteX16" fmla="*/ 2606 w 10165"/>
              <a:gd name="connsiteY16" fmla="*/ 6372 h 10760"/>
              <a:gd name="connsiteX17" fmla="*/ 3076 w 10165"/>
              <a:gd name="connsiteY17" fmla="*/ 5984 h 10760"/>
              <a:gd name="connsiteX18" fmla="*/ 2794 w 10165"/>
              <a:gd name="connsiteY18" fmla="*/ 5775 h 10760"/>
              <a:gd name="connsiteX19" fmla="*/ 3357 w 10165"/>
              <a:gd name="connsiteY19" fmla="*/ 5447 h 10760"/>
              <a:gd name="connsiteX20" fmla="*/ 2794 w 10165"/>
              <a:gd name="connsiteY20" fmla="*/ 5447 h 10760"/>
              <a:gd name="connsiteX21" fmla="*/ 2794 w 10165"/>
              <a:gd name="connsiteY21" fmla="*/ 5088 h 10760"/>
              <a:gd name="connsiteX22" fmla="*/ 2982 w 10165"/>
              <a:gd name="connsiteY22" fmla="*/ 4521 h 10760"/>
              <a:gd name="connsiteX23" fmla="*/ 2747 w 10165"/>
              <a:gd name="connsiteY23" fmla="*/ 4044 h 10760"/>
              <a:gd name="connsiteX24" fmla="*/ 3453 w 10165"/>
              <a:gd name="connsiteY24" fmla="*/ 3532 h 10760"/>
              <a:gd name="connsiteX25" fmla="*/ 3055 w 10165"/>
              <a:gd name="connsiteY25" fmla="*/ 3342 h 10760"/>
              <a:gd name="connsiteX26" fmla="*/ 2785 w 10165"/>
              <a:gd name="connsiteY26" fmla="*/ 3260 h 10760"/>
              <a:gd name="connsiteX27" fmla="*/ 2078 w 10165"/>
              <a:gd name="connsiteY27" fmla="*/ 3486 h 10760"/>
              <a:gd name="connsiteX28" fmla="*/ 1852 w 10165"/>
              <a:gd name="connsiteY28" fmla="*/ 3336 h 10760"/>
              <a:gd name="connsiteX29" fmla="*/ 1480 w 10165"/>
              <a:gd name="connsiteY29" fmla="*/ 3118 h 10760"/>
              <a:gd name="connsiteX30" fmla="*/ 793 w 10165"/>
              <a:gd name="connsiteY30" fmla="*/ 3070 h 10760"/>
              <a:gd name="connsiteX31" fmla="*/ 334 w 10165"/>
              <a:gd name="connsiteY31" fmla="*/ 2950 h 10760"/>
              <a:gd name="connsiteX32" fmla="*/ 6 w 10165"/>
              <a:gd name="connsiteY32" fmla="*/ 2316 h 10760"/>
              <a:gd name="connsiteX33" fmla="*/ 353 w 10165"/>
              <a:gd name="connsiteY33" fmla="*/ 2820 h 10760"/>
              <a:gd name="connsiteX34" fmla="*/ 165 w 10165"/>
              <a:gd name="connsiteY34" fmla="*/ 2790 h 10760"/>
              <a:gd name="connsiteX35" fmla="*/ 523 w 10165"/>
              <a:gd name="connsiteY35" fmla="*/ 1986 h 10760"/>
              <a:gd name="connsiteX36" fmla="*/ 1172 w 10165"/>
              <a:gd name="connsiteY36" fmla="*/ 1999 h 10760"/>
              <a:gd name="connsiteX37" fmla="*/ 1949 w 10165"/>
              <a:gd name="connsiteY37" fmla="*/ 2461 h 10760"/>
              <a:gd name="connsiteX38" fmla="*/ 873 w 10165"/>
              <a:gd name="connsiteY38" fmla="*/ 2015 h 10760"/>
              <a:gd name="connsiteX39" fmla="*/ 1184 w 10165"/>
              <a:gd name="connsiteY39" fmla="*/ 2021 h 10760"/>
              <a:gd name="connsiteX40" fmla="*/ 1346 w 10165"/>
              <a:gd name="connsiteY40" fmla="*/ 2083 h 10760"/>
              <a:gd name="connsiteX41" fmla="*/ 1821 w 10165"/>
              <a:gd name="connsiteY41" fmla="*/ 2449 h 10760"/>
              <a:gd name="connsiteX42" fmla="*/ 2019 w 10165"/>
              <a:gd name="connsiteY42" fmla="*/ 2178 h 10760"/>
              <a:gd name="connsiteX43" fmla="*/ 2345 w 10165"/>
              <a:gd name="connsiteY43" fmla="*/ 1886 h 10760"/>
              <a:gd name="connsiteX44" fmla="*/ 2470 w 10165"/>
              <a:gd name="connsiteY44" fmla="*/ 1793 h 10760"/>
              <a:gd name="connsiteX45" fmla="*/ 3170 w 10165"/>
              <a:gd name="connsiteY45" fmla="*/ 1805 h 10760"/>
              <a:gd name="connsiteX46" fmla="*/ 2888 w 10165"/>
              <a:gd name="connsiteY46" fmla="*/ 1835 h 10760"/>
              <a:gd name="connsiteX47" fmla="*/ 2700 w 10165"/>
              <a:gd name="connsiteY47" fmla="*/ 1596 h 10760"/>
              <a:gd name="connsiteX48" fmla="*/ 2683 w 10165"/>
              <a:gd name="connsiteY48" fmla="*/ 1359 h 10760"/>
              <a:gd name="connsiteX49" fmla="*/ 2731 w 10165"/>
              <a:gd name="connsiteY49" fmla="*/ 1009 h 10760"/>
              <a:gd name="connsiteX50" fmla="*/ 2465 w 10165"/>
              <a:gd name="connsiteY50" fmla="*/ 1059 h 10760"/>
              <a:gd name="connsiteX51" fmla="*/ 2419 w 10165"/>
              <a:gd name="connsiteY51" fmla="*/ 879 h 10760"/>
              <a:gd name="connsiteX52" fmla="*/ 2534 w 10165"/>
              <a:gd name="connsiteY52" fmla="*/ 580 h 10760"/>
              <a:gd name="connsiteX53" fmla="*/ 2432 w 10165"/>
              <a:gd name="connsiteY53" fmla="*/ 0 h 10760"/>
              <a:gd name="connsiteX54" fmla="*/ 3730 w 10165"/>
              <a:gd name="connsiteY54" fmla="*/ 195 h 10760"/>
              <a:gd name="connsiteX55" fmla="*/ 4766 w 10165"/>
              <a:gd name="connsiteY55" fmla="*/ 1088 h 10760"/>
              <a:gd name="connsiteX56" fmla="*/ 5026 w 10165"/>
              <a:gd name="connsiteY56" fmla="*/ 1091 h 10760"/>
              <a:gd name="connsiteX57" fmla="*/ 5092 w 10165"/>
              <a:gd name="connsiteY57" fmla="*/ 1196 h 10760"/>
              <a:gd name="connsiteX58" fmla="*/ 5308 w 10165"/>
              <a:gd name="connsiteY58" fmla="*/ 1300 h 10760"/>
              <a:gd name="connsiteX59" fmla="*/ 5749 w 10165"/>
              <a:gd name="connsiteY59" fmla="*/ 1256 h 10760"/>
              <a:gd name="connsiteX60" fmla="*/ 5799 w 10165"/>
              <a:gd name="connsiteY60" fmla="*/ 1745 h 10760"/>
              <a:gd name="connsiteX61" fmla="*/ 6080 w 10165"/>
              <a:gd name="connsiteY61" fmla="*/ 1596 h 10760"/>
              <a:gd name="connsiteX62" fmla="*/ 6268 w 10165"/>
              <a:gd name="connsiteY62" fmla="*/ 1924 h 10760"/>
              <a:gd name="connsiteX63" fmla="*/ 5846 w 10165"/>
              <a:gd name="connsiteY63" fmla="*/ 2163 h 10760"/>
              <a:gd name="connsiteX64" fmla="*/ 6174 w 10165"/>
              <a:gd name="connsiteY64" fmla="*/ 2282 h 10760"/>
              <a:gd name="connsiteX65" fmla="*/ 6080 w 10165"/>
              <a:gd name="connsiteY65" fmla="*/ 2700 h 10760"/>
              <a:gd name="connsiteX66" fmla="*/ 6975 w 10165"/>
              <a:gd name="connsiteY66" fmla="*/ 3130 h 10760"/>
              <a:gd name="connsiteX67" fmla="*/ 5588 w 10165"/>
              <a:gd name="connsiteY67" fmla="*/ 3332 h 10760"/>
              <a:gd name="connsiteX68" fmla="*/ 5841 w 10165"/>
              <a:gd name="connsiteY68" fmla="*/ 3764 h 10760"/>
              <a:gd name="connsiteX69" fmla="*/ 6268 w 10165"/>
              <a:gd name="connsiteY69" fmla="*/ 3715 h 10760"/>
              <a:gd name="connsiteX70" fmla="*/ 5799 w 10165"/>
              <a:gd name="connsiteY70" fmla="*/ 3805 h 10760"/>
              <a:gd name="connsiteX71" fmla="*/ 6131 w 10165"/>
              <a:gd name="connsiteY71" fmla="*/ 3949 h 10760"/>
              <a:gd name="connsiteX72" fmla="*/ 6032 w 10165"/>
              <a:gd name="connsiteY72" fmla="*/ 4185 h 10760"/>
              <a:gd name="connsiteX73" fmla="*/ 6315 w 10165"/>
              <a:gd name="connsiteY73" fmla="*/ 4909 h 10760"/>
              <a:gd name="connsiteX74" fmla="*/ 5705 w 10165"/>
              <a:gd name="connsiteY74" fmla="*/ 4939 h 10760"/>
              <a:gd name="connsiteX75" fmla="*/ 5705 w 10165"/>
              <a:gd name="connsiteY75" fmla="*/ 5357 h 10760"/>
              <a:gd name="connsiteX76" fmla="*/ 4766 w 10165"/>
              <a:gd name="connsiteY76" fmla="*/ 5775 h 10760"/>
              <a:gd name="connsiteX77" fmla="*/ 5048 w 10165"/>
              <a:gd name="connsiteY77" fmla="*/ 6163 h 10760"/>
              <a:gd name="connsiteX78" fmla="*/ 4813 w 10165"/>
              <a:gd name="connsiteY78" fmla="*/ 6521 h 10760"/>
              <a:gd name="connsiteX79" fmla="*/ 5611 w 10165"/>
              <a:gd name="connsiteY79" fmla="*/ 7208 h 10760"/>
              <a:gd name="connsiteX80" fmla="*/ 6738 w 10165"/>
              <a:gd name="connsiteY80" fmla="*/ 7208 h 10760"/>
              <a:gd name="connsiteX81" fmla="*/ 7395 w 10165"/>
              <a:gd name="connsiteY81" fmla="*/ 7088 h 10760"/>
              <a:gd name="connsiteX82" fmla="*/ 7958 w 10165"/>
              <a:gd name="connsiteY82" fmla="*/ 7238 h 10760"/>
              <a:gd name="connsiteX83" fmla="*/ 8428 w 10165"/>
              <a:gd name="connsiteY83" fmla="*/ 7626 h 10760"/>
              <a:gd name="connsiteX84" fmla="*/ 8803 w 10165"/>
              <a:gd name="connsiteY84" fmla="*/ 8372 h 10760"/>
              <a:gd name="connsiteX85" fmla="*/ 9179 w 10165"/>
              <a:gd name="connsiteY85" fmla="*/ 8342 h 10760"/>
              <a:gd name="connsiteX86" fmla="*/ 10165 w 10165"/>
              <a:gd name="connsiteY86" fmla="*/ 9088 h 10760"/>
              <a:gd name="connsiteX87" fmla="*/ 8991 w 10165"/>
              <a:gd name="connsiteY87" fmla="*/ 9894 h 10760"/>
              <a:gd name="connsiteX88" fmla="*/ 9461 w 10165"/>
              <a:gd name="connsiteY88" fmla="*/ 10491 h 10760"/>
              <a:gd name="connsiteX89" fmla="*/ 9273 w 10165"/>
              <a:gd name="connsiteY89" fmla="*/ 10730 h 10760"/>
              <a:gd name="connsiteX90" fmla="*/ 8991 w 10165"/>
              <a:gd name="connsiteY90" fmla="*/ 10491 h 10760"/>
              <a:gd name="connsiteX91" fmla="*/ 7113 w 10165"/>
              <a:gd name="connsiteY91" fmla="*/ 10461 h 10760"/>
              <a:gd name="connsiteX92" fmla="*/ 6785 w 10165"/>
              <a:gd name="connsiteY92" fmla="*/ 10760 h 10760"/>
              <a:gd name="connsiteX93" fmla="*/ 6221 w 10165"/>
              <a:gd name="connsiteY93" fmla="*/ 10730 h 10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10165" h="10760">
                <a:moveTo>
                  <a:pt x="6221" y="10730"/>
                </a:moveTo>
                <a:cubicBezTo>
                  <a:pt x="6252" y="10451"/>
                  <a:pt x="6284" y="10173"/>
                  <a:pt x="6315" y="9894"/>
                </a:cubicBezTo>
                <a:lnTo>
                  <a:pt x="6597" y="9088"/>
                </a:lnTo>
                <a:lnTo>
                  <a:pt x="5799" y="8909"/>
                </a:lnTo>
                <a:lnTo>
                  <a:pt x="5564" y="8730"/>
                </a:lnTo>
                <a:lnTo>
                  <a:pt x="5188" y="8820"/>
                </a:lnTo>
                <a:lnTo>
                  <a:pt x="4860" y="8253"/>
                </a:lnTo>
                <a:lnTo>
                  <a:pt x="4296" y="7894"/>
                </a:lnTo>
                <a:lnTo>
                  <a:pt x="3874" y="7924"/>
                </a:lnTo>
                <a:cubicBezTo>
                  <a:pt x="3905" y="7984"/>
                  <a:pt x="3937" y="8043"/>
                  <a:pt x="3968" y="8103"/>
                </a:cubicBezTo>
                <a:lnTo>
                  <a:pt x="3498" y="8133"/>
                </a:lnTo>
                <a:cubicBezTo>
                  <a:pt x="3482" y="7904"/>
                  <a:pt x="3467" y="7676"/>
                  <a:pt x="3451" y="7447"/>
                </a:cubicBezTo>
                <a:lnTo>
                  <a:pt x="2700" y="7417"/>
                </a:lnTo>
                <a:cubicBezTo>
                  <a:pt x="2731" y="7317"/>
                  <a:pt x="2763" y="7218"/>
                  <a:pt x="2794" y="7118"/>
                </a:cubicBezTo>
                <a:lnTo>
                  <a:pt x="2465" y="7029"/>
                </a:lnTo>
                <a:lnTo>
                  <a:pt x="2278" y="6521"/>
                </a:lnTo>
                <a:lnTo>
                  <a:pt x="2606" y="6372"/>
                </a:lnTo>
                <a:lnTo>
                  <a:pt x="3076" y="5984"/>
                </a:lnTo>
                <a:lnTo>
                  <a:pt x="2794" y="5775"/>
                </a:lnTo>
                <a:lnTo>
                  <a:pt x="3357" y="5447"/>
                </a:lnTo>
                <a:lnTo>
                  <a:pt x="2794" y="5447"/>
                </a:lnTo>
                <a:lnTo>
                  <a:pt x="2794" y="5088"/>
                </a:lnTo>
                <a:cubicBezTo>
                  <a:pt x="2857" y="4899"/>
                  <a:pt x="2919" y="4710"/>
                  <a:pt x="2982" y="4521"/>
                </a:cubicBezTo>
                <a:lnTo>
                  <a:pt x="2747" y="4044"/>
                </a:lnTo>
                <a:lnTo>
                  <a:pt x="3453" y="3532"/>
                </a:lnTo>
                <a:lnTo>
                  <a:pt x="3055" y="3342"/>
                </a:lnTo>
                <a:lnTo>
                  <a:pt x="2785" y="3260"/>
                </a:lnTo>
                <a:lnTo>
                  <a:pt x="2078" y="3486"/>
                </a:lnTo>
                <a:cubicBezTo>
                  <a:pt x="2047" y="3406"/>
                  <a:pt x="1883" y="3416"/>
                  <a:pt x="1852" y="3336"/>
                </a:cubicBezTo>
                <a:lnTo>
                  <a:pt x="1480" y="3118"/>
                </a:lnTo>
                <a:lnTo>
                  <a:pt x="793" y="3070"/>
                </a:lnTo>
                <a:lnTo>
                  <a:pt x="334" y="2950"/>
                </a:lnTo>
                <a:cubicBezTo>
                  <a:pt x="397" y="2851"/>
                  <a:pt x="-57" y="2415"/>
                  <a:pt x="6" y="2316"/>
                </a:cubicBezTo>
                <a:cubicBezTo>
                  <a:pt x="24" y="2493"/>
                  <a:pt x="335" y="2643"/>
                  <a:pt x="353" y="2820"/>
                </a:cubicBezTo>
                <a:lnTo>
                  <a:pt x="165" y="2790"/>
                </a:lnTo>
                <a:lnTo>
                  <a:pt x="523" y="1986"/>
                </a:lnTo>
                <a:lnTo>
                  <a:pt x="1172" y="1999"/>
                </a:lnTo>
                <a:cubicBezTo>
                  <a:pt x="1541" y="2143"/>
                  <a:pt x="1690" y="2307"/>
                  <a:pt x="1949" y="2461"/>
                </a:cubicBezTo>
                <a:lnTo>
                  <a:pt x="873" y="2015"/>
                </a:lnTo>
                <a:cubicBezTo>
                  <a:pt x="857" y="2045"/>
                  <a:pt x="1200" y="1991"/>
                  <a:pt x="1184" y="2021"/>
                </a:cubicBezTo>
                <a:lnTo>
                  <a:pt x="1346" y="2083"/>
                </a:lnTo>
                <a:cubicBezTo>
                  <a:pt x="1504" y="2205"/>
                  <a:pt x="1508" y="2111"/>
                  <a:pt x="1821" y="2449"/>
                </a:cubicBezTo>
                <a:cubicBezTo>
                  <a:pt x="1750" y="2235"/>
                  <a:pt x="2090" y="2392"/>
                  <a:pt x="2019" y="2178"/>
                </a:cubicBezTo>
                <a:lnTo>
                  <a:pt x="2345" y="1886"/>
                </a:lnTo>
                <a:lnTo>
                  <a:pt x="2470" y="1793"/>
                </a:lnTo>
                <a:lnTo>
                  <a:pt x="3170" y="1805"/>
                </a:lnTo>
                <a:lnTo>
                  <a:pt x="2888" y="1835"/>
                </a:lnTo>
                <a:lnTo>
                  <a:pt x="2700" y="1596"/>
                </a:lnTo>
                <a:cubicBezTo>
                  <a:pt x="2694" y="1517"/>
                  <a:pt x="2689" y="1438"/>
                  <a:pt x="2683" y="1359"/>
                </a:cubicBezTo>
                <a:cubicBezTo>
                  <a:pt x="2736" y="1239"/>
                  <a:pt x="2678" y="1129"/>
                  <a:pt x="2731" y="1009"/>
                </a:cubicBezTo>
                <a:lnTo>
                  <a:pt x="2465" y="1059"/>
                </a:lnTo>
                <a:cubicBezTo>
                  <a:pt x="2450" y="999"/>
                  <a:pt x="2434" y="939"/>
                  <a:pt x="2419" y="879"/>
                </a:cubicBezTo>
                <a:cubicBezTo>
                  <a:pt x="2457" y="779"/>
                  <a:pt x="2496" y="680"/>
                  <a:pt x="2534" y="580"/>
                </a:cubicBezTo>
                <a:lnTo>
                  <a:pt x="2432" y="0"/>
                </a:lnTo>
                <a:lnTo>
                  <a:pt x="3730" y="195"/>
                </a:lnTo>
                <a:lnTo>
                  <a:pt x="4766" y="1088"/>
                </a:lnTo>
                <a:cubicBezTo>
                  <a:pt x="4797" y="1188"/>
                  <a:pt x="4995" y="991"/>
                  <a:pt x="5026" y="1091"/>
                </a:cubicBezTo>
                <a:lnTo>
                  <a:pt x="5092" y="1196"/>
                </a:lnTo>
                <a:cubicBezTo>
                  <a:pt x="5186" y="1176"/>
                  <a:pt x="5214" y="1320"/>
                  <a:pt x="5308" y="1300"/>
                </a:cubicBezTo>
                <a:lnTo>
                  <a:pt x="5749" y="1256"/>
                </a:lnTo>
                <a:cubicBezTo>
                  <a:pt x="5773" y="1393"/>
                  <a:pt x="5775" y="1608"/>
                  <a:pt x="5799" y="1745"/>
                </a:cubicBezTo>
                <a:lnTo>
                  <a:pt x="6080" y="1596"/>
                </a:lnTo>
                <a:cubicBezTo>
                  <a:pt x="6143" y="1705"/>
                  <a:pt x="6205" y="1815"/>
                  <a:pt x="6268" y="1924"/>
                </a:cubicBezTo>
                <a:lnTo>
                  <a:pt x="5846" y="2163"/>
                </a:lnTo>
                <a:lnTo>
                  <a:pt x="6174" y="2282"/>
                </a:lnTo>
                <a:cubicBezTo>
                  <a:pt x="6143" y="2421"/>
                  <a:pt x="6111" y="2561"/>
                  <a:pt x="6080" y="2700"/>
                </a:cubicBezTo>
                <a:lnTo>
                  <a:pt x="6975" y="3130"/>
                </a:lnTo>
                <a:lnTo>
                  <a:pt x="5588" y="3332"/>
                </a:lnTo>
                <a:lnTo>
                  <a:pt x="5841" y="3764"/>
                </a:lnTo>
                <a:lnTo>
                  <a:pt x="6268" y="3715"/>
                </a:lnTo>
                <a:lnTo>
                  <a:pt x="5799" y="3805"/>
                </a:lnTo>
                <a:cubicBezTo>
                  <a:pt x="5830" y="3894"/>
                  <a:pt x="6100" y="3860"/>
                  <a:pt x="6131" y="3949"/>
                </a:cubicBezTo>
                <a:cubicBezTo>
                  <a:pt x="6098" y="4028"/>
                  <a:pt x="6065" y="4106"/>
                  <a:pt x="6032" y="4185"/>
                </a:cubicBezTo>
                <a:cubicBezTo>
                  <a:pt x="6063" y="4424"/>
                  <a:pt x="6284" y="4670"/>
                  <a:pt x="6315" y="4909"/>
                </a:cubicBezTo>
                <a:lnTo>
                  <a:pt x="5705" y="4939"/>
                </a:lnTo>
                <a:lnTo>
                  <a:pt x="5705" y="5357"/>
                </a:lnTo>
                <a:lnTo>
                  <a:pt x="4766" y="5775"/>
                </a:lnTo>
                <a:lnTo>
                  <a:pt x="5048" y="6163"/>
                </a:lnTo>
                <a:lnTo>
                  <a:pt x="4813" y="6521"/>
                </a:lnTo>
                <a:lnTo>
                  <a:pt x="5611" y="7208"/>
                </a:lnTo>
                <a:lnTo>
                  <a:pt x="6738" y="7208"/>
                </a:lnTo>
                <a:lnTo>
                  <a:pt x="7395" y="7088"/>
                </a:lnTo>
                <a:lnTo>
                  <a:pt x="7958" y="7238"/>
                </a:lnTo>
                <a:lnTo>
                  <a:pt x="8428" y="7626"/>
                </a:lnTo>
                <a:lnTo>
                  <a:pt x="8803" y="8372"/>
                </a:lnTo>
                <a:lnTo>
                  <a:pt x="9179" y="8342"/>
                </a:lnTo>
                <a:lnTo>
                  <a:pt x="10165" y="9088"/>
                </a:lnTo>
                <a:lnTo>
                  <a:pt x="8991" y="9894"/>
                </a:lnTo>
                <a:lnTo>
                  <a:pt x="9461" y="10491"/>
                </a:lnTo>
                <a:lnTo>
                  <a:pt x="9273" y="10730"/>
                </a:lnTo>
                <a:lnTo>
                  <a:pt x="8991" y="10491"/>
                </a:lnTo>
                <a:lnTo>
                  <a:pt x="7113" y="10461"/>
                </a:lnTo>
                <a:lnTo>
                  <a:pt x="6785" y="10760"/>
                </a:lnTo>
                <a:lnTo>
                  <a:pt x="6221" y="10730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48" name="He"/>
          <p:cNvSpPr>
            <a:spLocks/>
          </p:cNvSpPr>
          <p:nvPr/>
        </p:nvSpPr>
        <p:spPr bwMode="auto">
          <a:xfrm rot="460133">
            <a:off x="5854700" y="3278188"/>
            <a:ext cx="508000" cy="701675"/>
          </a:xfrm>
          <a:custGeom>
            <a:avLst/>
            <a:gdLst>
              <a:gd name="T0" fmla="*/ 2147483647 w 139"/>
              <a:gd name="T1" fmla="*/ 2147483647 h 201"/>
              <a:gd name="T2" fmla="*/ 2147483647 w 139"/>
              <a:gd name="T3" fmla="*/ 2147483647 h 201"/>
              <a:gd name="T4" fmla="*/ 2147483647 w 139"/>
              <a:gd name="T5" fmla="*/ 2147483647 h 201"/>
              <a:gd name="T6" fmla="*/ 2147483647 w 139"/>
              <a:gd name="T7" fmla="*/ 2147483647 h 201"/>
              <a:gd name="T8" fmla="*/ 0 w 139"/>
              <a:gd name="T9" fmla="*/ 2147483647 h 201"/>
              <a:gd name="T10" fmla="*/ 2147483647 w 139"/>
              <a:gd name="T11" fmla="*/ 2147483647 h 201"/>
              <a:gd name="T12" fmla="*/ 0 w 139"/>
              <a:gd name="T13" fmla="*/ 2147483647 h 201"/>
              <a:gd name="T14" fmla="*/ 2147483647 w 139"/>
              <a:gd name="T15" fmla="*/ 2147483647 h 201"/>
              <a:gd name="T16" fmla="*/ 2147483647 w 139"/>
              <a:gd name="T17" fmla="*/ 2147483647 h 201"/>
              <a:gd name="T18" fmla="*/ 2147483647 w 139"/>
              <a:gd name="T19" fmla="*/ 2147483647 h 201"/>
              <a:gd name="T20" fmla="*/ 2147483647 w 139"/>
              <a:gd name="T21" fmla="*/ 2147483647 h 201"/>
              <a:gd name="T22" fmla="*/ 2147483647 w 139"/>
              <a:gd name="T23" fmla="*/ 2147483647 h 201"/>
              <a:gd name="T24" fmla="*/ 2147483647 w 139"/>
              <a:gd name="T25" fmla="*/ 2147483647 h 201"/>
              <a:gd name="T26" fmla="*/ 2147483647 w 139"/>
              <a:gd name="T27" fmla="*/ 2147483647 h 201"/>
              <a:gd name="T28" fmla="*/ 2147483647 w 139"/>
              <a:gd name="T29" fmla="*/ 2147483647 h 201"/>
              <a:gd name="T30" fmla="*/ 2147483647 w 139"/>
              <a:gd name="T31" fmla="*/ 2147483647 h 201"/>
              <a:gd name="T32" fmla="*/ 2147483647 w 139"/>
              <a:gd name="T33" fmla="*/ 2147483647 h 201"/>
              <a:gd name="T34" fmla="*/ 2147483647 w 139"/>
              <a:gd name="T35" fmla="*/ 2147483647 h 201"/>
              <a:gd name="T36" fmla="*/ 2147483647 w 139"/>
              <a:gd name="T37" fmla="*/ 2147483647 h 201"/>
              <a:gd name="T38" fmla="*/ 2147483647 w 139"/>
              <a:gd name="T39" fmla="*/ 2147483647 h 201"/>
              <a:gd name="T40" fmla="*/ 2147483647 w 139"/>
              <a:gd name="T41" fmla="*/ 2147483647 h 201"/>
              <a:gd name="T42" fmla="*/ 2147483647 w 139"/>
              <a:gd name="T43" fmla="*/ 2147483647 h 201"/>
              <a:gd name="T44" fmla="*/ 2147483647 w 139"/>
              <a:gd name="T45" fmla="*/ 2147483647 h 201"/>
              <a:gd name="T46" fmla="*/ 2147483647 w 139"/>
              <a:gd name="T47" fmla="*/ 2147483647 h 201"/>
              <a:gd name="T48" fmla="*/ 2147483647 w 139"/>
              <a:gd name="T49" fmla="*/ 2147483647 h 201"/>
              <a:gd name="T50" fmla="*/ 2147483647 w 139"/>
              <a:gd name="T51" fmla="*/ 2147483647 h 201"/>
              <a:gd name="T52" fmla="*/ 2147483647 w 139"/>
              <a:gd name="T53" fmla="*/ 2147483647 h 201"/>
              <a:gd name="T54" fmla="*/ 2147483647 w 139"/>
              <a:gd name="T55" fmla="*/ 2147483647 h 201"/>
              <a:gd name="T56" fmla="*/ 2147483647 w 139"/>
              <a:gd name="T57" fmla="*/ 2147483647 h 201"/>
              <a:gd name="T58" fmla="*/ 2147483647 w 139"/>
              <a:gd name="T59" fmla="*/ 0 h 201"/>
              <a:gd name="T60" fmla="*/ 2147483647 w 139"/>
              <a:gd name="T61" fmla="*/ 2147483647 h 201"/>
              <a:gd name="T62" fmla="*/ 2147483647 w 139"/>
              <a:gd name="T63" fmla="*/ 2147483647 h 201"/>
              <a:gd name="T64" fmla="*/ 2147483647 w 139"/>
              <a:gd name="T65" fmla="*/ 2147483647 h 201"/>
              <a:gd name="T66" fmla="*/ 2147483647 w 139"/>
              <a:gd name="T67" fmla="*/ 2147483647 h 201"/>
              <a:gd name="T68" fmla="*/ 2147483647 w 139"/>
              <a:gd name="T69" fmla="*/ 2147483647 h 201"/>
              <a:gd name="T70" fmla="*/ 2147483647 w 139"/>
              <a:gd name="T71" fmla="*/ 2147483647 h 201"/>
              <a:gd name="T72" fmla="*/ 2147483647 w 139"/>
              <a:gd name="T73" fmla="*/ 2147483647 h 201"/>
              <a:gd name="T74" fmla="*/ 2147483647 w 139"/>
              <a:gd name="T75" fmla="*/ 2147483647 h 201"/>
              <a:gd name="T76" fmla="*/ 2147483647 w 139"/>
              <a:gd name="T77" fmla="*/ 2147483647 h 201"/>
              <a:gd name="T78" fmla="*/ 2147483647 w 139"/>
              <a:gd name="T79" fmla="*/ 2147483647 h 201"/>
              <a:gd name="T80" fmla="*/ 2147483647 w 139"/>
              <a:gd name="T81" fmla="*/ 2147483647 h 201"/>
              <a:gd name="T82" fmla="*/ 2147483647 w 139"/>
              <a:gd name="T83" fmla="*/ 2147483647 h 201"/>
              <a:gd name="T84" fmla="*/ 2147483647 w 139"/>
              <a:gd name="T85" fmla="*/ 2147483647 h 201"/>
              <a:gd name="T86" fmla="*/ 2147483647 w 139"/>
              <a:gd name="T87" fmla="*/ 2147483647 h 201"/>
              <a:gd name="T88" fmla="*/ 2147483647 w 139"/>
              <a:gd name="T89" fmla="*/ 2147483647 h 201"/>
              <a:gd name="T90" fmla="*/ 2147483647 w 139"/>
              <a:gd name="T91" fmla="*/ 2147483647 h 201"/>
              <a:gd name="T92" fmla="*/ 2147483647 w 139"/>
              <a:gd name="T93" fmla="*/ 2147483647 h 201"/>
              <a:gd name="T94" fmla="*/ 2147483647 w 139"/>
              <a:gd name="T95" fmla="*/ 2147483647 h 201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39"/>
              <a:gd name="T145" fmla="*/ 0 h 201"/>
              <a:gd name="T146" fmla="*/ 139 w 139"/>
              <a:gd name="T147" fmla="*/ 201 h 201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2158 w 10000"/>
              <a:gd name="connsiteY10" fmla="*/ 4876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3094 w 10000"/>
              <a:gd name="connsiteY14" fmla="*/ 4279 h 10000"/>
              <a:gd name="connsiteX15" fmla="*/ 3741 w 10000"/>
              <a:gd name="connsiteY15" fmla="*/ 3881 h 10000"/>
              <a:gd name="connsiteX16" fmla="*/ 1295 w 10000"/>
              <a:gd name="connsiteY16" fmla="*/ 2985 h 10000"/>
              <a:gd name="connsiteX17" fmla="*/ 2014 w 10000"/>
              <a:gd name="connsiteY17" fmla="*/ 2388 h 10000"/>
              <a:gd name="connsiteX18" fmla="*/ 2086 w 10000"/>
              <a:gd name="connsiteY18" fmla="*/ 1741 h 10000"/>
              <a:gd name="connsiteX19" fmla="*/ 2446 w 10000"/>
              <a:gd name="connsiteY19" fmla="*/ 1542 h 10000"/>
              <a:gd name="connsiteX20" fmla="*/ 2734 w 10000"/>
              <a:gd name="connsiteY20" fmla="*/ 1542 h 10000"/>
              <a:gd name="connsiteX21" fmla="*/ 2878 w 10000"/>
              <a:gd name="connsiteY21" fmla="*/ 1741 h 10000"/>
              <a:gd name="connsiteX22" fmla="*/ 3525 w 10000"/>
              <a:gd name="connsiteY22" fmla="*/ 1642 h 10000"/>
              <a:gd name="connsiteX23" fmla="*/ 3957 w 10000"/>
              <a:gd name="connsiteY23" fmla="*/ 1294 h 10000"/>
              <a:gd name="connsiteX24" fmla="*/ 4427 w 10000"/>
              <a:gd name="connsiteY24" fmla="*/ 656 h 10000"/>
              <a:gd name="connsiteX25" fmla="*/ 5540 w 10000"/>
              <a:gd name="connsiteY25" fmla="*/ 547 h 10000"/>
              <a:gd name="connsiteX26" fmla="*/ 6475 w 10000"/>
              <a:gd name="connsiteY26" fmla="*/ 597 h 10000"/>
              <a:gd name="connsiteX27" fmla="*/ 6763 w 10000"/>
              <a:gd name="connsiteY27" fmla="*/ 746 h 10000"/>
              <a:gd name="connsiteX28" fmla="*/ 6978 w 10000"/>
              <a:gd name="connsiteY28" fmla="*/ 348 h 10000"/>
              <a:gd name="connsiteX29" fmla="*/ 7410 w 10000"/>
              <a:gd name="connsiteY29" fmla="*/ 0 h 10000"/>
              <a:gd name="connsiteX30" fmla="*/ 7554 w 10000"/>
              <a:gd name="connsiteY30" fmla="*/ 249 h 10000"/>
              <a:gd name="connsiteX31" fmla="*/ 7986 w 10000"/>
              <a:gd name="connsiteY31" fmla="*/ 299 h 10000"/>
              <a:gd name="connsiteX32" fmla="*/ 8129 w 10000"/>
              <a:gd name="connsiteY32" fmla="*/ 746 h 10000"/>
              <a:gd name="connsiteX33" fmla="*/ 7626 w 10000"/>
              <a:gd name="connsiteY33" fmla="*/ 896 h 10000"/>
              <a:gd name="connsiteX34" fmla="*/ 7338 w 10000"/>
              <a:gd name="connsiteY34" fmla="*/ 1194 h 10000"/>
              <a:gd name="connsiteX35" fmla="*/ 7482 w 10000"/>
              <a:gd name="connsiteY35" fmla="*/ 1393 h 10000"/>
              <a:gd name="connsiteX36" fmla="*/ 8273 w 10000"/>
              <a:gd name="connsiteY36" fmla="*/ 1194 h 10000"/>
              <a:gd name="connsiteX37" fmla="*/ 9209 w 10000"/>
              <a:gd name="connsiteY37" fmla="*/ 1791 h 10000"/>
              <a:gd name="connsiteX38" fmla="*/ 9209 w 10000"/>
              <a:gd name="connsiteY38" fmla="*/ 2139 h 10000"/>
              <a:gd name="connsiteX39" fmla="*/ 9353 w 10000"/>
              <a:gd name="connsiteY39" fmla="*/ 3980 h 10000"/>
              <a:gd name="connsiteX40" fmla="*/ 8921 w 10000"/>
              <a:gd name="connsiteY40" fmla="*/ 4229 h 10000"/>
              <a:gd name="connsiteX41" fmla="*/ 9856 w 10000"/>
              <a:gd name="connsiteY41" fmla="*/ 4975 h 10000"/>
              <a:gd name="connsiteX42" fmla="*/ 9496 w 10000"/>
              <a:gd name="connsiteY42" fmla="*/ 5423 h 10000"/>
              <a:gd name="connsiteX43" fmla="*/ 10000 w 10000"/>
              <a:gd name="connsiteY43" fmla="*/ 8557 h 10000"/>
              <a:gd name="connsiteX44" fmla="*/ 8705 w 10000"/>
              <a:gd name="connsiteY44" fmla="*/ 8259 h 10000"/>
              <a:gd name="connsiteX45" fmla="*/ 7770 w 10000"/>
              <a:gd name="connsiteY45" fmla="*/ 8955 h 10000"/>
              <a:gd name="connsiteX46" fmla="*/ 5252 w 10000"/>
              <a:gd name="connsiteY46" fmla="*/ 9552 h 10000"/>
              <a:gd name="connsiteX47" fmla="*/ 4748 w 10000"/>
              <a:gd name="connsiteY47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2158 w 10000"/>
              <a:gd name="connsiteY10" fmla="*/ 4876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3094 w 10000"/>
              <a:gd name="connsiteY14" fmla="*/ 4279 h 10000"/>
              <a:gd name="connsiteX15" fmla="*/ 3741 w 10000"/>
              <a:gd name="connsiteY15" fmla="*/ 3881 h 10000"/>
              <a:gd name="connsiteX16" fmla="*/ 1295 w 10000"/>
              <a:gd name="connsiteY16" fmla="*/ 2985 h 10000"/>
              <a:gd name="connsiteX17" fmla="*/ 2014 w 10000"/>
              <a:gd name="connsiteY17" fmla="*/ 2388 h 10000"/>
              <a:gd name="connsiteX18" fmla="*/ 2086 w 10000"/>
              <a:gd name="connsiteY18" fmla="*/ 1741 h 10000"/>
              <a:gd name="connsiteX19" fmla="*/ 2446 w 10000"/>
              <a:gd name="connsiteY19" fmla="*/ 1542 h 10000"/>
              <a:gd name="connsiteX20" fmla="*/ 2734 w 10000"/>
              <a:gd name="connsiteY20" fmla="*/ 1542 h 10000"/>
              <a:gd name="connsiteX21" fmla="*/ 2878 w 10000"/>
              <a:gd name="connsiteY21" fmla="*/ 1741 h 10000"/>
              <a:gd name="connsiteX22" fmla="*/ 3525 w 10000"/>
              <a:gd name="connsiteY22" fmla="*/ 1642 h 10000"/>
              <a:gd name="connsiteX23" fmla="*/ 3618 w 10000"/>
              <a:gd name="connsiteY23" fmla="*/ 1038 h 10000"/>
              <a:gd name="connsiteX24" fmla="*/ 4427 w 10000"/>
              <a:gd name="connsiteY24" fmla="*/ 656 h 10000"/>
              <a:gd name="connsiteX25" fmla="*/ 5540 w 10000"/>
              <a:gd name="connsiteY25" fmla="*/ 547 h 10000"/>
              <a:gd name="connsiteX26" fmla="*/ 6475 w 10000"/>
              <a:gd name="connsiteY26" fmla="*/ 597 h 10000"/>
              <a:gd name="connsiteX27" fmla="*/ 6763 w 10000"/>
              <a:gd name="connsiteY27" fmla="*/ 746 h 10000"/>
              <a:gd name="connsiteX28" fmla="*/ 6978 w 10000"/>
              <a:gd name="connsiteY28" fmla="*/ 348 h 10000"/>
              <a:gd name="connsiteX29" fmla="*/ 7410 w 10000"/>
              <a:gd name="connsiteY29" fmla="*/ 0 h 10000"/>
              <a:gd name="connsiteX30" fmla="*/ 7554 w 10000"/>
              <a:gd name="connsiteY30" fmla="*/ 249 h 10000"/>
              <a:gd name="connsiteX31" fmla="*/ 7986 w 10000"/>
              <a:gd name="connsiteY31" fmla="*/ 299 h 10000"/>
              <a:gd name="connsiteX32" fmla="*/ 8129 w 10000"/>
              <a:gd name="connsiteY32" fmla="*/ 746 h 10000"/>
              <a:gd name="connsiteX33" fmla="*/ 7626 w 10000"/>
              <a:gd name="connsiteY33" fmla="*/ 896 h 10000"/>
              <a:gd name="connsiteX34" fmla="*/ 7338 w 10000"/>
              <a:gd name="connsiteY34" fmla="*/ 1194 h 10000"/>
              <a:gd name="connsiteX35" fmla="*/ 7482 w 10000"/>
              <a:gd name="connsiteY35" fmla="*/ 1393 h 10000"/>
              <a:gd name="connsiteX36" fmla="*/ 8273 w 10000"/>
              <a:gd name="connsiteY36" fmla="*/ 1194 h 10000"/>
              <a:gd name="connsiteX37" fmla="*/ 9209 w 10000"/>
              <a:gd name="connsiteY37" fmla="*/ 1791 h 10000"/>
              <a:gd name="connsiteX38" fmla="*/ 9209 w 10000"/>
              <a:gd name="connsiteY38" fmla="*/ 2139 h 10000"/>
              <a:gd name="connsiteX39" fmla="*/ 9353 w 10000"/>
              <a:gd name="connsiteY39" fmla="*/ 3980 h 10000"/>
              <a:gd name="connsiteX40" fmla="*/ 8921 w 10000"/>
              <a:gd name="connsiteY40" fmla="*/ 4229 h 10000"/>
              <a:gd name="connsiteX41" fmla="*/ 9856 w 10000"/>
              <a:gd name="connsiteY41" fmla="*/ 4975 h 10000"/>
              <a:gd name="connsiteX42" fmla="*/ 9496 w 10000"/>
              <a:gd name="connsiteY42" fmla="*/ 5423 h 10000"/>
              <a:gd name="connsiteX43" fmla="*/ 10000 w 10000"/>
              <a:gd name="connsiteY43" fmla="*/ 8557 h 10000"/>
              <a:gd name="connsiteX44" fmla="*/ 8705 w 10000"/>
              <a:gd name="connsiteY44" fmla="*/ 8259 h 10000"/>
              <a:gd name="connsiteX45" fmla="*/ 7770 w 10000"/>
              <a:gd name="connsiteY45" fmla="*/ 8955 h 10000"/>
              <a:gd name="connsiteX46" fmla="*/ 5252 w 10000"/>
              <a:gd name="connsiteY46" fmla="*/ 9552 h 10000"/>
              <a:gd name="connsiteX47" fmla="*/ 4748 w 10000"/>
              <a:gd name="connsiteY47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2158 w 10000"/>
              <a:gd name="connsiteY10" fmla="*/ 4876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3094 w 10000"/>
              <a:gd name="connsiteY14" fmla="*/ 4279 h 10000"/>
              <a:gd name="connsiteX15" fmla="*/ 3741 w 10000"/>
              <a:gd name="connsiteY15" fmla="*/ 3881 h 10000"/>
              <a:gd name="connsiteX16" fmla="*/ 1295 w 10000"/>
              <a:gd name="connsiteY16" fmla="*/ 2985 h 10000"/>
              <a:gd name="connsiteX17" fmla="*/ 2014 w 10000"/>
              <a:gd name="connsiteY17" fmla="*/ 2388 h 10000"/>
              <a:gd name="connsiteX18" fmla="*/ 2086 w 10000"/>
              <a:gd name="connsiteY18" fmla="*/ 1741 h 10000"/>
              <a:gd name="connsiteX19" fmla="*/ 2446 w 10000"/>
              <a:gd name="connsiteY19" fmla="*/ 1542 h 10000"/>
              <a:gd name="connsiteX20" fmla="*/ 2734 w 10000"/>
              <a:gd name="connsiteY20" fmla="*/ 1542 h 10000"/>
              <a:gd name="connsiteX21" fmla="*/ 2878 w 10000"/>
              <a:gd name="connsiteY21" fmla="*/ 1741 h 10000"/>
              <a:gd name="connsiteX22" fmla="*/ 3201 w 10000"/>
              <a:gd name="connsiteY22" fmla="*/ 1467 h 10000"/>
              <a:gd name="connsiteX23" fmla="*/ 3618 w 10000"/>
              <a:gd name="connsiteY23" fmla="*/ 1038 h 10000"/>
              <a:gd name="connsiteX24" fmla="*/ 4427 w 10000"/>
              <a:gd name="connsiteY24" fmla="*/ 656 h 10000"/>
              <a:gd name="connsiteX25" fmla="*/ 5540 w 10000"/>
              <a:gd name="connsiteY25" fmla="*/ 547 h 10000"/>
              <a:gd name="connsiteX26" fmla="*/ 6475 w 10000"/>
              <a:gd name="connsiteY26" fmla="*/ 597 h 10000"/>
              <a:gd name="connsiteX27" fmla="*/ 6763 w 10000"/>
              <a:gd name="connsiteY27" fmla="*/ 746 h 10000"/>
              <a:gd name="connsiteX28" fmla="*/ 6978 w 10000"/>
              <a:gd name="connsiteY28" fmla="*/ 348 h 10000"/>
              <a:gd name="connsiteX29" fmla="*/ 7410 w 10000"/>
              <a:gd name="connsiteY29" fmla="*/ 0 h 10000"/>
              <a:gd name="connsiteX30" fmla="*/ 7554 w 10000"/>
              <a:gd name="connsiteY30" fmla="*/ 249 h 10000"/>
              <a:gd name="connsiteX31" fmla="*/ 7986 w 10000"/>
              <a:gd name="connsiteY31" fmla="*/ 299 h 10000"/>
              <a:gd name="connsiteX32" fmla="*/ 8129 w 10000"/>
              <a:gd name="connsiteY32" fmla="*/ 746 h 10000"/>
              <a:gd name="connsiteX33" fmla="*/ 7626 w 10000"/>
              <a:gd name="connsiteY33" fmla="*/ 896 h 10000"/>
              <a:gd name="connsiteX34" fmla="*/ 7338 w 10000"/>
              <a:gd name="connsiteY34" fmla="*/ 1194 h 10000"/>
              <a:gd name="connsiteX35" fmla="*/ 7482 w 10000"/>
              <a:gd name="connsiteY35" fmla="*/ 1393 h 10000"/>
              <a:gd name="connsiteX36" fmla="*/ 8273 w 10000"/>
              <a:gd name="connsiteY36" fmla="*/ 1194 h 10000"/>
              <a:gd name="connsiteX37" fmla="*/ 9209 w 10000"/>
              <a:gd name="connsiteY37" fmla="*/ 1791 h 10000"/>
              <a:gd name="connsiteX38" fmla="*/ 9209 w 10000"/>
              <a:gd name="connsiteY38" fmla="*/ 2139 h 10000"/>
              <a:gd name="connsiteX39" fmla="*/ 9353 w 10000"/>
              <a:gd name="connsiteY39" fmla="*/ 3980 h 10000"/>
              <a:gd name="connsiteX40" fmla="*/ 8921 w 10000"/>
              <a:gd name="connsiteY40" fmla="*/ 4229 h 10000"/>
              <a:gd name="connsiteX41" fmla="*/ 9856 w 10000"/>
              <a:gd name="connsiteY41" fmla="*/ 4975 h 10000"/>
              <a:gd name="connsiteX42" fmla="*/ 9496 w 10000"/>
              <a:gd name="connsiteY42" fmla="*/ 5423 h 10000"/>
              <a:gd name="connsiteX43" fmla="*/ 10000 w 10000"/>
              <a:gd name="connsiteY43" fmla="*/ 8557 h 10000"/>
              <a:gd name="connsiteX44" fmla="*/ 8705 w 10000"/>
              <a:gd name="connsiteY44" fmla="*/ 8259 h 10000"/>
              <a:gd name="connsiteX45" fmla="*/ 7770 w 10000"/>
              <a:gd name="connsiteY45" fmla="*/ 8955 h 10000"/>
              <a:gd name="connsiteX46" fmla="*/ 5252 w 10000"/>
              <a:gd name="connsiteY46" fmla="*/ 9552 h 10000"/>
              <a:gd name="connsiteX47" fmla="*/ 4748 w 10000"/>
              <a:gd name="connsiteY47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2158 w 10000"/>
              <a:gd name="connsiteY10" fmla="*/ 4876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3094 w 10000"/>
              <a:gd name="connsiteY14" fmla="*/ 4279 h 10000"/>
              <a:gd name="connsiteX15" fmla="*/ 3741 w 10000"/>
              <a:gd name="connsiteY15" fmla="*/ 3881 h 10000"/>
              <a:gd name="connsiteX16" fmla="*/ 1295 w 10000"/>
              <a:gd name="connsiteY16" fmla="*/ 2985 h 10000"/>
              <a:gd name="connsiteX17" fmla="*/ 2014 w 10000"/>
              <a:gd name="connsiteY17" fmla="*/ 2388 h 10000"/>
              <a:gd name="connsiteX18" fmla="*/ 1599 w 10000"/>
              <a:gd name="connsiteY18" fmla="*/ 2202 h 10000"/>
              <a:gd name="connsiteX19" fmla="*/ 2086 w 10000"/>
              <a:gd name="connsiteY19" fmla="*/ 1741 h 10000"/>
              <a:gd name="connsiteX20" fmla="*/ 2446 w 10000"/>
              <a:gd name="connsiteY20" fmla="*/ 1542 h 10000"/>
              <a:gd name="connsiteX21" fmla="*/ 2734 w 10000"/>
              <a:gd name="connsiteY21" fmla="*/ 1542 h 10000"/>
              <a:gd name="connsiteX22" fmla="*/ 2878 w 10000"/>
              <a:gd name="connsiteY22" fmla="*/ 1741 h 10000"/>
              <a:gd name="connsiteX23" fmla="*/ 3201 w 10000"/>
              <a:gd name="connsiteY23" fmla="*/ 1467 h 10000"/>
              <a:gd name="connsiteX24" fmla="*/ 3618 w 10000"/>
              <a:gd name="connsiteY24" fmla="*/ 1038 h 10000"/>
              <a:gd name="connsiteX25" fmla="*/ 4427 w 10000"/>
              <a:gd name="connsiteY25" fmla="*/ 656 h 10000"/>
              <a:gd name="connsiteX26" fmla="*/ 5540 w 10000"/>
              <a:gd name="connsiteY26" fmla="*/ 547 h 10000"/>
              <a:gd name="connsiteX27" fmla="*/ 6475 w 10000"/>
              <a:gd name="connsiteY27" fmla="*/ 597 h 10000"/>
              <a:gd name="connsiteX28" fmla="*/ 6763 w 10000"/>
              <a:gd name="connsiteY28" fmla="*/ 746 h 10000"/>
              <a:gd name="connsiteX29" fmla="*/ 6978 w 10000"/>
              <a:gd name="connsiteY29" fmla="*/ 348 h 10000"/>
              <a:gd name="connsiteX30" fmla="*/ 7410 w 10000"/>
              <a:gd name="connsiteY30" fmla="*/ 0 h 10000"/>
              <a:gd name="connsiteX31" fmla="*/ 7554 w 10000"/>
              <a:gd name="connsiteY31" fmla="*/ 249 h 10000"/>
              <a:gd name="connsiteX32" fmla="*/ 7986 w 10000"/>
              <a:gd name="connsiteY32" fmla="*/ 299 h 10000"/>
              <a:gd name="connsiteX33" fmla="*/ 8129 w 10000"/>
              <a:gd name="connsiteY33" fmla="*/ 746 h 10000"/>
              <a:gd name="connsiteX34" fmla="*/ 7626 w 10000"/>
              <a:gd name="connsiteY34" fmla="*/ 896 h 10000"/>
              <a:gd name="connsiteX35" fmla="*/ 7338 w 10000"/>
              <a:gd name="connsiteY35" fmla="*/ 1194 h 10000"/>
              <a:gd name="connsiteX36" fmla="*/ 7482 w 10000"/>
              <a:gd name="connsiteY36" fmla="*/ 1393 h 10000"/>
              <a:gd name="connsiteX37" fmla="*/ 8273 w 10000"/>
              <a:gd name="connsiteY37" fmla="*/ 1194 h 10000"/>
              <a:gd name="connsiteX38" fmla="*/ 9209 w 10000"/>
              <a:gd name="connsiteY38" fmla="*/ 1791 h 10000"/>
              <a:gd name="connsiteX39" fmla="*/ 9209 w 10000"/>
              <a:gd name="connsiteY39" fmla="*/ 2139 h 10000"/>
              <a:gd name="connsiteX40" fmla="*/ 9353 w 10000"/>
              <a:gd name="connsiteY40" fmla="*/ 3980 h 10000"/>
              <a:gd name="connsiteX41" fmla="*/ 8921 w 10000"/>
              <a:gd name="connsiteY41" fmla="*/ 4229 h 10000"/>
              <a:gd name="connsiteX42" fmla="*/ 9856 w 10000"/>
              <a:gd name="connsiteY42" fmla="*/ 4975 h 10000"/>
              <a:gd name="connsiteX43" fmla="*/ 9496 w 10000"/>
              <a:gd name="connsiteY43" fmla="*/ 5423 h 10000"/>
              <a:gd name="connsiteX44" fmla="*/ 10000 w 10000"/>
              <a:gd name="connsiteY44" fmla="*/ 8557 h 10000"/>
              <a:gd name="connsiteX45" fmla="*/ 8705 w 10000"/>
              <a:gd name="connsiteY45" fmla="*/ 8259 h 10000"/>
              <a:gd name="connsiteX46" fmla="*/ 7770 w 10000"/>
              <a:gd name="connsiteY46" fmla="*/ 8955 h 10000"/>
              <a:gd name="connsiteX47" fmla="*/ 5252 w 10000"/>
              <a:gd name="connsiteY47" fmla="*/ 9552 h 10000"/>
              <a:gd name="connsiteX48" fmla="*/ 4748 w 10000"/>
              <a:gd name="connsiteY48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2158 w 10000"/>
              <a:gd name="connsiteY10" fmla="*/ 4876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3094 w 10000"/>
              <a:gd name="connsiteY14" fmla="*/ 4279 h 10000"/>
              <a:gd name="connsiteX15" fmla="*/ 3741 w 10000"/>
              <a:gd name="connsiteY15" fmla="*/ 3881 h 10000"/>
              <a:gd name="connsiteX16" fmla="*/ 1002 w 10000"/>
              <a:gd name="connsiteY16" fmla="*/ 2972 h 10000"/>
              <a:gd name="connsiteX17" fmla="*/ 2014 w 10000"/>
              <a:gd name="connsiteY17" fmla="*/ 2388 h 10000"/>
              <a:gd name="connsiteX18" fmla="*/ 1599 w 10000"/>
              <a:gd name="connsiteY18" fmla="*/ 2202 h 10000"/>
              <a:gd name="connsiteX19" fmla="*/ 2086 w 10000"/>
              <a:gd name="connsiteY19" fmla="*/ 1741 h 10000"/>
              <a:gd name="connsiteX20" fmla="*/ 2446 w 10000"/>
              <a:gd name="connsiteY20" fmla="*/ 1542 h 10000"/>
              <a:gd name="connsiteX21" fmla="*/ 2734 w 10000"/>
              <a:gd name="connsiteY21" fmla="*/ 1542 h 10000"/>
              <a:gd name="connsiteX22" fmla="*/ 2878 w 10000"/>
              <a:gd name="connsiteY22" fmla="*/ 1741 h 10000"/>
              <a:gd name="connsiteX23" fmla="*/ 3201 w 10000"/>
              <a:gd name="connsiteY23" fmla="*/ 1467 h 10000"/>
              <a:gd name="connsiteX24" fmla="*/ 3618 w 10000"/>
              <a:gd name="connsiteY24" fmla="*/ 1038 h 10000"/>
              <a:gd name="connsiteX25" fmla="*/ 4427 w 10000"/>
              <a:gd name="connsiteY25" fmla="*/ 656 h 10000"/>
              <a:gd name="connsiteX26" fmla="*/ 5540 w 10000"/>
              <a:gd name="connsiteY26" fmla="*/ 547 h 10000"/>
              <a:gd name="connsiteX27" fmla="*/ 6475 w 10000"/>
              <a:gd name="connsiteY27" fmla="*/ 597 h 10000"/>
              <a:gd name="connsiteX28" fmla="*/ 6763 w 10000"/>
              <a:gd name="connsiteY28" fmla="*/ 746 h 10000"/>
              <a:gd name="connsiteX29" fmla="*/ 6978 w 10000"/>
              <a:gd name="connsiteY29" fmla="*/ 348 h 10000"/>
              <a:gd name="connsiteX30" fmla="*/ 7410 w 10000"/>
              <a:gd name="connsiteY30" fmla="*/ 0 h 10000"/>
              <a:gd name="connsiteX31" fmla="*/ 7554 w 10000"/>
              <a:gd name="connsiteY31" fmla="*/ 249 h 10000"/>
              <a:gd name="connsiteX32" fmla="*/ 7986 w 10000"/>
              <a:gd name="connsiteY32" fmla="*/ 299 h 10000"/>
              <a:gd name="connsiteX33" fmla="*/ 8129 w 10000"/>
              <a:gd name="connsiteY33" fmla="*/ 746 h 10000"/>
              <a:gd name="connsiteX34" fmla="*/ 7626 w 10000"/>
              <a:gd name="connsiteY34" fmla="*/ 896 h 10000"/>
              <a:gd name="connsiteX35" fmla="*/ 7338 w 10000"/>
              <a:gd name="connsiteY35" fmla="*/ 1194 h 10000"/>
              <a:gd name="connsiteX36" fmla="*/ 7482 w 10000"/>
              <a:gd name="connsiteY36" fmla="*/ 1393 h 10000"/>
              <a:gd name="connsiteX37" fmla="*/ 8273 w 10000"/>
              <a:gd name="connsiteY37" fmla="*/ 1194 h 10000"/>
              <a:gd name="connsiteX38" fmla="*/ 9209 w 10000"/>
              <a:gd name="connsiteY38" fmla="*/ 1791 h 10000"/>
              <a:gd name="connsiteX39" fmla="*/ 9209 w 10000"/>
              <a:gd name="connsiteY39" fmla="*/ 2139 h 10000"/>
              <a:gd name="connsiteX40" fmla="*/ 9353 w 10000"/>
              <a:gd name="connsiteY40" fmla="*/ 3980 h 10000"/>
              <a:gd name="connsiteX41" fmla="*/ 8921 w 10000"/>
              <a:gd name="connsiteY41" fmla="*/ 4229 h 10000"/>
              <a:gd name="connsiteX42" fmla="*/ 9856 w 10000"/>
              <a:gd name="connsiteY42" fmla="*/ 4975 h 10000"/>
              <a:gd name="connsiteX43" fmla="*/ 9496 w 10000"/>
              <a:gd name="connsiteY43" fmla="*/ 5423 h 10000"/>
              <a:gd name="connsiteX44" fmla="*/ 10000 w 10000"/>
              <a:gd name="connsiteY44" fmla="*/ 8557 h 10000"/>
              <a:gd name="connsiteX45" fmla="*/ 8705 w 10000"/>
              <a:gd name="connsiteY45" fmla="*/ 8259 h 10000"/>
              <a:gd name="connsiteX46" fmla="*/ 7770 w 10000"/>
              <a:gd name="connsiteY46" fmla="*/ 8955 h 10000"/>
              <a:gd name="connsiteX47" fmla="*/ 5252 w 10000"/>
              <a:gd name="connsiteY47" fmla="*/ 9552 h 10000"/>
              <a:gd name="connsiteX48" fmla="*/ 4748 w 10000"/>
              <a:gd name="connsiteY48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2158 w 10000"/>
              <a:gd name="connsiteY10" fmla="*/ 4876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3094 w 10000"/>
              <a:gd name="connsiteY14" fmla="*/ 4279 h 10000"/>
              <a:gd name="connsiteX15" fmla="*/ 3251 w 10000"/>
              <a:gd name="connsiteY15" fmla="*/ 4051 h 10000"/>
              <a:gd name="connsiteX16" fmla="*/ 1002 w 10000"/>
              <a:gd name="connsiteY16" fmla="*/ 2972 h 10000"/>
              <a:gd name="connsiteX17" fmla="*/ 2014 w 10000"/>
              <a:gd name="connsiteY17" fmla="*/ 2388 h 10000"/>
              <a:gd name="connsiteX18" fmla="*/ 1599 w 10000"/>
              <a:gd name="connsiteY18" fmla="*/ 2202 h 10000"/>
              <a:gd name="connsiteX19" fmla="*/ 2086 w 10000"/>
              <a:gd name="connsiteY19" fmla="*/ 1741 h 10000"/>
              <a:gd name="connsiteX20" fmla="*/ 2446 w 10000"/>
              <a:gd name="connsiteY20" fmla="*/ 1542 h 10000"/>
              <a:gd name="connsiteX21" fmla="*/ 2734 w 10000"/>
              <a:gd name="connsiteY21" fmla="*/ 1542 h 10000"/>
              <a:gd name="connsiteX22" fmla="*/ 2878 w 10000"/>
              <a:gd name="connsiteY22" fmla="*/ 1741 h 10000"/>
              <a:gd name="connsiteX23" fmla="*/ 3201 w 10000"/>
              <a:gd name="connsiteY23" fmla="*/ 1467 h 10000"/>
              <a:gd name="connsiteX24" fmla="*/ 3618 w 10000"/>
              <a:gd name="connsiteY24" fmla="*/ 1038 h 10000"/>
              <a:gd name="connsiteX25" fmla="*/ 4427 w 10000"/>
              <a:gd name="connsiteY25" fmla="*/ 656 h 10000"/>
              <a:gd name="connsiteX26" fmla="*/ 5540 w 10000"/>
              <a:gd name="connsiteY26" fmla="*/ 547 h 10000"/>
              <a:gd name="connsiteX27" fmla="*/ 6475 w 10000"/>
              <a:gd name="connsiteY27" fmla="*/ 597 h 10000"/>
              <a:gd name="connsiteX28" fmla="*/ 6763 w 10000"/>
              <a:gd name="connsiteY28" fmla="*/ 746 h 10000"/>
              <a:gd name="connsiteX29" fmla="*/ 6978 w 10000"/>
              <a:gd name="connsiteY29" fmla="*/ 348 h 10000"/>
              <a:gd name="connsiteX30" fmla="*/ 7410 w 10000"/>
              <a:gd name="connsiteY30" fmla="*/ 0 h 10000"/>
              <a:gd name="connsiteX31" fmla="*/ 7554 w 10000"/>
              <a:gd name="connsiteY31" fmla="*/ 249 h 10000"/>
              <a:gd name="connsiteX32" fmla="*/ 7986 w 10000"/>
              <a:gd name="connsiteY32" fmla="*/ 299 h 10000"/>
              <a:gd name="connsiteX33" fmla="*/ 8129 w 10000"/>
              <a:gd name="connsiteY33" fmla="*/ 746 h 10000"/>
              <a:gd name="connsiteX34" fmla="*/ 7626 w 10000"/>
              <a:gd name="connsiteY34" fmla="*/ 896 h 10000"/>
              <a:gd name="connsiteX35" fmla="*/ 7338 w 10000"/>
              <a:gd name="connsiteY35" fmla="*/ 1194 h 10000"/>
              <a:gd name="connsiteX36" fmla="*/ 7482 w 10000"/>
              <a:gd name="connsiteY36" fmla="*/ 1393 h 10000"/>
              <a:gd name="connsiteX37" fmla="*/ 8273 w 10000"/>
              <a:gd name="connsiteY37" fmla="*/ 1194 h 10000"/>
              <a:gd name="connsiteX38" fmla="*/ 9209 w 10000"/>
              <a:gd name="connsiteY38" fmla="*/ 1791 h 10000"/>
              <a:gd name="connsiteX39" fmla="*/ 9209 w 10000"/>
              <a:gd name="connsiteY39" fmla="*/ 2139 h 10000"/>
              <a:gd name="connsiteX40" fmla="*/ 9353 w 10000"/>
              <a:gd name="connsiteY40" fmla="*/ 3980 h 10000"/>
              <a:gd name="connsiteX41" fmla="*/ 8921 w 10000"/>
              <a:gd name="connsiteY41" fmla="*/ 4229 h 10000"/>
              <a:gd name="connsiteX42" fmla="*/ 9856 w 10000"/>
              <a:gd name="connsiteY42" fmla="*/ 4975 h 10000"/>
              <a:gd name="connsiteX43" fmla="*/ 9496 w 10000"/>
              <a:gd name="connsiteY43" fmla="*/ 5423 h 10000"/>
              <a:gd name="connsiteX44" fmla="*/ 10000 w 10000"/>
              <a:gd name="connsiteY44" fmla="*/ 8557 h 10000"/>
              <a:gd name="connsiteX45" fmla="*/ 8705 w 10000"/>
              <a:gd name="connsiteY45" fmla="*/ 8259 h 10000"/>
              <a:gd name="connsiteX46" fmla="*/ 7770 w 10000"/>
              <a:gd name="connsiteY46" fmla="*/ 8955 h 10000"/>
              <a:gd name="connsiteX47" fmla="*/ 5252 w 10000"/>
              <a:gd name="connsiteY47" fmla="*/ 9552 h 10000"/>
              <a:gd name="connsiteX48" fmla="*/ 4748 w 10000"/>
              <a:gd name="connsiteY48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2158 w 10000"/>
              <a:gd name="connsiteY10" fmla="*/ 4876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2854 w 10000"/>
              <a:gd name="connsiteY14" fmla="*/ 3932 h 10000"/>
              <a:gd name="connsiteX15" fmla="*/ 3251 w 10000"/>
              <a:gd name="connsiteY15" fmla="*/ 4051 h 10000"/>
              <a:gd name="connsiteX16" fmla="*/ 1002 w 10000"/>
              <a:gd name="connsiteY16" fmla="*/ 2972 h 10000"/>
              <a:gd name="connsiteX17" fmla="*/ 2014 w 10000"/>
              <a:gd name="connsiteY17" fmla="*/ 2388 h 10000"/>
              <a:gd name="connsiteX18" fmla="*/ 1599 w 10000"/>
              <a:gd name="connsiteY18" fmla="*/ 2202 h 10000"/>
              <a:gd name="connsiteX19" fmla="*/ 2086 w 10000"/>
              <a:gd name="connsiteY19" fmla="*/ 1741 h 10000"/>
              <a:gd name="connsiteX20" fmla="*/ 2446 w 10000"/>
              <a:gd name="connsiteY20" fmla="*/ 1542 h 10000"/>
              <a:gd name="connsiteX21" fmla="*/ 2734 w 10000"/>
              <a:gd name="connsiteY21" fmla="*/ 1542 h 10000"/>
              <a:gd name="connsiteX22" fmla="*/ 2878 w 10000"/>
              <a:gd name="connsiteY22" fmla="*/ 1741 h 10000"/>
              <a:gd name="connsiteX23" fmla="*/ 3201 w 10000"/>
              <a:gd name="connsiteY23" fmla="*/ 1467 h 10000"/>
              <a:gd name="connsiteX24" fmla="*/ 3618 w 10000"/>
              <a:gd name="connsiteY24" fmla="*/ 1038 h 10000"/>
              <a:gd name="connsiteX25" fmla="*/ 4427 w 10000"/>
              <a:gd name="connsiteY25" fmla="*/ 656 h 10000"/>
              <a:gd name="connsiteX26" fmla="*/ 5540 w 10000"/>
              <a:gd name="connsiteY26" fmla="*/ 547 h 10000"/>
              <a:gd name="connsiteX27" fmla="*/ 6475 w 10000"/>
              <a:gd name="connsiteY27" fmla="*/ 597 h 10000"/>
              <a:gd name="connsiteX28" fmla="*/ 6763 w 10000"/>
              <a:gd name="connsiteY28" fmla="*/ 746 h 10000"/>
              <a:gd name="connsiteX29" fmla="*/ 6978 w 10000"/>
              <a:gd name="connsiteY29" fmla="*/ 348 h 10000"/>
              <a:gd name="connsiteX30" fmla="*/ 7410 w 10000"/>
              <a:gd name="connsiteY30" fmla="*/ 0 h 10000"/>
              <a:gd name="connsiteX31" fmla="*/ 7554 w 10000"/>
              <a:gd name="connsiteY31" fmla="*/ 249 h 10000"/>
              <a:gd name="connsiteX32" fmla="*/ 7986 w 10000"/>
              <a:gd name="connsiteY32" fmla="*/ 299 h 10000"/>
              <a:gd name="connsiteX33" fmla="*/ 8129 w 10000"/>
              <a:gd name="connsiteY33" fmla="*/ 746 h 10000"/>
              <a:gd name="connsiteX34" fmla="*/ 7626 w 10000"/>
              <a:gd name="connsiteY34" fmla="*/ 896 h 10000"/>
              <a:gd name="connsiteX35" fmla="*/ 7338 w 10000"/>
              <a:gd name="connsiteY35" fmla="*/ 1194 h 10000"/>
              <a:gd name="connsiteX36" fmla="*/ 7482 w 10000"/>
              <a:gd name="connsiteY36" fmla="*/ 1393 h 10000"/>
              <a:gd name="connsiteX37" fmla="*/ 8273 w 10000"/>
              <a:gd name="connsiteY37" fmla="*/ 1194 h 10000"/>
              <a:gd name="connsiteX38" fmla="*/ 9209 w 10000"/>
              <a:gd name="connsiteY38" fmla="*/ 1791 h 10000"/>
              <a:gd name="connsiteX39" fmla="*/ 9209 w 10000"/>
              <a:gd name="connsiteY39" fmla="*/ 2139 h 10000"/>
              <a:gd name="connsiteX40" fmla="*/ 9353 w 10000"/>
              <a:gd name="connsiteY40" fmla="*/ 3980 h 10000"/>
              <a:gd name="connsiteX41" fmla="*/ 8921 w 10000"/>
              <a:gd name="connsiteY41" fmla="*/ 4229 h 10000"/>
              <a:gd name="connsiteX42" fmla="*/ 9856 w 10000"/>
              <a:gd name="connsiteY42" fmla="*/ 4975 h 10000"/>
              <a:gd name="connsiteX43" fmla="*/ 9496 w 10000"/>
              <a:gd name="connsiteY43" fmla="*/ 5423 h 10000"/>
              <a:gd name="connsiteX44" fmla="*/ 10000 w 10000"/>
              <a:gd name="connsiteY44" fmla="*/ 8557 h 10000"/>
              <a:gd name="connsiteX45" fmla="*/ 8705 w 10000"/>
              <a:gd name="connsiteY45" fmla="*/ 8259 h 10000"/>
              <a:gd name="connsiteX46" fmla="*/ 7770 w 10000"/>
              <a:gd name="connsiteY46" fmla="*/ 8955 h 10000"/>
              <a:gd name="connsiteX47" fmla="*/ 5252 w 10000"/>
              <a:gd name="connsiteY47" fmla="*/ 9552 h 10000"/>
              <a:gd name="connsiteX48" fmla="*/ 4748 w 10000"/>
              <a:gd name="connsiteY48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2374 w 10000"/>
              <a:gd name="connsiteY9" fmla="*/ 6119 h 10000"/>
              <a:gd name="connsiteX10" fmla="*/ 1816 w 10000"/>
              <a:gd name="connsiteY10" fmla="*/ 4909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2854 w 10000"/>
              <a:gd name="connsiteY14" fmla="*/ 3932 h 10000"/>
              <a:gd name="connsiteX15" fmla="*/ 3251 w 10000"/>
              <a:gd name="connsiteY15" fmla="*/ 4051 h 10000"/>
              <a:gd name="connsiteX16" fmla="*/ 1002 w 10000"/>
              <a:gd name="connsiteY16" fmla="*/ 2972 h 10000"/>
              <a:gd name="connsiteX17" fmla="*/ 2014 w 10000"/>
              <a:gd name="connsiteY17" fmla="*/ 2388 h 10000"/>
              <a:gd name="connsiteX18" fmla="*/ 1599 w 10000"/>
              <a:gd name="connsiteY18" fmla="*/ 2202 h 10000"/>
              <a:gd name="connsiteX19" fmla="*/ 2086 w 10000"/>
              <a:gd name="connsiteY19" fmla="*/ 1741 h 10000"/>
              <a:gd name="connsiteX20" fmla="*/ 2446 w 10000"/>
              <a:gd name="connsiteY20" fmla="*/ 1542 h 10000"/>
              <a:gd name="connsiteX21" fmla="*/ 2734 w 10000"/>
              <a:gd name="connsiteY21" fmla="*/ 1542 h 10000"/>
              <a:gd name="connsiteX22" fmla="*/ 2878 w 10000"/>
              <a:gd name="connsiteY22" fmla="*/ 1741 h 10000"/>
              <a:gd name="connsiteX23" fmla="*/ 3201 w 10000"/>
              <a:gd name="connsiteY23" fmla="*/ 1467 h 10000"/>
              <a:gd name="connsiteX24" fmla="*/ 3618 w 10000"/>
              <a:gd name="connsiteY24" fmla="*/ 1038 h 10000"/>
              <a:gd name="connsiteX25" fmla="*/ 4427 w 10000"/>
              <a:gd name="connsiteY25" fmla="*/ 656 h 10000"/>
              <a:gd name="connsiteX26" fmla="*/ 5540 w 10000"/>
              <a:gd name="connsiteY26" fmla="*/ 547 h 10000"/>
              <a:gd name="connsiteX27" fmla="*/ 6475 w 10000"/>
              <a:gd name="connsiteY27" fmla="*/ 597 h 10000"/>
              <a:gd name="connsiteX28" fmla="*/ 6763 w 10000"/>
              <a:gd name="connsiteY28" fmla="*/ 746 h 10000"/>
              <a:gd name="connsiteX29" fmla="*/ 6978 w 10000"/>
              <a:gd name="connsiteY29" fmla="*/ 348 h 10000"/>
              <a:gd name="connsiteX30" fmla="*/ 7410 w 10000"/>
              <a:gd name="connsiteY30" fmla="*/ 0 h 10000"/>
              <a:gd name="connsiteX31" fmla="*/ 7554 w 10000"/>
              <a:gd name="connsiteY31" fmla="*/ 249 h 10000"/>
              <a:gd name="connsiteX32" fmla="*/ 7986 w 10000"/>
              <a:gd name="connsiteY32" fmla="*/ 299 h 10000"/>
              <a:gd name="connsiteX33" fmla="*/ 8129 w 10000"/>
              <a:gd name="connsiteY33" fmla="*/ 746 h 10000"/>
              <a:gd name="connsiteX34" fmla="*/ 7626 w 10000"/>
              <a:gd name="connsiteY34" fmla="*/ 896 h 10000"/>
              <a:gd name="connsiteX35" fmla="*/ 7338 w 10000"/>
              <a:gd name="connsiteY35" fmla="*/ 1194 h 10000"/>
              <a:gd name="connsiteX36" fmla="*/ 7482 w 10000"/>
              <a:gd name="connsiteY36" fmla="*/ 1393 h 10000"/>
              <a:gd name="connsiteX37" fmla="*/ 8273 w 10000"/>
              <a:gd name="connsiteY37" fmla="*/ 1194 h 10000"/>
              <a:gd name="connsiteX38" fmla="*/ 9209 w 10000"/>
              <a:gd name="connsiteY38" fmla="*/ 1791 h 10000"/>
              <a:gd name="connsiteX39" fmla="*/ 9209 w 10000"/>
              <a:gd name="connsiteY39" fmla="*/ 2139 h 10000"/>
              <a:gd name="connsiteX40" fmla="*/ 9353 w 10000"/>
              <a:gd name="connsiteY40" fmla="*/ 3980 h 10000"/>
              <a:gd name="connsiteX41" fmla="*/ 8921 w 10000"/>
              <a:gd name="connsiteY41" fmla="*/ 4229 h 10000"/>
              <a:gd name="connsiteX42" fmla="*/ 9856 w 10000"/>
              <a:gd name="connsiteY42" fmla="*/ 4975 h 10000"/>
              <a:gd name="connsiteX43" fmla="*/ 9496 w 10000"/>
              <a:gd name="connsiteY43" fmla="*/ 5423 h 10000"/>
              <a:gd name="connsiteX44" fmla="*/ 10000 w 10000"/>
              <a:gd name="connsiteY44" fmla="*/ 8557 h 10000"/>
              <a:gd name="connsiteX45" fmla="*/ 8705 w 10000"/>
              <a:gd name="connsiteY45" fmla="*/ 8259 h 10000"/>
              <a:gd name="connsiteX46" fmla="*/ 7770 w 10000"/>
              <a:gd name="connsiteY46" fmla="*/ 8955 h 10000"/>
              <a:gd name="connsiteX47" fmla="*/ 5252 w 10000"/>
              <a:gd name="connsiteY47" fmla="*/ 9552 h 10000"/>
              <a:gd name="connsiteX48" fmla="*/ 4748 w 10000"/>
              <a:gd name="connsiteY48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439 w 10000"/>
              <a:gd name="connsiteY7" fmla="*/ 6866 h 10000"/>
              <a:gd name="connsiteX8" fmla="*/ 1367 w 10000"/>
              <a:gd name="connsiteY8" fmla="*/ 6169 h 10000"/>
              <a:gd name="connsiteX9" fmla="*/ 1921 w 10000"/>
              <a:gd name="connsiteY9" fmla="*/ 5874 h 10000"/>
              <a:gd name="connsiteX10" fmla="*/ 1816 w 10000"/>
              <a:gd name="connsiteY10" fmla="*/ 4909 h 10000"/>
              <a:gd name="connsiteX11" fmla="*/ 1727 w 10000"/>
              <a:gd name="connsiteY11" fmla="*/ 4726 h 10000"/>
              <a:gd name="connsiteX12" fmla="*/ 1583 w 10000"/>
              <a:gd name="connsiteY12" fmla="*/ 4279 h 10000"/>
              <a:gd name="connsiteX13" fmla="*/ 2374 w 10000"/>
              <a:gd name="connsiteY13" fmla="*/ 4080 h 10000"/>
              <a:gd name="connsiteX14" fmla="*/ 2854 w 10000"/>
              <a:gd name="connsiteY14" fmla="*/ 3932 h 10000"/>
              <a:gd name="connsiteX15" fmla="*/ 3251 w 10000"/>
              <a:gd name="connsiteY15" fmla="*/ 4051 h 10000"/>
              <a:gd name="connsiteX16" fmla="*/ 1002 w 10000"/>
              <a:gd name="connsiteY16" fmla="*/ 2972 h 10000"/>
              <a:gd name="connsiteX17" fmla="*/ 2014 w 10000"/>
              <a:gd name="connsiteY17" fmla="*/ 2388 h 10000"/>
              <a:gd name="connsiteX18" fmla="*/ 1599 w 10000"/>
              <a:gd name="connsiteY18" fmla="*/ 2202 h 10000"/>
              <a:gd name="connsiteX19" fmla="*/ 2086 w 10000"/>
              <a:gd name="connsiteY19" fmla="*/ 1741 h 10000"/>
              <a:gd name="connsiteX20" fmla="*/ 2446 w 10000"/>
              <a:gd name="connsiteY20" fmla="*/ 1542 h 10000"/>
              <a:gd name="connsiteX21" fmla="*/ 2734 w 10000"/>
              <a:gd name="connsiteY21" fmla="*/ 1542 h 10000"/>
              <a:gd name="connsiteX22" fmla="*/ 2878 w 10000"/>
              <a:gd name="connsiteY22" fmla="*/ 1741 h 10000"/>
              <a:gd name="connsiteX23" fmla="*/ 3201 w 10000"/>
              <a:gd name="connsiteY23" fmla="*/ 1467 h 10000"/>
              <a:gd name="connsiteX24" fmla="*/ 3618 w 10000"/>
              <a:gd name="connsiteY24" fmla="*/ 1038 h 10000"/>
              <a:gd name="connsiteX25" fmla="*/ 4427 w 10000"/>
              <a:gd name="connsiteY25" fmla="*/ 656 h 10000"/>
              <a:gd name="connsiteX26" fmla="*/ 5540 w 10000"/>
              <a:gd name="connsiteY26" fmla="*/ 547 h 10000"/>
              <a:gd name="connsiteX27" fmla="*/ 6475 w 10000"/>
              <a:gd name="connsiteY27" fmla="*/ 597 h 10000"/>
              <a:gd name="connsiteX28" fmla="*/ 6763 w 10000"/>
              <a:gd name="connsiteY28" fmla="*/ 746 h 10000"/>
              <a:gd name="connsiteX29" fmla="*/ 6978 w 10000"/>
              <a:gd name="connsiteY29" fmla="*/ 348 h 10000"/>
              <a:gd name="connsiteX30" fmla="*/ 7410 w 10000"/>
              <a:gd name="connsiteY30" fmla="*/ 0 h 10000"/>
              <a:gd name="connsiteX31" fmla="*/ 7554 w 10000"/>
              <a:gd name="connsiteY31" fmla="*/ 249 h 10000"/>
              <a:gd name="connsiteX32" fmla="*/ 7986 w 10000"/>
              <a:gd name="connsiteY32" fmla="*/ 299 h 10000"/>
              <a:gd name="connsiteX33" fmla="*/ 8129 w 10000"/>
              <a:gd name="connsiteY33" fmla="*/ 746 h 10000"/>
              <a:gd name="connsiteX34" fmla="*/ 7626 w 10000"/>
              <a:gd name="connsiteY34" fmla="*/ 896 h 10000"/>
              <a:gd name="connsiteX35" fmla="*/ 7338 w 10000"/>
              <a:gd name="connsiteY35" fmla="*/ 1194 h 10000"/>
              <a:gd name="connsiteX36" fmla="*/ 7482 w 10000"/>
              <a:gd name="connsiteY36" fmla="*/ 1393 h 10000"/>
              <a:gd name="connsiteX37" fmla="*/ 8273 w 10000"/>
              <a:gd name="connsiteY37" fmla="*/ 1194 h 10000"/>
              <a:gd name="connsiteX38" fmla="*/ 9209 w 10000"/>
              <a:gd name="connsiteY38" fmla="*/ 1791 h 10000"/>
              <a:gd name="connsiteX39" fmla="*/ 9209 w 10000"/>
              <a:gd name="connsiteY39" fmla="*/ 2139 h 10000"/>
              <a:gd name="connsiteX40" fmla="*/ 9353 w 10000"/>
              <a:gd name="connsiteY40" fmla="*/ 3980 h 10000"/>
              <a:gd name="connsiteX41" fmla="*/ 8921 w 10000"/>
              <a:gd name="connsiteY41" fmla="*/ 4229 h 10000"/>
              <a:gd name="connsiteX42" fmla="*/ 9856 w 10000"/>
              <a:gd name="connsiteY42" fmla="*/ 4975 h 10000"/>
              <a:gd name="connsiteX43" fmla="*/ 9496 w 10000"/>
              <a:gd name="connsiteY43" fmla="*/ 5423 h 10000"/>
              <a:gd name="connsiteX44" fmla="*/ 10000 w 10000"/>
              <a:gd name="connsiteY44" fmla="*/ 8557 h 10000"/>
              <a:gd name="connsiteX45" fmla="*/ 8705 w 10000"/>
              <a:gd name="connsiteY45" fmla="*/ 8259 h 10000"/>
              <a:gd name="connsiteX46" fmla="*/ 7770 w 10000"/>
              <a:gd name="connsiteY46" fmla="*/ 8955 h 10000"/>
              <a:gd name="connsiteX47" fmla="*/ 5252 w 10000"/>
              <a:gd name="connsiteY47" fmla="*/ 9552 h 10000"/>
              <a:gd name="connsiteX48" fmla="*/ 4748 w 10000"/>
              <a:gd name="connsiteY48" fmla="*/ 10000 h 10000"/>
              <a:gd name="connsiteX0" fmla="*/ 4748 w 10000"/>
              <a:gd name="connsiteY0" fmla="*/ 10000 h 10000"/>
              <a:gd name="connsiteX1" fmla="*/ 4029 w 10000"/>
              <a:gd name="connsiteY1" fmla="*/ 9801 h 10000"/>
              <a:gd name="connsiteX2" fmla="*/ 3094 w 10000"/>
              <a:gd name="connsiteY2" fmla="*/ 9950 h 10000"/>
              <a:gd name="connsiteX3" fmla="*/ 1295 w 10000"/>
              <a:gd name="connsiteY3" fmla="*/ 10000 h 10000"/>
              <a:gd name="connsiteX4" fmla="*/ 0 w 10000"/>
              <a:gd name="connsiteY4" fmla="*/ 8856 h 10000"/>
              <a:gd name="connsiteX5" fmla="*/ 432 w 10000"/>
              <a:gd name="connsiteY5" fmla="*/ 8209 h 10000"/>
              <a:gd name="connsiteX6" fmla="*/ 0 w 10000"/>
              <a:gd name="connsiteY6" fmla="*/ 7512 h 10000"/>
              <a:gd name="connsiteX7" fmla="*/ 1163 w 10000"/>
              <a:gd name="connsiteY7" fmla="*/ 6932 h 10000"/>
              <a:gd name="connsiteX8" fmla="*/ 1439 w 10000"/>
              <a:gd name="connsiteY8" fmla="*/ 6866 h 10000"/>
              <a:gd name="connsiteX9" fmla="*/ 1367 w 10000"/>
              <a:gd name="connsiteY9" fmla="*/ 6169 h 10000"/>
              <a:gd name="connsiteX10" fmla="*/ 1921 w 10000"/>
              <a:gd name="connsiteY10" fmla="*/ 5874 h 10000"/>
              <a:gd name="connsiteX11" fmla="*/ 1816 w 10000"/>
              <a:gd name="connsiteY11" fmla="*/ 4909 h 10000"/>
              <a:gd name="connsiteX12" fmla="*/ 1727 w 10000"/>
              <a:gd name="connsiteY12" fmla="*/ 4726 h 10000"/>
              <a:gd name="connsiteX13" fmla="*/ 1583 w 10000"/>
              <a:gd name="connsiteY13" fmla="*/ 4279 h 10000"/>
              <a:gd name="connsiteX14" fmla="*/ 2374 w 10000"/>
              <a:gd name="connsiteY14" fmla="*/ 4080 h 10000"/>
              <a:gd name="connsiteX15" fmla="*/ 2854 w 10000"/>
              <a:gd name="connsiteY15" fmla="*/ 3932 h 10000"/>
              <a:gd name="connsiteX16" fmla="*/ 3251 w 10000"/>
              <a:gd name="connsiteY16" fmla="*/ 4051 h 10000"/>
              <a:gd name="connsiteX17" fmla="*/ 1002 w 10000"/>
              <a:gd name="connsiteY17" fmla="*/ 2972 h 10000"/>
              <a:gd name="connsiteX18" fmla="*/ 2014 w 10000"/>
              <a:gd name="connsiteY18" fmla="*/ 2388 h 10000"/>
              <a:gd name="connsiteX19" fmla="*/ 1599 w 10000"/>
              <a:gd name="connsiteY19" fmla="*/ 2202 h 10000"/>
              <a:gd name="connsiteX20" fmla="*/ 2086 w 10000"/>
              <a:gd name="connsiteY20" fmla="*/ 1741 h 10000"/>
              <a:gd name="connsiteX21" fmla="*/ 2446 w 10000"/>
              <a:gd name="connsiteY21" fmla="*/ 1542 h 10000"/>
              <a:gd name="connsiteX22" fmla="*/ 2734 w 10000"/>
              <a:gd name="connsiteY22" fmla="*/ 1542 h 10000"/>
              <a:gd name="connsiteX23" fmla="*/ 2878 w 10000"/>
              <a:gd name="connsiteY23" fmla="*/ 1741 h 10000"/>
              <a:gd name="connsiteX24" fmla="*/ 3201 w 10000"/>
              <a:gd name="connsiteY24" fmla="*/ 1467 h 10000"/>
              <a:gd name="connsiteX25" fmla="*/ 3618 w 10000"/>
              <a:gd name="connsiteY25" fmla="*/ 1038 h 10000"/>
              <a:gd name="connsiteX26" fmla="*/ 4427 w 10000"/>
              <a:gd name="connsiteY26" fmla="*/ 656 h 10000"/>
              <a:gd name="connsiteX27" fmla="*/ 5540 w 10000"/>
              <a:gd name="connsiteY27" fmla="*/ 547 h 10000"/>
              <a:gd name="connsiteX28" fmla="*/ 6475 w 10000"/>
              <a:gd name="connsiteY28" fmla="*/ 597 h 10000"/>
              <a:gd name="connsiteX29" fmla="*/ 6763 w 10000"/>
              <a:gd name="connsiteY29" fmla="*/ 746 h 10000"/>
              <a:gd name="connsiteX30" fmla="*/ 6978 w 10000"/>
              <a:gd name="connsiteY30" fmla="*/ 348 h 10000"/>
              <a:gd name="connsiteX31" fmla="*/ 7410 w 10000"/>
              <a:gd name="connsiteY31" fmla="*/ 0 h 10000"/>
              <a:gd name="connsiteX32" fmla="*/ 7554 w 10000"/>
              <a:gd name="connsiteY32" fmla="*/ 249 h 10000"/>
              <a:gd name="connsiteX33" fmla="*/ 7986 w 10000"/>
              <a:gd name="connsiteY33" fmla="*/ 299 h 10000"/>
              <a:gd name="connsiteX34" fmla="*/ 8129 w 10000"/>
              <a:gd name="connsiteY34" fmla="*/ 746 h 10000"/>
              <a:gd name="connsiteX35" fmla="*/ 7626 w 10000"/>
              <a:gd name="connsiteY35" fmla="*/ 896 h 10000"/>
              <a:gd name="connsiteX36" fmla="*/ 7338 w 10000"/>
              <a:gd name="connsiteY36" fmla="*/ 1194 h 10000"/>
              <a:gd name="connsiteX37" fmla="*/ 7482 w 10000"/>
              <a:gd name="connsiteY37" fmla="*/ 1393 h 10000"/>
              <a:gd name="connsiteX38" fmla="*/ 8273 w 10000"/>
              <a:gd name="connsiteY38" fmla="*/ 1194 h 10000"/>
              <a:gd name="connsiteX39" fmla="*/ 9209 w 10000"/>
              <a:gd name="connsiteY39" fmla="*/ 1791 h 10000"/>
              <a:gd name="connsiteX40" fmla="*/ 9209 w 10000"/>
              <a:gd name="connsiteY40" fmla="*/ 2139 h 10000"/>
              <a:gd name="connsiteX41" fmla="*/ 9353 w 10000"/>
              <a:gd name="connsiteY41" fmla="*/ 3980 h 10000"/>
              <a:gd name="connsiteX42" fmla="*/ 8921 w 10000"/>
              <a:gd name="connsiteY42" fmla="*/ 4229 h 10000"/>
              <a:gd name="connsiteX43" fmla="*/ 9856 w 10000"/>
              <a:gd name="connsiteY43" fmla="*/ 4975 h 10000"/>
              <a:gd name="connsiteX44" fmla="*/ 9496 w 10000"/>
              <a:gd name="connsiteY44" fmla="*/ 5423 h 10000"/>
              <a:gd name="connsiteX45" fmla="*/ 10000 w 10000"/>
              <a:gd name="connsiteY45" fmla="*/ 8557 h 10000"/>
              <a:gd name="connsiteX46" fmla="*/ 8705 w 10000"/>
              <a:gd name="connsiteY46" fmla="*/ 8259 h 10000"/>
              <a:gd name="connsiteX47" fmla="*/ 7770 w 10000"/>
              <a:gd name="connsiteY47" fmla="*/ 8955 h 10000"/>
              <a:gd name="connsiteX48" fmla="*/ 5252 w 10000"/>
              <a:gd name="connsiteY48" fmla="*/ 9552 h 10000"/>
              <a:gd name="connsiteX49" fmla="*/ 4748 w 10000"/>
              <a:gd name="connsiteY49" fmla="*/ 10000 h 10000"/>
              <a:gd name="connsiteX0" fmla="*/ 4748 w 10000"/>
              <a:gd name="connsiteY0" fmla="*/ 10000 h 10426"/>
              <a:gd name="connsiteX1" fmla="*/ 4029 w 10000"/>
              <a:gd name="connsiteY1" fmla="*/ 9801 h 10426"/>
              <a:gd name="connsiteX2" fmla="*/ 3094 w 10000"/>
              <a:gd name="connsiteY2" fmla="*/ 9950 h 10426"/>
              <a:gd name="connsiteX3" fmla="*/ 1144 w 10000"/>
              <a:gd name="connsiteY3" fmla="*/ 10426 h 10426"/>
              <a:gd name="connsiteX4" fmla="*/ 0 w 10000"/>
              <a:gd name="connsiteY4" fmla="*/ 8856 h 10426"/>
              <a:gd name="connsiteX5" fmla="*/ 432 w 10000"/>
              <a:gd name="connsiteY5" fmla="*/ 8209 h 10426"/>
              <a:gd name="connsiteX6" fmla="*/ 0 w 10000"/>
              <a:gd name="connsiteY6" fmla="*/ 7512 h 10426"/>
              <a:gd name="connsiteX7" fmla="*/ 1163 w 10000"/>
              <a:gd name="connsiteY7" fmla="*/ 6932 h 10426"/>
              <a:gd name="connsiteX8" fmla="*/ 1439 w 10000"/>
              <a:gd name="connsiteY8" fmla="*/ 6866 h 10426"/>
              <a:gd name="connsiteX9" fmla="*/ 1367 w 10000"/>
              <a:gd name="connsiteY9" fmla="*/ 6169 h 10426"/>
              <a:gd name="connsiteX10" fmla="*/ 1921 w 10000"/>
              <a:gd name="connsiteY10" fmla="*/ 5874 h 10426"/>
              <a:gd name="connsiteX11" fmla="*/ 1816 w 10000"/>
              <a:gd name="connsiteY11" fmla="*/ 4909 h 10426"/>
              <a:gd name="connsiteX12" fmla="*/ 1727 w 10000"/>
              <a:gd name="connsiteY12" fmla="*/ 4726 h 10426"/>
              <a:gd name="connsiteX13" fmla="*/ 1583 w 10000"/>
              <a:gd name="connsiteY13" fmla="*/ 4279 h 10426"/>
              <a:gd name="connsiteX14" fmla="*/ 2374 w 10000"/>
              <a:gd name="connsiteY14" fmla="*/ 4080 h 10426"/>
              <a:gd name="connsiteX15" fmla="*/ 2854 w 10000"/>
              <a:gd name="connsiteY15" fmla="*/ 3932 h 10426"/>
              <a:gd name="connsiteX16" fmla="*/ 3251 w 10000"/>
              <a:gd name="connsiteY16" fmla="*/ 4051 h 10426"/>
              <a:gd name="connsiteX17" fmla="*/ 1002 w 10000"/>
              <a:gd name="connsiteY17" fmla="*/ 2972 h 10426"/>
              <a:gd name="connsiteX18" fmla="*/ 2014 w 10000"/>
              <a:gd name="connsiteY18" fmla="*/ 2388 h 10426"/>
              <a:gd name="connsiteX19" fmla="*/ 1599 w 10000"/>
              <a:gd name="connsiteY19" fmla="*/ 2202 h 10426"/>
              <a:gd name="connsiteX20" fmla="*/ 2086 w 10000"/>
              <a:gd name="connsiteY20" fmla="*/ 1741 h 10426"/>
              <a:gd name="connsiteX21" fmla="*/ 2446 w 10000"/>
              <a:gd name="connsiteY21" fmla="*/ 1542 h 10426"/>
              <a:gd name="connsiteX22" fmla="*/ 2734 w 10000"/>
              <a:gd name="connsiteY22" fmla="*/ 1542 h 10426"/>
              <a:gd name="connsiteX23" fmla="*/ 2878 w 10000"/>
              <a:gd name="connsiteY23" fmla="*/ 1741 h 10426"/>
              <a:gd name="connsiteX24" fmla="*/ 3201 w 10000"/>
              <a:gd name="connsiteY24" fmla="*/ 1467 h 10426"/>
              <a:gd name="connsiteX25" fmla="*/ 3618 w 10000"/>
              <a:gd name="connsiteY25" fmla="*/ 1038 h 10426"/>
              <a:gd name="connsiteX26" fmla="*/ 4427 w 10000"/>
              <a:gd name="connsiteY26" fmla="*/ 656 h 10426"/>
              <a:gd name="connsiteX27" fmla="*/ 5540 w 10000"/>
              <a:gd name="connsiteY27" fmla="*/ 547 h 10426"/>
              <a:gd name="connsiteX28" fmla="*/ 6475 w 10000"/>
              <a:gd name="connsiteY28" fmla="*/ 597 h 10426"/>
              <a:gd name="connsiteX29" fmla="*/ 6763 w 10000"/>
              <a:gd name="connsiteY29" fmla="*/ 746 h 10426"/>
              <a:gd name="connsiteX30" fmla="*/ 6978 w 10000"/>
              <a:gd name="connsiteY30" fmla="*/ 348 h 10426"/>
              <a:gd name="connsiteX31" fmla="*/ 7410 w 10000"/>
              <a:gd name="connsiteY31" fmla="*/ 0 h 10426"/>
              <a:gd name="connsiteX32" fmla="*/ 7554 w 10000"/>
              <a:gd name="connsiteY32" fmla="*/ 249 h 10426"/>
              <a:gd name="connsiteX33" fmla="*/ 7986 w 10000"/>
              <a:gd name="connsiteY33" fmla="*/ 299 h 10426"/>
              <a:gd name="connsiteX34" fmla="*/ 8129 w 10000"/>
              <a:gd name="connsiteY34" fmla="*/ 746 h 10426"/>
              <a:gd name="connsiteX35" fmla="*/ 7626 w 10000"/>
              <a:gd name="connsiteY35" fmla="*/ 896 h 10426"/>
              <a:gd name="connsiteX36" fmla="*/ 7338 w 10000"/>
              <a:gd name="connsiteY36" fmla="*/ 1194 h 10426"/>
              <a:gd name="connsiteX37" fmla="*/ 7482 w 10000"/>
              <a:gd name="connsiteY37" fmla="*/ 1393 h 10426"/>
              <a:gd name="connsiteX38" fmla="*/ 8273 w 10000"/>
              <a:gd name="connsiteY38" fmla="*/ 1194 h 10426"/>
              <a:gd name="connsiteX39" fmla="*/ 9209 w 10000"/>
              <a:gd name="connsiteY39" fmla="*/ 1791 h 10426"/>
              <a:gd name="connsiteX40" fmla="*/ 9209 w 10000"/>
              <a:gd name="connsiteY40" fmla="*/ 2139 h 10426"/>
              <a:gd name="connsiteX41" fmla="*/ 9353 w 10000"/>
              <a:gd name="connsiteY41" fmla="*/ 3980 h 10426"/>
              <a:gd name="connsiteX42" fmla="*/ 8921 w 10000"/>
              <a:gd name="connsiteY42" fmla="*/ 4229 h 10426"/>
              <a:gd name="connsiteX43" fmla="*/ 9856 w 10000"/>
              <a:gd name="connsiteY43" fmla="*/ 4975 h 10426"/>
              <a:gd name="connsiteX44" fmla="*/ 9496 w 10000"/>
              <a:gd name="connsiteY44" fmla="*/ 5423 h 10426"/>
              <a:gd name="connsiteX45" fmla="*/ 10000 w 10000"/>
              <a:gd name="connsiteY45" fmla="*/ 8557 h 10426"/>
              <a:gd name="connsiteX46" fmla="*/ 8705 w 10000"/>
              <a:gd name="connsiteY46" fmla="*/ 8259 h 10426"/>
              <a:gd name="connsiteX47" fmla="*/ 7770 w 10000"/>
              <a:gd name="connsiteY47" fmla="*/ 8955 h 10426"/>
              <a:gd name="connsiteX48" fmla="*/ 5252 w 10000"/>
              <a:gd name="connsiteY48" fmla="*/ 9552 h 10426"/>
              <a:gd name="connsiteX49" fmla="*/ 4748 w 10000"/>
              <a:gd name="connsiteY49" fmla="*/ 10000 h 10426"/>
              <a:gd name="connsiteX0" fmla="*/ 4748 w 10000"/>
              <a:gd name="connsiteY0" fmla="*/ 10000 h 10672"/>
              <a:gd name="connsiteX1" fmla="*/ 4029 w 10000"/>
              <a:gd name="connsiteY1" fmla="*/ 9801 h 10672"/>
              <a:gd name="connsiteX2" fmla="*/ 3289 w 10000"/>
              <a:gd name="connsiteY2" fmla="*/ 10672 h 10672"/>
              <a:gd name="connsiteX3" fmla="*/ 1144 w 10000"/>
              <a:gd name="connsiteY3" fmla="*/ 10426 h 10672"/>
              <a:gd name="connsiteX4" fmla="*/ 0 w 10000"/>
              <a:gd name="connsiteY4" fmla="*/ 8856 h 10672"/>
              <a:gd name="connsiteX5" fmla="*/ 432 w 10000"/>
              <a:gd name="connsiteY5" fmla="*/ 8209 h 10672"/>
              <a:gd name="connsiteX6" fmla="*/ 0 w 10000"/>
              <a:gd name="connsiteY6" fmla="*/ 7512 h 10672"/>
              <a:gd name="connsiteX7" fmla="*/ 1163 w 10000"/>
              <a:gd name="connsiteY7" fmla="*/ 6932 h 10672"/>
              <a:gd name="connsiteX8" fmla="*/ 1439 w 10000"/>
              <a:gd name="connsiteY8" fmla="*/ 6866 h 10672"/>
              <a:gd name="connsiteX9" fmla="*/ 1367 w 10000"/>
              <a:gd name="connsiteY9" fmla="*/ 6169 h 10672"/>
              <a:gd name="connsiteX10" fmla="*/ 1921 w 10000"/>
              <a:gd name="connsiteY10" fmla="*/ 5874 h 10672"/>
              <a:gd name="connsiteX11" fmla="*/ 1816 w 10000"/>
              <a:gd name="connsiteY11" fmla="*/ 4909 h 10672"/>
              <a:gd name="connsiteX12" fmla="*/ 1727 w 10000"/>
              <a:gd name="connsiteY12" fmla="*/ 4726 h 10672"/>
              <a:gd name="connsiteX13" fmla="*/ 1583 w 10000"/>
              <a:gd name="connsiteY13" fmla="*/ 4279 h 10672"/>
              <a:gd name="connsiteX14" fmla="*/ 2374 w 10000"/>
              <a:gd name="connsiteY14" fmla="*/ 4080 h 10672"/>
              <a:gd name="connsiteX15" fmla="*/ 2854 w 10000"/>
              <a:gd name="connsiteY15" fmla="*/ 3932 h 10672"/>
              <a:gd name="connsiteX16" fmla="*/ 3251 w 10000"/>
              <a:gd name="connsiteY16" fmla="*/ 4051 h 10672"/>
              <a:gd name="connsiteX17" fmla="*/ 1002 w 10000"/>
              <a:gd name="connsiteY17" fmla="*/ 2972 h 10672"/>
              <a:gd name="connsiteX18" fmla="*/ 2014 w 10000"/>
              <a:gd name="connsiteY18" fmla="*/ 2388 h 10672"/>
              <a:gd name="connsiteX19" fmla="*/ 1599 w 10000"/>
              <a:gd name="connsiteY19" fmla="*/ 2202 h 10672"/>
              <a:gd name="connsiteX20" fmla="*/ 2086 w 10000"/>
              <a:gd name="connsiteY20" fmla="*/ 1741 h 10672"/>
              <a:gd name="connsiteX21" fmla="*/ 2446 w 10000"/>
              <a:gd name="connsiteY21" fmla="*/ 1542 h 10672"/>
              <a:gd name="connsiteX22" fmla="*/ 2734 w 10000"/>
              <a:gd name="connsiteY22" fmla="*/ 1542 h 10672"/>
              <a:gd name="connsiteX23" fmla="*/ 2878 w 10000"/>
              <a:gd name="connsiteY23" fmla="*/ 1741 h 10672"/>
              <a:gd name="connsiteX24" fmla="*/ 3201 w 10000"/>
              <a:gd name="connsiteY24" fmla="*/ 1467 h 10672"/>
              <a:gd name="connsiteX25" fmla="*/ 3618 w 10000"/>
              <a:gd name="connsiteY25" fmla="*/ 1038 h 10672"/>
              <a:gd name="connsiteX26" fmla="*/ 4427 w 10000"/>
              <a:gd name="connsiteY26" fmla="*/ 656 h 10672"/>
              <a:gd name="connsiteX27" fmla="*/ 5540 w 10000"/>
              <a:gd name="connsiteY27" fmla="*/ 547 h 10672"/>
              <a:gd name="connsiteX28" fmla="*/ 6475 w 10000"/>
              <a:gd name="connsiteY28" fmla="*/ 597 h 10672"/>
              <a:gd name="connsiteX29" fmla="*/ 6763 w 10000"/>
              <a:gd name="connsiteY29" fmla="*/ 746 h 10672"/>
              <a:gd name="connsiteX30" fmla="*/ 6978 w 10000"/>
              <a:gd name="connsiteY30" fmla="*/ 348 h 10672"/>
              <a:gd name="connsiteX31" fmla="*/ 7410 w 10000"/>
              <a:gd name="connsiteY31" fmla="*/ 0 h 10672"/>
              <a:gd name="connsiteX32" fmla="*/ 7554 w 10000"/>
              <a:gd name="connsiteY32" fmla="*/ 249 h 10672"/>
              <a:gd name="connsiteX33" fmla="*/ 7986 w 10000"/>
              <a:gd name="connsiteY33" fmla="*/ 299 h 10672"/>
              <a:gd name="connsiteX34" fmla="*/ 8129 w 10000"/>
              <a:gd name="connsiteY34" fmla="*/ 746 h 10672"/>
              <a:gd name="connsiteX35" fmla="*/ 7626 w 10000"/>
              <a:gd name="connsiteY35" fmla="*/ 896 h 10672"/>
              <a:gd name="connsiteX36" fmla="*/ 7338 w 10000"/>
              <a:gd name="connsiteY36" fmla="*/ 1194 h 10672"/>
              <a:gd name="connsiteX37" fmla="*/ 7482 w 10000"/>
              <a:gd name="connsiteY37" fmla="*/ 1393 h 10672"/>
              <a:gd name="connsiteX38" fmla="*/ 8273 w 10000"/>
              <a:gd name="connsiteY38" fmla="*/ 1194 h 10672"/>
              <a:gd name="connsiteX39" fmla="*/ 9209 w 10000"/>
              <a:gd name="connsiteY39" fmla="*/ 1791 h 10672"/>
              <a:gd name="connsiteX40" fmla="*/ 9209 w 10000"/>
              <a:gd name="connsiteY40" fmla="*/ 2139 h 10672"/>
              <a:gd name="connsiteX41" fmla="*/ 9353 w 10000"/>
              <a:gd name="connsiteY41" fmla="*/ 3980 h 10672"/>
              <a:gd name="connsiteX42" fmla="*/ 8921 w 10000"/>
              <a:gd name="connsiteY42" fmla="*/ 4229 h 10672"/>
              <a:gd name="connsiteX43" fmla="*/ 9856 w 10000"/>
              <a:gd name="connsiteY43" fmla="*/ 4975 h 10672"/>
              <a:gd name="connsiteX44" fmla="*/ 9496 w 10000"/>
              <a:gd name="connsiteY44" fmla="*/ 5423 h 10672"/>
              <a:gd name="connsiteX45" fmla="*/ 10000 w 10000"/>
              <a:gd name="connsiteY45" fmla="*/ 8557 h 10672"/>
              <a:gd name="connsiteX46" fmla="*/ 8705 w 10000"/>
              <a:gd name="connsiteY46" fmla="*/ 8259 h 10672"/>
              <a:gd name="connsiteX47" fmla="*/ 7770 w 10000"/>
              <a:gd name="connsiteY47" fmla="*/ 8955 h 10672"/>
              <a:gd name="connsiteX48" fmla="*/ 5252 w 10000"/>
              <a:gd name="connsiteY48" fmla="*/ 9552 h 10672"/>
              <a:gd name="connsiteX49" fmla="*/ 4748 w 10000"/>
              <a:gd name="connsiteY49" fmla="*/ 10000 h 10672"/>
              <a:gd name="connsiteX0" fmla="*/ 4748 w 10000"/>
              <a:gd name="connsiteY0" fmla="*/ 10000 h 10672"/>
              <a:gd name="connsiteX1" fmla="*/ 4627 w 10000"/>
              <a:gd name="connsiteY1" fmla="*/ 10196 h 10672"/>
              <a:gd name="connsiteX2" fmla="*/ 3289 w 10000"/>
              <a:gd name="connsiteY2" fmla="*/ 10672 h 10672"/>
              <a:gd name="connsiteX3" fmla="*/ 1144 w 10000"/>
              <a:gd name="connsiteY3" fmla="*/ 10426 h 10672"/>
              <a:gd name="connsiteX4" fmla="*/ 0 w 10000"/>
              <a:gd name="connsiteY4" fmla="*/ 8856 h 10672"/>
              <a:gd name="connsiteX5" fmla="*/ 432 w 10000"/>
              <a:gd name="connsiteY5" fmla="*/ 8209 h 10672"/>
              <a:gd name="connsiteX6" fmla="*/ 0 w 10000"/>
              <a:gd name="connsiteY6" fmla="*/ 7512 h 10672"/>
              <a:gd name="connsiteX7" fmla="*/ 1163 w 10000"/>
              <a:gd name="connsiteY7" fmla="*/ 6932 h 10672"/>
              <a:gd name="connsiteX8" fmla="*/ 1439 w 10000"/>
              <a:gd name="connsiteY8" fmla="*/ 6866 h 10672"/>
              <a:gd name="connsiteX9" fmla="*/ 1367 w 10000"/>
              <a:gd name="connsiteY9" fmla="*/ 6169 h 10672"/>
              <a:gd name="connsiteX10" fmla="*/ 1921 w 10000"/>
              <a:gd name="connsiteY10" fmla="*/ 5874 h 10672"/>
              <a:gd name="connsiteX11" fmla="*/ 1816 w 10000"/>
              <a:gd name="connsiteY11" fmla="*/ 4909 h 10672"/>
              <a:gd name="connsiteX12" fmla="*/ 1727 w 10000"/>
              <a:gd name="connsiteY12" fmla="*/ 4726 h 10672"/>
              <a:gd name="connsiteX13" fmla="*/ 1583 w 10000"/>
              <a:gd name="connsiteY13" fmla="*/ 4279 h 10672"/>
              <a:gd name="connsiteX14" fmla="*/ 2374 w 10000"/>
              <a:gd name="connsiteY14" fmla="*/ 4080 h 10672"/>
              <a:gd name="connsiteX15" fmla="*/ 2854 w 10000"/>
              <a:gd name="connsiteY15" fmla="*/ 3932 h 10672"/>
              <a:gd name="connsiteX16" fmla="*/ 3251 w 10000"/>
              <a:gd name="connsiteY16" fmla="*/ 4051 h 10672"/>
              <a:gd name="connsiteX17" fmla="*/ 1002 w 10000"/>
              <a:gd name="connsiteY17" fmla="*/ 2972 h 10672"/>
              <a:gd name="connsiteX18" fmla="*/ 2014 w 10000"/>
              <a:gd name="connsiteY18" fmla="*/ 2388 h 10672"/>
              <a:gd name="connsiteX19" fmla="*/ 1599 w 10000"/>
              <a:gd name="connsiteY19" fmla="*/ 2202 h 10672"/>
              <a:gd name="connsiteX20" fmla="*/ 2086 w 10000"/>
              <a:gd name="connsiteY20" fmla="*/ 1741 h 10672"/>
              <a:gd name="connsiteX21" fmla="*/ 2446 w 10000"/>
              <a:gd name="connsiteY21" fmla="*/ 1542 h 10672"/>
              <a:gd name="connsiteX22" fmla="*/ 2734 w 10000"/>
              <a:gd name="connsiteY22" fmla="*/ 1542 h 10672"/>
              <a:gd name="connsiteX23" fmla="*/ 2878 w 10000"/>
              <a:gd name="connsiteY23" fmla="*/ 1741 h 10672"/>
              <a:gd name="connsiteX24" fmla="*/ 3201 w 10000"/>
              <a:gd name="connsiteY24" fmla="*/ 1467 h 10672"/>
              <a:gd name="connsiteX25" fmla="*/ 3618 w 10000"/>
              <a:gd name="connsiteY25" fmla="*/ 1038 h 10672"/>
              <a:gd name="connsiteX26" fmla="*/ 4427 w 10000"/>
              <a:gd name="connsiteY26" fmla="*/ 656 h 10672"/>
              <a:gd name="connsiteX27" fmla="*/ 5540 w 10000"/>
              <a:gd name="connsiteY27" fmla="*/ 547 h 10672"/>
              <a:gd name="connsiteX28" fmla="*/ 6475 w 10000"/>
              <a:gd name="connsiteY28" fmla="*/ 597 h 10672"/>
              <a:gd name="connsiteX29" fmla="*/ 6763 w 10000"/>
              <a:gd name="connsiteY29" fmla="*/ 746 h 10672"/>
              <a:gd name="connsiteX30" fmla="*/ 6978 w 10000"/>
              <a:gd name="connsiteY30" fmla="*/ 348 h 10672"/>
              <a:gd name="connsiteX31" fmla="*/ 7410 w 10000"/>
              <a:gd name="connsiteY31" fmla="*/ 0 h 10672"/>
              <a:gd name="connsiteX32" fmla="*/ 7554 w 10000"/>
              <a:gd name="connsiteY32" fmla="*/ 249 h 10672"/>
              <a:gd name="connsiteX33" fmla="*/ 7986 w 10000"/>
              <a:gd name="connsiteY33" fmla="*/ 299 h 10672"/>
              <a:gd name="connsiteX34" fmla="*/ 8129 w 10000"/>
              <a:gd name="connsiteY34" fmla="*/ 746 h 10672"/>
              <a:gd name="connsiteX35" fmla="*/ 7626 w 10000"/>
              <a:gd name="connsiteY35" fmla="*/ 896 h 10672"/>
              <a:gd name="connsiteX36" fmla="*/ 7338 w 10000"/>
              <a:gd name="connsiteY36" fmla="*/ 1194 h 10672"/>
              <a:gd name="connsiteX37" fmla="*/ 7482 w 10000"/>
              <a:gd name="connsiteY37" fmla="*/ 1393 h 10672"/>
              <a:gd name="connsiteX38" fmla="*/ 8273 w 10000"/>
              <a:gd name="connsiteY38" fmla="*/ 1194 h 10672"/>
              <a:gd name="connsiteX39" fmla="*/ 9209 w 10000"/>
              <a:gd name="connsiteY39" fmla="*/ 1791 h 10672"/>
              <a:gd name="connsiteX40" fmla="*/ 9209 w 10000"/>
              <a:gd name="connsiteY40" fmla="*/ 2139 h 10672"/>
              <a:gd name="connsiteX41" fmla="*/ 9353 w 10000"/>
              <a:gd name="connsiteY41" fmla="*/ 3980 h 10672"/>
              <a:gd name="connsiteX42" fmla="*/ 8921 w 10000"/>
              <a:gd name="connsiteY42" fmla="*/ 4229 h 10672"/>
              <a:gd name="connsiteX43" fmla="*/ 9856 w 10000"/>
              <a:gd name="connsiteY43" fmla="*/ 4975 h 10672"/>
              <a:gd name="connsiteX44" fmla="*/ 9496 w 10000"/>
              <a:gd name="connsiteY44" fmla="*/ 5423 h 10672"/>
              <a:gd name="connsiteX45" fmla="*/ 10000 w 10000"/>
              <a:gd name="connsiteY45" fmla="*/ 8557 h 10672"/>
              <a:gd name="connsiteX46" fmla="*/ 8705 w 10000"/>
              <a:gd name="connsiteY46" fmla="*/ 8259 h 10672"/>
              <a:gd name="connsiteX47" fmla="*/ 7770 w 10000"/>
              <a:gd name="connsiteY47" fmla="*/ 8955 h 10672"/>
              <a:gd name="connsiteX48" fmla="*/ 5252 w 10000"/>
              <a:gd name="connsiteY48" fmla="*/ 9552 h 10672"/>
              <a:gd name="connsiteX49" fmla="*/ 4748 w 10000"/>
              <a:gd name="connsiteY49" fmla="*/ 10000 h 10672"/>
              <a:gd name="connsiteX0" fmla="*/ 4748 w 10000"/>
              <a:gd name="connsiteY0" fmla="*/ 10000 h 10672"/>
              <a:gd name="connsiteX1" fmla="*/ 4627 w 10000"/>
              <a:gd name="connsiteY1" fmla="*/ 10196 h 10672"/>
              <a:gd name="connsiteX2" fmla="*/ 3289 w 10000"/>
              <a:gd name="connsiteY2" fmla="*/ 10672 h 10672"/>
              <a:gd name="connsiteX3" fmla="*/ 1144 w 10000"/>
              <a:gd name="connsiteY3" fmla="*/ 10426 h 10672"/>
              <a:gd name="connsiteX4" fmla="*/ 0 w 10000"/>
              <a:gd name="connsiteY4" fmla="*/ 8856 h 10672"/>
              <a:gd name="connsiteX5" fmla="*/ 432 w 10000"/>
              <a:gd name="connsiteY5" fmla="*/ 8209 h 10672"/>
              <a:gd name="connsiteX6" fmla="*/ 0 w 10000"/>
              <a:gd name="connsiteY6" fmla="*/ 7512 h 10672"/>
              <a:gd name="connsiteX7" fmla="*/ 1163 w 10000"/>
              <a:gd name="connsiteY7" fmla="*/ 6932 h 10672"/>
              <a:gd name="connsiteX8" fmla="*/ 1439 w 10000"/>
              <a:gd name="connsiteY8" fmla="*/ 6866 h 10672"/>
              <a:gd name="connsiteX9" fmla="*/ 1367 w 10000"/>
              <a:gd name="connsiteY9" fmla="*/ 6169 h 10672"/>
              <a:gd name="connsiteX10" fmla="*/ 1921 w 10000"/>
              <a:gd name="connsiteY10" fmla="*/ 5874 h 10672"/>
              <a:gd name="connsiteX11" fmla="*/ 1816 w 10000"/>
              <a:gd name="connsiteY11" fmla="*/ 4909 h 10672"/>
              <a:gd name="connsiteX12" fmla="*/ 1727 w 10000"/>
              <a:gd name="connsiteY12" fmla="*/ 4726 h 10672"/>
              <a:gd name="connsiteX13" fmla="*/ 1583 w 10000"/>
              <a:gd name="connsiteY13" fmla="*/ 4279 h 10672"/>
              <a:gd name="connsiteX14" fmla="*/ 2374 w 10000"/>
              <a:gd name="connsiteY14" fmla="*/ 4080 h 10672"/>
              <a:gd name="connsiteX15" fmla="*/ 2854 w 10000"/>
              <a:gd name="connsiteY15" fmla="*/ 3932 h 10672"/>
              <a:gd name="connsiteX16" fmla="*/ 3251 w 10000"/>
              <a:gd name="connsiteY16" fmla="*/ 4051 h 10672"/>
              <a:gd name="connsiteX17" fmla="*/ 1002 w 10000"/>
              <a:gd name="connsiteY17" fmla="*/ 2972 h 10672"/>
              <a:gd name="connsiteX18" fmla="*/ 2014 w 10000"/>
              <a:gd name="connsiteY18" fmla="*/ 2388 h 10672"/>
              <a:gd name="connsiteX19" fmla="*/ 1599 w 10000"/>
              <a:gd name="connsiteY19" fmla="*/ 2202 h 10672"/>
              <a:gd name="connsiteX20" fmla="*/ 2086 w 10000"/>
              <a:gd name="connsiteY20" fmla="*/ 1741 h 10672"/>
              <a:gd name="connsiteX21" fmla="*/ 2446 w 10000"/>
              <a:gd name="connsiteY21" fmla="*/ 1542 h 10672"/>
              <a:gd name="connsiteX22" fmla="*/ 2734 w 10000"/>
              <a:gd name="connsiteY22" fmla="*/ 1542 h 10672"/>
              <a:gd name="connsiteX23" fmla="*/ 2878 w 10000"/>
              <a:gd name="connsiteY23" fmla="*/ 1741 h 10672"/>
              <a:gd name="connsiteX24" fmla="*/ 3201 w 10000"/>
              <a:gd name="connsiteY24" fmla="*/ 1467 h 10672"/>
              <a:gd name="connsiteX25" fmla="*/ 3618 w 10000"/>
              <a:gd name="connsiteY25" fmla="*/ 1038 h 10672"/>
              <a:gd name="connsiteX26" fmla="*/ 4427 w 10000"/>
              <a:gd name="connsiteY26" fmla="*/ 656 h 10672"/>
              <a:gd name="connsiteX27" fmla="*/ 5540 w 10000"/>
              <a:gd name="connsiteY27" fmla="*/ 547 h 10672"/>
              <a:gd name="connsiteX28" fmla="*/ 6475 w 10000"/>
              <a:gd name="connsiteY28" fmla="*/ 597 h 10672"/>
              <a:gd name="connsiteX29" fmla="*/ 6763 w 10000"/>
              <a:gd name="connsiteY29" fmla="*/ 746 h 10672"/>
              <a:gd name="connsiteX30" fmla="*/ 6978 w 10000"/>
              <a:gd name="connsiteY30" fmla="*/ 348 h 10672"/>
              <a:gd name="connsiteX31" fmla="*/ 7410 w 10000"/>
              <a:gd name="connsiteY31" fmla="*/ 0 h 10672"/>
              <a:gd name="connsiteX32" fmla="*/ 7554 w 10000"/>
              <a:gd name="connsiteY32" fmla="*/ 249 h 10672"/>
              <a:gd name="connsiteX33" fmla="*/ 7986 w 10000"/>
              <a:gd name="connsiteY33" fmla="*/ 299 h 10672"/>
              <a:gd name="connsiteX34" fmla="*/ 8129 w 10000"/>
              <a:gd name="connsiteY34" fmla="*/ 746 h 10672"/>
              <a:gd name="connsiteX35" fmla="*/ 7626 w 10000"/>
              <a:gd name="connsiteY35" fmla="*/ 896 h 10672"/>
              <a:gd name="connsiteX36" fmla="*/ 7338 w 10000"/>
              <a:gd name="connsiteY36" fmla="*/ 1194 h 10672"/>
              <a:gd name="connsiteX37" fmla="*/ 7482 w 10000"/>
              <a:gd name="connsiteY37" fmla="*/ 1393 h 10672"/>
              <a:gd name="connsiteX38" fmla="*/ 8273 w 10000"/>
              <a:gd name="connsiteY38" fmla="*/ 1194 h 10672"/>
              <a:gd name="connsiteX39" fmla="*/ 9209 w 10000"/>
              <a:gd name="connsiteY39" fmla="*/ 1791 h 10672"/>
              <a:gd name="connsiteX40" fmla="*/ 9209 w 10000"/>
              <a:gd name="connsiteY40" fmla="*/ 2139 h 10672"/>
              <a:gd name="connsiteX41" fmla="*/ 9353 w 10000"/>
              <a:gd name="connsiteY41" fmla="*/ 3980 h 10672"/>
              <a:gd name="connsiteX42" fmla="*/ 8921 w 10000"/>
              <a:gd name="connsiteY42" fmla="*/ 4229 h 10672"/>
              <a:gd name="connsiteX43" fmla="*/ 9856 w 10000"/>
              <a:gd name="connsiteY43" fmla="*/ 4975 h 10672"/>
              <a:gd name="connsiteX44" fmla="*/ 9496 w 10000"/>
              <a:gd name="connsiteY44" fmla="*/ 5423 h 10672"/>
              <a:gd name="connsiteX45" fmla="*/ 10000 w 10000"/>
              <a:gd name="connsiteY45" fmla="*/ 8557 h 10672"/>
              <a:gd name="connsiteX46" fmla="*/ 8705 w 10000"/>
              <a:gd name="connsiteY46" fmla="*/ 8259 h 10672"/>
              <a:gd name="connsiteX47" fmla="*/ 7770 w 10000"/>
              <a:gd name="connsiteY47" fmla="*/ 8955 h 10672"/>
              <a:gd name="connsiteX48" fmla="*/ 6006 w 10000"/>
              <a:gd name="connsiteY48" fmla="*/ 9850 h 10672"/>
              <a:gd name="connsiteX49" fmla="*/ 4748 w 10000"/>
              <a:gd name="connsiteY49" fmla="*/ 10000 h 10672"/>
              <a:gd name="connsiteX0" fmla="*/ 4748 w 10000"/>
              <a:gd name="connsiteY0" fmla="*/ 10000 h 10672"/>
              <a:gd name="connsiteX1" fmla="*/ 4627 w 10000"/>
              <a:gd name="connsiteY1" fmla="*/ 10196 h 10672"/>
              <a:gd name="connsiteX2" fmla="*/ 3289 w 10000"/>
              <a:gd name="connsiteY2" fmla="*/ 10672 h 10672"/>
              <a:gd name="connsiteX3" fmla="*/ 1144 w 10000"/>
              <a:gd name="connsiteY3" fmla="*/ 10426 h 10672"/>
              <a:gd name="connsiteX4" fmla="*/ 0 w 10000"/>
              <a:gd name="connsiteY4" fmla="*/ 8856 h 10672"/>
              <a:gd name="connsiteX5" fmla="*/ 432 w 10000"/>
              <a:gd name="connsiteY5" fmla="*/ 8209 h 10672"/>
              <a:gd name="connsiteX6" fmla="*/ 0 w 10000"/>
              <a:gd name="connsiteY6" fmla="*/ 7512 h 10672"/>
              <a:gd name="connsiteX7" fmla="*/ 1163 w 10000"/>
              <a:gd name="connsiteY7" fmla="*/ 6932 h 10672"/>
              <a:gd name="connsiteX8" fmla="*/ 1439 w 10000"/>
              <a:gd name="connsiteY8" fmla="*/ 6866 h 10672"/>
              <a:gd name="connsiteX9" fmla="*/ 1367 w 10000"/>
              <a:gd name="connsiteY9" fmla="*/ 6169 h 10672"/>
              <a:gd name="connsiteX10" fmla="*/ 1921 w 10000"/>
              <a:gd name="connsiteY10" fmla="*/ 5874 h 10672"/>
              <a:gd name="connsiteX11" fmla="*/ 1816 w 10000"/>
              <a:gd name="connsiteY11" fmla="*/ 4909 h 10672"/>
              <a:gd name="connsiteX12" fmla="*/ 1727 w 10000"/>
              <a:gd name="connsiteY12" fmla="*/ 4726 h 10672"/>
              <a:gd name="connsiteX13" fmla="*/ 1583 w 10000"/>
              <a:gd name="connsiteY13" fmla="*/ 4279 h 10672"/>
              <a:gd name="connsiteX14" fmla="*/ 2374 w 10000"/>
              <a:gd name="connsiteY14" fmla="*/ 4080 h 10672"/>
              <a:gd name="connsiteX15" fmla="*/ 2854 w 10000"/>
              <a:gd name="connsiteY15" fmla="*/ 3932 h 10672"/>
              <a:gd name="connsiteX16" fmla="*/ 3251 w 10000"/>
              <a:gd name="connsiteY16" fmla="*/ 4051 h 10672"/>
              <a:gd name="connsiteX17" fmla="*/ 1002 w 10000"/>
              <a:gd name="connsiteY17" fmla="*/ 2972 h 10672"/>
              <a:gd name="connsiteX18" fmla="*/ 2014 w 10000"/>
              <a:gd name="connsiteY18" fmla="*/ 2388 h 10672"/>
              <a:gd name="connsiteX19" fmla="*/ 1599 w 10000"/>
              <a:gd name="connsiteY19" fmla="*/ 2202 h 10672"/>
              <a:gd name="connsiteX20" fmla="*/ 2086 w 10000"/>
              <a:gd name="connsiteY20" fmla="*/ 1741 h 10672"/>
              <a:gd name="connsiteX21" fmla="*/ 2446 w 10000"/>
              <a:gd name="connsiteY21" fmla="*/ 1542 h 10672"/>
              <a:gd name="connsiteX22" fmla="*/ 2734 w 10000"/>
              <a:gd name="connsiteY22" fmla="*/ 1542 h 10672"/>
              <a:gd name="connsiteX23" fmla="*/ 2878 w 10000"/>
              <a:gd name="connsiteY23" fmla="*/ 1741 h 10672"/>
              <a:gd name="connsiteX24" fmla="*/ 3201 w 10000"/>
              <a:gd name="connsiteY24" fmla="*/ 1467 h 10672"/>
              <a:gd name="connsiteX25" fmla="*/ 3618 w 10000"/>
              <a:gd name="connsiteY25" fmla="*/ 1038 h 10672"/>
              <a:gd name="connsiteX26" fmla="*/ 4427 w 10000"/>
              <a:gd name="connsiteY26" fmla="*/ 656 h 10672"/>
              <a:gd name="connsiteX27" fmla="*/ 5540 w 10000"/>
              <a:gd name="connsiteY27" fmla="*/ 547 h 10672"/>
              <a:gd name="connsiteX28" fmla="*/ 6475 w 10000"/>
              <a:gd name="connsiteY28" fmla="*/ 597 h 10672"/>
              <a:gd name="connsiteX29" fmla="*/ 6763 w 10000"/>
              <a:gd name="connsiteY29" fmla="*/ 746 h 10672"/>
              <a:gd name="connsiteX30" fmla="*/ 6978 w 10000"/>
              <a:gd name="connsiteY30" fmla="*/ 348 h 10672"/>
              <a:gd name="connsiteX31" fmla="*/ 7410 w 10000"/>
              <a:gd name="connsiteY31" fmla="*/ 0 h 10672"/>
              <a:gd name="connsiteX32" fmla="*/ 7554 w 10000"/>
              <a:gd name="connsiteY32" fmla="*/ 249 h 10672"/>
              <a:gd name="connsiteX33" fmla="*/ 7986 w 10000"/>
              <a:gd name="connsiteY33" fmla="*/ 299 h 10672"/>
              <a:gd name="connsiteX34" fmla="*/ 8129 w 10000"/>
              <a:gd name="connsiteY34" fmla="*/ 746 h 10672"/>
              <a:gd name="connsiteX35" fmla="*/ 7626 w 10000"/>
              <a:gd name="connsiteY35" fmla="*/ 896 h 10672"/>
              <a:gd name="connsiteX36" fmla="*/ 7338 w 10000"/>
              <a:gd name="connsiteY36" fmla="*/ 1194 h 10672"/>
              <a:gd name="connsiteX37" fmla="*/ 7482 w 10000"/>
              <a:gd name="connsiteY37" fmla="*/ 1393 h 10672"/>
              <a:gd name="connsiteX38" fmla="*/ 8273 w 10000"/>
              <a:gd name="connsiteY38" fmla="*/ 1194 h 10672"/>
              <a:gd name="connsiteX39" fmla="*/ 9209 w 10000"/>
              <a:gd name="connsiteY39" fmla="*/ 1791 h 10672"/>
              <a:gd name="connsiteX40" fmla="*/ 9209 w 10000"/>
              <a:gd name="connsiteY40" fmla="*/ 2139 h 10672"/>
              <a:gd name="connsiteX41" fmla="*/ 9353 w 10000"/>
              <a:gd name="connsiteY41" fmla="*/ 3980 h 10672"/>
              <a:gd name="connsiteX42" fmla="*/ 8921 w 10000"/>
              <a:gd name="connsiteY42" fmla="*/ 4229 h 10672"/>
              <a:gd name="connsiteX43" fmla="*/ 9856 w 10000"/>
              <a:gd name="connsiteY43" fmla="*/ 4975 h 10672"/>
              <a:gd name="connsiteX44" fmla="*/ 9496 w 10000"/>
              <a:gd name="connsiteY44" fmla="*/ 5423 h 10672"/>
              <a:gd name="connsiteX45" fmla="*/ 10000 w 10000"/>
              <a:gd name="connsiteY45" fmla="*/ 8557 h 10672"/>
              <a:gd name="connsiteX46" fmla="*/ 9409 w 10000"/>
              <a:gd name="connsiteY46" fmla="*/ 8603 h 10672"/>
              <a:gd name="connsiteX47" fmla="*/ 7770 w 10000"/>
              <a:gd name="connsiteY47" fmla="*/ 8955 h 10672"/>
              <a:gd name="connsiteX48" fmla="*/ 6006 w 10000"/>
              <a:gd name="connsiteY48" fmla="*/ 9850 h 10672"/>
              <a:gd name="connsiteX49" fmla="*/ 4748 w 10000"/>
              <a:gd name="connsiteY49" fmla="*/ 10000 h 10672"/>
              <a:gd name="connsiteX0" fmla="*/ 4748 w 10416"/>
              <a:gd name="connsiteY0" fmla="*/ 10000 h 10672"/>
              <a:gd name="connsiteX1" fmla="*/ 4627 w 10416"/>
              <a:gd name="connsiteY1" fmla="*/ 10196 h 10672"/>
              <a:gd name="connsiteX2" fmla="*/ 3289 w 10416"/>
              <a:gd name="connsiteY2" fmla="*/ 10672 h 10672"/>
              <a:gd name="connsiteX3" fmla="*/ 1144 w 10416"/>
              <a:gd name="connsiteY3" fmla="*/ 10426 h 10672"/>
              <a:gd name="connsiteX4" fmla="*/ 0 w 10416"/>
              <a:gd name="connsiteY4" fmla="*/ 8856 h 10672"/>
              <a:gd name="connsiteX5" fmla="*/ 432 w 10416"/>
              <a:gd name="connsiteY5" fmla="*/ 8209 h 10672"/>
              <a:gd name="connsiteX6" fmla="*/ 0 w 10416"/>
              <a:gd name="connsiteY6" fmla="*/ 7512 h 10672"/>
              <a:gd name="connsiteX7" fmla="*/ 1163 w 10416"/>
              <a:gd name="connsiteY7" fmla="*/ 6932 h 10672"/>
              <a:gd name="connsiteX8" fmla="*/ 1439 w 10416"/>
              <a:gd name="connsiteY8" fmla="*/ 6866 h 10672"/>
              <a:gd name="connsiteX9" fmla="*/ 1367 w 10416"/>
              <a:gd name="connsiteY9" fmla="*/ 6169 h 10672"/>
              <a:gd name="connsiteX10" fmla="*/ 1921 w 10416"/>
              <a:gd name="connsiteY10" fmla="*/ 5874 h 10672"/>
              <a:gd name="connsiteX11" fmla="*/ 1816 w 10416"/>
              <a:gd name="connsiteY11" fmla="*/ 4909 h 10672"/>
              <a:gd name="connsiteX12" fmla="*/ 1727 w 10416"/>
              <a:gd name="connsiteY12" fmla="*/ 4726 h 10672"/>
              <a:gd name="connsiteX13" fmla="*/ 1583 w 10416"/>
              <a:gd name="connsiteY13" fmla="*/ 4279 h 10672"/>
              <a:gd name="connsiteX14" fmla="*/ 2374 w 10416"/>
              <a:gd name="connsiteY14" fmla="*/ 4080 h 10672"/>
              <a:gd name="connsiteX15" fmla="*/ 2854 w 10416"/>
              <a:gd name="connsiteY15" fmla="*/ 3932 h 10672"/>
              <a:gd name="connsiteX16" fmla="*/ 3251 w 10416"/>
              <a:gd name="connsiteY16" fmla="*/ 4051 h 10672"/>
              <a:gd name="connsiteX17" fmla="*/ 1002 w 10416"/>
              <a:gd name="connsiteY17" fmla="*/ 2972 h 10672"/>
              <a:gd name="connsiteX18" fmla="*/ 2014 w 10416"/>
              <a:gd name="connsiteY18" fmla="*/ 2388 h 10672"/>
              <a:gd name="connsiteX19" fmla="*/ 1599 w 10416"/>
              <a:gd name="connsiteY19" fmla="*/ 2202 h 10672"/>
              <a:gd name="connsiteX20" fmla="*/ 2086 w 10416"/>
              <a:gd name="connsiteY20" fmla="*/ 1741 h 10672"/>
              <a:gd name="connsiteX21" fmla="*/ 2446 w 10416"/>
              <a:gd name="connsiteY21" fmla="*/ 1542 h 10672"/>
              <a:gd name="connsiteX22" fmla="*/ 2734 w 10416"/>
              <a:gd name="connsiteY22" fmla="*/ 1542 h 10672"/>
              <a:gd name="connsiteX23" fmla="*/ 2878 w 10416"/>
              <a:gd name="connsiteY23" fmla="*/ 1741 h 10672"/>
              <a:gd name="connsiteX24" fmla="*/ 3201 w 10416"/>
              <a:gd name="connsiteY24" fmla="*/ 1467 h 10672"/>
              <a:gd name="connsiteX25" fmla="*/ 3618 w 10416"/>
              <a:gd name="connsiteY25" fmla="*/ 1038 h 10672"/>
              <a:gd name="connsiteX26" fmla="*/ 4427 w 10416"/>
              <a:gd name="connsiteY26" fmla="*/ 656 h 10672"/>
              <a:gd name="connsiteX27" fmla="*/ 5540 w 10416"/>
              <a:gd name="connsiteY27" fmla="*/ 547 h 10672"/>
              <a:gd name="connsiteX28" fmla="*/ 6475 w 10416"/>
              <a:gd name="connsiteY28" fmla="*/ 597 h 10672"/>
              <a:gd name="connsiteX29" fmla="*/ 6763 w 10416"/>
              <a:gd name="connsiteY29" fmla="*/ 746 h 10672"/>
              <a:gd name="connsiteX30" fmla="*/ 6978 w 10416"/>
              <a:gd name="connsiteY30" fmla="*/ 348 h 10672"/>
              <a:gd name="connsiteX31" fmla="*/ 7410 w 10416"/>
              <a:gd name="connsiteY31" fmla="*/ 0 h 10672"/>
              <a:gd name="connsiteX32" fmla="*/ 7554 w 10416"/>
              <a:gd name="connsiteY32" fmla="*/ 249 h 10672"/>
              <a:gd name="connsiteX33" fmla="*/ 7986 w 10416"/>
              <a:gd name="connsiteY33" fmla="*/ 299 h 10672"/>
              <a:gd name="connsiteX34" fmla="*/ 8129 w 10416"/>
              <a:gd name="connsiteY34" fmla="*/ 746 h 10672"/>
              <a:gd name="connsiteX35" fmla="*/ 7626 w 10416"/>
              <a:gd name="connsiteY35" fmla="*/ 896 h 10672"/>
              <a:gd name="connsiteX36" fmla="*/ 7338 w 10416"/>
              <a:gd name="connsiteY36" fmla="*/ 1194 h 10672"/>
              <a:gd name="connsiteX37" fmla="*/ 7482 w 10416"/>
              <a:gd name="connsiteY37" fmla="*/ 1393 h 10672"/>
              <a:gd name="connsiteX38" fmla="*/ 8273 w 10416"/>
              <a:gd name="connsiteY38" fmla="*/ 1194 h 10672"/>
              <a:gd name="connsiteX39" fmla="*/ 9209 w 10416"/>
              <a:gd name="connsiteY39" fmla="*/ 1791 h 10672"/>
              <a:gd name="connsiteX40" fmla="*/ 9209 w 10416"/>
              <a:gd name="connsiteY40" fmla="*/ 2139 h 10672"/>
              <a:gd name="connsiteX41" fmla="*/ 9353 w 10416"/>
              <a:gd name="connsiteY41" fmla="*/ 3980 h 10672"/>
              <a:gd name="connsiteX42" fmla="*/ 8921 w 10416"/>
              <a:gd name="connsiteY42" fmla="*/ 4229 h 10672"/>
              <a:gd name="connsiteX43" fmla="*/ 9856 w 10416"/>
              <a:gd name="connsiteY43" fmla="*/ 4975 h 10672"/>
              <a:gd name="connsiteX44" fmla="*/ 10416 w 10416"/>
              <a:gd name="connsiteY44" fmla="*/ 7515 h 10672"/>
              <a:gd name="connsiteX45" fmla="*/ 10000 w 10416"/>
              <a:gd name="connsiteY45" fmla="*/ 8557 h 10672"/>
              <a:gd name="connsiteX46" fmla="*/ 9409 w 10416"/>
              <a:gd name="connsiteY46" fmla="*/ 8603 h 10672"/>
              <a:gd name="connsiteX47" fmla="*/ 7770 w 10416"/>
              <a:gd name="connsiteY47" fmla="*/ 8955 h 10672"/>
              <a:gd name="connsiteX48" fmla="*/ 6006 w 10416"/>
              <a:gd name="connsiteY48" fmla="*/ 9850 h 10672"/>
              <a:gd name="connsiteX49" fmla="*/ 4748 w 10416"/>
              <a:gd name="connsiteY49" fmla="*/ 10000 h 10672"/>
              <a:gd name="connsiteX0" fmla="*/ 4748 w 10416"/>
              <a:gd name="connsiteY0" fmla="*/ 10000 h 10672"/>
              <a:gd name="connsiteX1" fmla="*/ 4627 w 10416"/>
              <a:gd name="connsiteY1" fmla="*/ 10196 h 10672"/>
              <a:gd name="connsiteX2" fmla="*/ 3289 w 10416"/>
              <a:gd name="connsiteY2" fmla="*/ 10672 h 10672"/>
              <a:gd name="connsiteX3" fmla="*/ 1144 w 10416"/>
              <a:gd name="connsiteY3" fmla="*/ 10426 h 10672"/>
              <a:gd name="connsiteX4" fmla="*/ 0 w 10416"/>
              <a:gd name="connsiteY4" fmla="*/ 8856 h 10672"/>
              <a:gd name="connsiteX5" fmla="*/ 432 w 10416"/>
              <a:gd name="connsiteY5" fmla="*/ 8209 h 10672"/>
              <a:gd name="connsiteX6" fmla="*/ 0 w 10416"/>
              <a:gd name="connsiteY6" fmla="*/ 7512 h 10672"/>
              <a:gd name="connsiteX7" fmla="*/ 1163 w 10416"/>
              <a:gd name="connsiteY7" fmla="*/ 6932 h 10672"/>
              <a:gd name="connsiteX8" fmla="*/ 1439 w 10416"/>
              <a:gd name="connsiteY8" fmla="*/ 6866 h 10672"/>
              <a:gd name="connsiteX9" fmla="*/ 1367 w 10416"/>
              <a:gd name="connsiteY9" fmla="*/ 6169 h 10672"/>
              <a:gd name="connsiteX10" fmla="*/ 1921 w 10416"/>
              <a:gd name="connsiteY10" fmla="*/ 5874 h 10672"/>
              <a:gd name="connsiteX11" fmla="*/ 1816 w 10416"/>
              <a:gd name="connsiteY11" fmla="*/ 4909 h 10672"/>
              <a:gd name="connsiteX12" fmla="*/ 1727 w 10416"/>
              <a:gd name="connsiteY12" fmla="*/ 4726 h 10672"/>
              <a:gd name="connsiteX13" fmla="*/ 1583 w 10416"/>
              <a:gd name="connsiteY13" fmla="*/ 4279 h 10672"/>
              <a:gd name="connsiteX14" fmla="*/ 2374 w 10416"/>
              <a:gd name="connsiteY14" fmla="*/ 4080 h 10672"/>
              <a:gd name="connsiteX15" fmla="*/ 2854 w 10416"/>
              <a:gd name="connsiteY15" fmla="*/ 3932 h 10672"/>
              <a:gd name="connsiteX16" fmla="*/ 3251 w 10416"/>
              <a:gd name="connsiteY16" fmla="*/ 4051 h 10672"/>
              <a:gd name="connsiteX17" fmla="*/ 1002 w 10416"/>
              <a:gd name="connsiteY17" fmla="*/ 2972 h 10672"/>
              <a:gd name="connsiteX18" fmla="*/ 2014 w 10416"/>
              <a:gd name="connsiteY18" fmla="*/ 2388 h 10672"/>
              <a:gd name="connsiteX19" fmla="*/ 1599 w 10416"/>
              <a:gd name="connsiteY19" fmla="*/ 2202 h 10672"/>
              <a:gd name="connsiteX20" fmla="*/ 2086 w 10416"/>
              <a:gd name="connsiteY20" fmla="*/ 1741 h 10672"/>
              <a:gd name="connsiteX21" fmla="*/ 2446 w 10416"/>
              <a:gd name="connsiteY21" fmla="*/ 1542 h 10672"/>
              <a:gd name="connsiteX22" fmla="*/ 2734 w 10416"/>
              <a:gd name="connsiteY22" fmla="*/ 1542 h 10672"/>
              <a:gd name="connsiteX23" fmla="*/ 2878 w 10416"/>
              <a:gd name="connsiteY23" fmla="*/ 1741 h 10672"/>
              <a:gd name="connsiteX24" fmla="*/ 3201 w 10416"/>
              <a:gd name="connsiteY24" fmla="*/ 1467 h 10672"/>
              <a:gd name="connsiteX25" fmla="*/ 3618 w 10416"/>
              <a:gd name="connsiteY25" fmla="*/ 1038 h 10672"/>
              <a:gd name="connsiteX26" fmla="*/ 4427 w 10416"/>
              <a:gd name="connsiteY26" fmla="*/ 656 h 10672"/>
              <a:gd name="connsiteX27" fmla="*/ 5540 w 10416"/>
              <a:gd name="connsiteY27" fmla="*/ 547 h 10672"/>
              <a:gd name="connsiteX28" fmla="*/ 6475 w 10416"/>
              <a:gd name="connsiteY28" fmla="*/ 597 h 10672"/>
              <a:gd name="connsiteX29" fmla="*/ 6763 w 10416"/>
              <a:gd name="connsiteY29" fmla="*/ 746 h 10672"/>
              <a:gd name="connsiteX30" fmla="*/ 6978 w 10416"/>
              <a:gd name="connsiteY30" fmla="*/ 348 h 10672"/>
              <a:gd name="connsiteX31" fmla="*/ 7410 w 10416"/>
              <a:gd name="connsiteY31" fmla="*/ 0 h 10672"/>
              <a:gd name="connsiteX32" fmla="*/ 7554 w 10416"/>
              <a:gd name="connsiteY32" fmla="*/ 249 h 10672"/>
              <a:gd name="connsiteX33" fmla="*/ 7986 w 10416"/>
              <a:gd name="connsiteY33" fmla="*/ 299 h 10672"/>
              <a:gd name="connsiteX34" fmla="*/ 8129 w 10416"/>
              <a:gd name="connsiteY34" fmla="*/ 746 h 10672"/>
              <a:gd name="connsiteX35" fmla="*/ 7626 w 10416"/>
              <a:gd name="connsiteY35" fmla="*/ 896 h 10672"/>
              <a:gd name="connsiteX36" fmla="*/ 7338 w 10416"/>
              <a:gd name="connsiteY36" fmla="*/ 1194 h 10672"/>
              <a:gd name="connsiteX37" fmla="*/ 7482 w 10416"/>
              <a:gd name="connsiteY37" fmla="*/ 1393 h 10672"/>
              <a:gd name="connsiteX38" fmla="*/ 8273 w 10416"/>
              <a:gd name="connsiteY38" fmla="*/ 1194 h 10672"/>
              <a:gd name="connsiteX39" fmla="*/ 9209 w 10416"/>
              <a:gd name="connsiteY39" fmla="*/ 1791 h 10672"/>
              <a:gd name="connsiteX40" fmla="*/ 9209 w 10416"/>
              <a:gd name="connsiteY40" fmla="*/ 2139 h 10672"/>
              <a:gd name="connsiteX41" fmla="*/ 9353 w 10416"/>
              <a:gd name="connsiteY41" fmla="*/ 3980 h 10672"/>
              <a:gd name="connsiteX42" fmla="*/ 8921 w 10416"/>
              <a:gd name="connsiteY42" fmla="*/ 4229 h 10672"/>
              <a:gd name="connsiteX43" fmla="*/ 9740 w 10416"/>
              <a:gd name="connsiteY43" fmla="*/ 5891 h 10672"/>
              <a:gd name="connsiteX44" fmla="*/ 10416 w 10416"/>
              <a:gd name="connsiteY44" fmla="*/ 7515 h 10672"/>
              <a:gd name="connsiteX45" fmla="*/ 10000 w 10416"/>
              <a:gd name="connsiteY45" fmla="*/ 8557 h 10672"/>
              <a:gd name="connsiteX46" fmla="*/ 9409 w 10416"/>
              <a:gd name="connsiteY46" fmla="*/ 8603 h 10672"/>
              <a:gd name="connsiteX47" fmla="*/ 7770 w 10416"/>
              <a:gd name="connsiteY47" fmla="*/ 8955 h 10672"/>
              <a:gd name="connsiteX48" fmla="*/ 6006 w 10416"/>
              <a:gd name="connsiteY48" fmla="*/ 9850 h 10672"/>
              <a:gd name="connsiteX49" fmla="*/ 4748 w 10416"/>
              <a:gd name="connsiteY49" fmla="*/ 10000 h 10672"/>
              <a:gd name="connsiteX0" fmla="*/ 4748 w 10815"/>
              <a:gd name="connsiteY0" fmla="*/ 10000 h 10672"/>
              <a:gd name="connsiteX1" fmla="*/ 4627 w 10815"/>
              <a:gd name="connsiteY1" fmla="*/ 10196 h 10672"/>
              <a:gd name="connsiteX2" fmla="*/ 3289 w 10815"/>
              <a:gd name="connsiteY2" fmla="*/ 10672 h 10672"/>
              <a:gd name="connsiteX3" fmla="*/ 1144 w 10815"/>
              <a:gd name="connsiteY3" fmla="*/ 10426 h 10672"/>
              <a:gd name="connsiteX4" fmla="*/ 0 w 10815"/>
              <a:gd name="connsiteY4" fmla="*/ 8856 h 10672"/>
              <a:gd name="connsiteX5" fmla="*/ 432 w 10815"/>
              <a:gd name="connsiteY5" fmla="*/ 8209 h 10672"/>
              <a:gd name="connsiteX6" fmla="*/ 0 w 10815"/>
              <a:gd name="connsiteY6" fmla="*/ 7512 h 10672"/>
              <a:gd name="connsiteX7" fmla="*/ 1163 w 10815"/>
              <a:gd name="connsiteY7" fmla="*/ 6932 h 10672"/>
              <a:gd name="connsiteX8" fmla="*/ 1439 w 10815"/>
              <a:gd name="connsiteY8" fmla="*/ 6866 h 10672"/>
              <a:gd name="connsiteX9" fmla="*/ 1367 w 10815"/>
              <a:gd name="connsiteY9" fmla="*/ 6169 h 10672"/>
              <a:gd name="connsiteX10" fmla="*/ 1921 w 10815"/>
              <a:gd name="connsiteY10" fmla="*/ 5874 h 10672"/>
              <a:gd name="connsiteX11" fmla="*/ 1816 w 10815"/>
              <a:gd name="connsiteY11" fmla="*/ 4909 h 10672"/>
              <a:gd name="connsiteX12" fmla="*/ 1727 w 10815"/>
              <a:gd name="connsiteY12" fmla="*/ 4726 h 10672"/>
              <a:gd name="connsiteX13" fmla="*/ 1583 w 10815"/>
              <a:gd name="connsiteY13" fmla="*/ 4279 h 10672"/>
              <a:gd name="connsiteX14" fmla="*/ 2374 w 10815"/>
              <a:gd name="connsiteY14" fmla="*/ 4080 h 10672"/>
              <a:gd name="connsiteX15" fmla="*/ 2854 w 10815"/>
              <a:gd name="connsiteY15" fmla="*/ 3932 h 10672"/>
              <a:gd name="connsiteX16" fmla="*/ 3251 w 10815"/>
              <a:gd name="connsiteY16" fmla="*/ 4051 h 10672"/>
              <a:gd name="connsiteX17" fmla="*/ 1002 w 10815"/>
              <a:gd name="connsiteY17" fmla="*/ 2972 h 10672"/>
              <a:gd name="connsiteX18" fmla="*/ 2014 w 10815"/>
              <a:gd name="connsiteY18" fmla="*/ 2388 h 10672"/>
              <a:gd name="connsiteX19" fmla="*/ 1599 w 10815"/>
              <a:gd name="connsiteY19" fmla="*/ 2202 h 10672"/>
              <a:gd name="connsiteX20" fmla="*/ 2086 w 10815"/>
              <a:gd name="connsiteY20" fmla="*/ 1741 h 10672"/>
              <a:gd name="connsiteX21" fmla="*/ 2446 w 10815"/>
              <a:gd name="connsiteY21" fmla="*/ 1542 h 10672"/>
              <a:gd name="connsiteX22" fmla="*/ 2734 w 10815"/>
              <a:gd name="connsiteY22" fmla="*/ 1542 h 10672"/>
              <a:gd name="connsiteX23" fmla="*/ 2878 w 10815"/>
              <a:gd name="connsiteY23" fmla="*/ 1741 h 10672"/>
              <a:gd name="connsiteX24" fmla="*/ 3201 w 10815"/>
              <a:gd name="connsiteY24" fmla="*/ 1467 h 10672"/>
              <a:gd name="connsiteX25" fmla="*/ 3618 w 10815"/>
              <a:gd name="connsiteY25" fmla="*/ 1038 h 10672"/>
              <a:gd name="connsiteX26" fmla="*/ 4427 w 10815"/>
              <a:gd name="connsiteY26" fmla="*/ 656 h 10672"/>
              <a:gd name="connsiteX27" fmla="*/ 5540 w 10815"/>
              <a:gd name="connsiteY27" fmla="*/ 547 h 10672"/>
              <a:gd name="connsiteX28" fmla="*/ 6475 w 10815"/>
              <a:gd name="connsiteY28" fmla="*/ 597 h 10672"/>
              <a:gd name="connsiteX29" fmla="*/ 6763 w 10815"/>
              <a:gd name="connsiteY29" fmla="*/ 746 h 10672"/>
              <a:gd name="connsiteX30" fmla="*/ 6978 w 10815"/>
              <a:gd name="connsiteY30" fmla="*/ 348 h 10672"/>
              <a:gd name="connsiteX31" fmla="*/ 7410 w 10815"/>
              <a:gd name="connsiteY31" fmla="*/ 0 h 10672"/>
              <a:gd name="connsiteX32" fmla="*/ 7554 w 10815"/>
              <a:gd name="connsiteY32" fmla="*/ 249 h 10672"/>
              <a:gd name="connsiteX33" fmla="*/ 7986 w 10815"/>
              <a:gd name="connsiteY33" fmla="*/ 299 h 10672"/>
              <a:gd name="connsiteX34" fmla="*/ 8129 w 10815"/>
              <a:gd name="connsiteY34" fmla="*/ 746 h 10672"/>
              <a:gd name="connsiteX35" fmla="*/ 7626 w 10815"/>
              <a:gd name="connsiteY35" fmla="*/ 896 h 10672"/>
              <a:gd name="connsiteX36" fmla="*/ 7338 w 10815"/>
              <a:gd name="connsiteY36" fmla="*/ 1194 h 10672"/>
              <a:gd name="connsiteX37" fmla="*/ 7482 w 10815"/>
              <a:gd name="connsiteY37" fmla="*/ 1393 h 10672"/>
              <a:gd name="connsiteX38" fmla="*/ 8273 w 10815"/>
              <a:gd name="connsiteY38" fmla="*/ 1194 h 10672"/>
              <a:gd name="connsiteX39" fmla="*/ 9209 w 10815"/>
              <a:gd name="connsiteY39" fmla="*/ 1791 h 10672"/>
              <a:gd name="connsiteX40" fmla="*/ 9209 w 10815"/>
              <a:gd name="connsiteY40" fmla="*/ 2139 h 10672"/>
              <a:gd name="connsiteX41" fmla="*/ 9353 w 10815"/>
              <a:gd name="connsiteY41" fmla="*/ 3980 h 10672"/>
              <a:gd name="connsiteX42" fmla="*/ 8921 w 10815"/>
              <a:gd name="connsiteY42" fmla="*/ 4229 h 10672"/>
              <a:gd name="connsiteX43" fmla="*/ 9740 w 10815"/>
              <a:gd name="connsiteY43" fmla="*/ 5891 h 10672"/>
              <a:gd name="connsiteX44" fmla="*/ 10815 w 10815"/>
              <a:gd name="connsiteY44" fmla="*/ 7477 h 10672"/>
              <a:gd name="connsiteX45" fmla="*/ 10000 w 10815"/>
              <a:gd name="connsiteY45" fmla="*/ 8557 h 10672"/>
              <a:gd name="connsiteX46" fmla="*/ 9409 w 10815"/>
              <a:gd name="connsiteY46" fmla="*/ 8603 h 10672"/>
              <a:gd name="connsiteX47" fmla="*/ 7770 w 10815"/>
              <a:gd name="connsiteY47" fmla="*/ 8955 h 10672"/>
              <a:gd name="connsiteX48" fmla="*/ 6006 w 10815"/>
              <a:gd name="connsiteY48" fmla="*/ 9850 h 10672"/>
              <a:gd name="connsiteX49" fmla="*/ 4748 w 10815"/>
              <a:gd name="connsiteY49" fmla="*/ 10000 h 10672"/>
              <a:gd name="connsiteX0" fmla="*/ 4748 w 10815"/>
              <a:gd name="connsiteY0" fmla="*/ 10000 h 10672"/>
              <a:gd name="connsiteX1" fmla="*/ 4627 w 10815"/>
              <a:gd name="connsiteY1" fmla="*/ 10196 h 10672"/>
              <a:gd name="connsiteX2" fmla="*/ 3289 w 10815"/>
              <a:gd name="connsiteY2" fmla="*/ 10672 h 10672"/>
              <a:gd name="connsiteX3" fmla="*/ 1144 w 10815"/>
              <a:gd name="connsiteY3" fmla="*/ 10426 h 10672"/>
              <a:gd name="connsiteX4" fmla="*/ 0 w 10815"/>
              <a:gd name="connsiteY4" fmla="*/ 8856 h 10672"/>
              <a:gd name="connsiteX5" fmla="*/ 432 w 10815"/>
              <a:gd name="connsiteY5" fmla="*/ 8209 h 10672"/>
              <a:gd name="connsiteX6" fmla="*/ 0 w 10815"/>
              <a:gd name="connsiteY6" fmla="*/ 7512 h 10672"/>
              <a:gd name="connsiteX7" fmla="*/ 1163 w 10815"/>
              <a:gd name="connsiteY7" fmla="*/ 6932 h 10672"/>
              <a:gd name="connsiteX8" fmla="*/ 1439 w 10815"/>
              <a:gd name="connsiteY8" fmla="*/ 6866 h 10672"/>
              <a:gd name="connsiteX9" fmla="*/ 1367 w 10815"/>
              <a:gd name="connsiteY9" fmla="*/ 6169 h 10672"/>
              <a:gd name="connsiteX10" fmla="*/ 1921 w 10815"/>
              <a:gd name="connsiteY10" fmla="*/ 5874 h 10672"/>
              <a:gd name="connsiteX11" fmla="*/ 1816 w 10815"/>
              <a:gd name="connsiteY11" fmla="*/ 4909 h 10672"/>
              <a:gd name="connsiteX12" fmla="*/ 1727 w 10815"/>
              <a:gd name="connsiteY12" fmla="*/ 4726 h 10672"/>
              <a:gd name="connsiteX13" fmla="*/ 1583 w 10815"/>
              <a:gd name="connsiteY13" fmla="*/ 4279 h 10672"/>
              <a:gd name="connsiteX14" fmla="*/ 2374 w 10815"/>
              <a:gd name="connsiteY14" fmla="*/ 4080 h 10672"/>
              <a:gd name="connsiteX15" fmla="*/ 2854 w 10815"/>
              <a:gd name="connsiteY15" fmla="*/ 3932 h 10672"/>
              <a:gd name="connsiteX16" fmla="*/ 3251 w 10815"/>
              <a:gd name="connsiteY16" fmla="*/ 4051 h 10672"/>
              <a:gd name="connsiteX17" fmla="*/ 1002 w 10815"/>
              <a:gd name="connsiteY17" fmla="*/ 2972 h 10672"/>
              <a:gd name="connsiteX18" fmla="*/ 2014 w 10815"/>
              <a:gd name="connsiteY18" fmla="*/ 2388 h 10672"/>
              <a:gd name="connsiteX19" fmla="*/ 1599 w 10815"/>
              <a:gd name="connsiteY19" fmla="*/ 2202 h 10672"/>
              <a:gd name="connsiteX20" fmla="*/ 2086 w 10815"/>
              <a:gd name="connsiteY20" fmla="*/ 1741 h 10672"/>
              <a:gd name="connsiteX21" fmla="*/ 2446 w 10815"/>
              <a:gd name="connsiteY21" fmla="*/ 1542 h 10672"/>
              <a:gd name="connsiteX22" fmla="*/ 2734 w 10815"/>
              <a:gd name="connsiteY22" fmla="*/ 1542 h 10672"/>
              <a:gd name="connsiteX23" fmla="*/ 2878 w 10815"/>
              <a:gd name="connsiteY23" fmla="*/ 1741 h 10672"/>
              <a:gd name="connsiteX24" fmla="*/ 3201 w 10815"/>
              <a:gd name="connsiteY24" fmla="*/ 1467 h 10672"/>
              <a:gd name="connsiteX25" fmla="*/ 3618 w 10815"/>
              <a:gd name="connsiteY25" fmla="*/ 1038 h 10672"/>
              <a:gd name="connsiteX26" fmla="*/ 4427 w 10815"/>
              <a:gd name="connsiteY26" fmla="*/ 656 h 10672"/>
              <a:gd name="connsiteX27" fmla="*/ 5540 w 10815"/>
              <a:gd name="connsiteY27" fmla="*/ 547 h 10672"/>
              <a:gd name="connsiteX28" fmla="*/ 6475 w 10815"/>
              <a:gd name="connsiteY28" fmla="*/ 597 h 10672"/>
              <a:gd name="connsiteX29" fmla="*/ 6763 w 10815"/>
              <a:gd name="connsiteY29" fmla="*/ 746 h 10672"/>
              <a:gd name="connsiteX30" fmla="*/ 6978 w 10815"/>
              <a:gd name="connsiteY30" fmla="*/ 348 h 10672"/>
              <a:gd name="connsiteX31" fmla="*/ 7410 w 10815"/>
              <a:gd name="connsiteY31" fmla="*/ 0 h 10672"/>
              <a:gd name="connsiteX32" fmla="*/ 7554 w 10815"/>
              <a:gd name="connsiteY32" fmla="*/ 249 h 10672"/>
              <a:gd name="connsiteX33" fmla="*/ 7986 w 10815"/>
              <a:gd name="connsiteY33" fmla="*/ 299 h 10672"/>
              <a:gd name="connsiteX34" fmla="*/ 8129 w 10815"/>
              <a:gd name="connsiteY34" fmla="*/ 746 h 10672"/>
              <a:gd name="connsiteX35" fmla="*/ 7626 w 10815"/>
              <a:gd name="connsiteY35" fmla="*/ 896 h 10672"/>
              <a:gd name="connsiteX36" fmla="*/ 7338 w 10815"/>
              <a:gd name="connsiteY36" fmla="*/ 1194 h 10672"/>
              <a:gd name="connsiteX37" fmla="*/ 7482 w 10815"/>
              <a:gd name="connsiteY37" fmla="*/ 1393 h 10672"/>
              <a:gd name="connsiteX38" fmla="*/ 8273 w 10815"/>
              <a:gd name="connsiteY38" fmla="*/ 1194 h 10672"/>
              <a:gd name="connsiteX39" fmla="*/ 9209 w 10815"/>
              <a:gd name="connsiteY39" fmla="*/ 1791 h 10672"/>
              <a:gd name="connsiteX40" fmla="*/ 9209 w 10815"/>
              <a:gd name="connsiteY40" fmla="*/ 2139 h 10672"/>
              <a:gd name="connsiteX41" fmla="*/ 9353 w 10815"/>
              <a:gd name="connsiteY41" fmla="*/ 3980 h 10672"/>
              <a:gd name="connsiteX42" fmla="*/ 9446 w 10815"/>
              <a:gd name="connsiteY42" fmla="*/ 4549 h 10672"/>
              <a:gd name="connsiteX43" fmla="*/ 9740 w 10815"/>
              <a:gd name="connsiteY43" fmla="*/ 5891 h 10672"/>
              <a:gd name="connsiteX44" fmla="*/ 10815 w 10815"/>
              <a:gd name="connsiteY44" fmla="*/ 7477 h 10672"/>
              <a:gd name="connsiteX45" fmla="*/ 10000 w 10815"/>
              <a:gd name="connsiteY45" fmla="*/ 8557 h 10672"/>
              <a:gd name="connsiteX46" fmla="*/ 9409 w 10815"/>
              <a:gd name="connsiteY46" fmla="*/ 8603 h 10672"/>
              <a:gd name="connsiteX47" fmla="*/ 7770 w 10815"/>
              <a:gd name="connsiteY47" fmla="*/ 8955 h 10672"/>
              <a:gd name="connsiteX48" fmla="*/ 6006 w 10815"/>
              <a:gd name="connsiteY48" fmla="*/ 9850 h 10672"/>
              <a:gd name="connsiteX49" fmla="*/ 4748 w 10815"/>
              <a:gd name="connsiteY49" fmla="*/ 10000 h 10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0815" h="10672">
                <a:moveTo>
                  <a:pt x="4748" y="10000"/>
                </a:moveTo>
                <a:lnTo>
                  <a:pt x="4627" y="10196"/>
                </a:lnTo>
                <a:lnTo>
                  <a:pt x="3289" y="10672"/>
                </a:lnTo>
                <a:lnTo>
                  <a:pt x="1144" y="10426"/>
                </a:lnTo>
                <a:lnTo>
                  <a:pt x="0" y="8856"/>
                </a:lnTo>
                <a:lnTo>
                  <a:pt x="432" y="8209"/>
                </a:lnTo>
                <a:lnTo>
                  <a:pt x="0" y="7512"/>
                </a:lnTo>
                <a:cubicBezTo>
                  <a:pt x="450" y="7340"/>
                  <a:pt x="713" y="7104"/>
                  <a:pt x="1163" y="6932"/>
                </a:cubicBezTo>
                <a:lnTo>
                  <a:pt x="1439" y="6866"/>
                </a:lnTo>
                <a:cubicBezTo>
                  <a:pt x="1415" y="6634"/>
                  <a:pt x="1391" y="6401"/>
                  <a:pt x="1367" y="6169"/>
                </a:cubicBezTo>
                <a:lnTo>
                  <a:pt x="1921" y="5874"/>
                </a:lnTo>
                <a:lnTo>
                  <a:pt x="1816" y="4909"/>
                </a:lnTo>
                <a:cubicBezTo>
                  <a:pt x="1786" y="4848"/>
                  <a:pt x="1757" y="4787"/>
                  <a:pt x="1727" y="4726"/>
                </a:cubicBezTo>
                <a:lnTo>
                  <a:pt x="1583" y="4279"/>
                </a:lnTo>
                <a:lnTo>
                  <a:pt x="2374" y="4080"/>
                </a:lnTo>
                <a:lnTo>
                  <a:pt x="2854" y="3932"/>
                </a:lnTo>
                <a:lnTo>
                  <a:pt x="3251" y="4051"/>
                </a:lnTo>
                <a:lnTo>
                  <a:pt x="1002" y="2972"/>
                </a:lnTo>
                <a:lnTo>
                  <a:pt x="2014" y="2388"/>
                </a:lnTo>
                <a:cubicBezTo>
                  <a:pt x="2132" y="2258"/>
                  <a:pt x="1587" y="2310"/>
                  <a:pt x="1599" y="2202"/>
                </a:cubicBezTo>
                <a:cubicBezTo>
                  <a:pt x="1611" y="2094"/>
                  <a:pt x="2013" y="1852"/>
                  <a:pt x="2086" y="1741"/>
                </a:cubicBezTo>
                <a:lnTo>
                  <a:pt x="2446" y="1542"/>
                </a:lnTo>
                <a:lnTo>
                  <a:pt x="2734" y="1542"/>
                </a:lnTo>
                <a:lnTo>
                  <a:pt x="2878" y="1741"/>
                </a:lnTo>
                <a:lnTo>
                  <a:pt x="3201" y="1467"/>
                </a:lnTo>
                <a:cubicBezTo>
                  <a:pt x="3232" y="1266"/>
                  <a:pt x="3587" y="1239"/>
                  <a:pt x="3618" y="1038"/>
                </a:cubicBezTo>
                <a:lnTo>
                  <a:pt x="4427" y="656"/>
                </a:lnTo>
                <a:lnTo>
                  <a:pt x="5540" y="547"/>
                </a:lnTo>
                <a:lnTo>
                  <a:pt x="6475" y="597"/>
                </a:lnTo>
                <a:lnTo>
                  <a:pt x="6763" y="746"/>
                </a:lnTo>
                <a:lnTo>
                  <a:pt x="6978" y="348"/>
                </a:lnTo>
                <a:lnTo>
                  <a:pt x="7410" y="0"/>
                </a:lnTo>
                <a:lnTo>
                  <a:pt x="7554" y="249"/>
                </a:lnTo>
                <a:lnTo>
                  <a:pt x="7986" y="299"/>
                </a:lnTo>
                <a:cubicBezTo>
                  <a:pt x="8034" y="448"/>
                  <a:pt x="8081" y="597"/>
                  <a:pt x="8129" y="746"/>
                </a:cubicBezTo>
                <a:lnTo>
                  <a:pt x="7626" y="896"/>
                </a:lnTo>
                <a:lnTo>
                  <a:pt x="7338" y="1194"/>
                </a:lnTo>
                <a:lnTo>
                  <a:pt x="7482" y="1393"/>
                </a:lnTo>
                <a:lnTo>
                  <a:pt x="8273" y="1194"/>
                </a:lnTo>
                <a:lnTo>
                  <a:pt x="9209" y="1791"/>
                </a:lnTo>
                <a:lnTo>
                  <a:pt x="9209" y="2139"/>
                </a:lnTo>
                <a:lnTo>
                  <a:pt x="9353" y="3980"/>
                </a:lnTo>
                <a:cubicBezTo>
                  <a:pt x="9384" y="4170"/>
                  <a:pt x="9415" y="4359"/>
                  <a:pt x="9446" y="4549"/>
                </a:cubicBezTo>
                <a:lnTo>
                  <a:pt x="9740" y="5891"/>
                </a:lnTo>
                <a:lnTo>
                  <a:pt x="10815" y="7477"/>
                </a:lnTo>
                <a:lnTo>
                  <a:pt x="10000" y="8557"/>
                </a:lnTo>
                <a:lnTo>
                  <a:pt x="9409" y="8603"/>
                </a:lnTo>
                <a:lnTo>
                  <a:pt x="7770" y="8955"/>
                </a:lnTo>
                <a:lnTo>
                  <a:pt x="6006" y="9850"/>
                </a:lnTo>
                <a:lnTo>
                  <a:pt x="4748" y="10000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49" name="EN"/>
          <p:cNvSpPr>
            <a:spLocks/>
          </p:cNvSpPr>
          <p:nvPr/>
        </p:nvSpPr>
        <p:spPr bwMode="auto">
          <a:xfrm rot="1238930">
            <a:off x="5492750" y="3975100"/>
            <a:ext cx="374650" cy="336550"/>
          </a:xfrm>
          <a:custGeom>
            <a:avLst/>
            <a:gdLst>
              <a:gd name="T0" fmla="*/ 2147483647 w 101"/>
              <a:gd name="T1" fmla="*/ 2147483647 h 92"/>
              <a:gd name="T2" fmla="*/ 2147483647 w 101"/>
              <a:gd name="T3" fmla="*/ 2147483647 h 92"/>
              <a:gd name="T4" fmla="*/ 2147483647 w 101"/>
              <a:gd name="T5" fmla="*/ 2147483647 h 92"/>
              <a:gd name="T6" fmla="*/ 2147483647 w 101"/>
              <a:gd name="T7" fmla="*/ 2147483647 h 92"/>
              <a:gd name="T8" fmla="*/ 2147483647 w 101"/>
              <a:gd name="T9" fmla="*/ 2147483647 h 92"/>
              <a:gd name="T10" fmla="*/ 2147483647 w 101"/>
              <a:gd name="T11" fmla="*/ 2147483647 h 92"/>
              <a:gd name="T12" fmla="*/ 2147483647 w 101"/>
              <a:gd name="T13" fmla="*/ 2147483647 h 92"/>
              <a:gd name="T14" fmla="*/ 2147483647 w 101"/>
              <a:gd name="T15" fmla="*/ 2147483647 h 92"/>
              <a:gd name="T16" fmla="*/ 2147483647 w 101"/>
              <a:gd name="T17" fmla="*/ 0 h 92"/>
              <a:gd name="T18" fmla="*/ 2147483647 w 101"/>
              <a:gd name="T19" fmla="*/ 2147483647 h 92"/>
              <a:gd name="T20" fmla="*/ 2147483647 w 101"/>
              <a:gd name="T21" fmla="*/ 2147483647 h 92"/>
              <a:gd name="T22" fmla="*/ 2147483647 w 101"/>
              <a:gd name="T23" fmla="*/ 2147483647 h 92"/>
              <a:gd name="T24" fmla="*/ 2147483647 w 101"/>
              <a:gd name="T25" fmla="*/ 2147483647 h 92"/>
              <a:gd name="T26" fmla="*/ 2147483647 w 101"/>
              <a:gd name="T27" fmla="*/ 2147483647 h 92"/>
              <a:gd name="T28" fmla="*/ 2147483647 w 101"/>
              <a:gd name="T29" fmla="*/ 2147483647 h 92"/>
              <a:gd name="T30" fmla="*/ 2147483647 w 101"/>
              <a:gd name="T31" fmla="*/ 2147483647 h 92"/>
              <a:gd name="T32" fmla="*/ 2147483647 w 101"/>
              <a:gd name="T33" fmla="*/ 2147483647 h 92"/>
              <a:gd name="T34" fmla="*/ 2147483647 w 101"/>
              <a:gd name="T35" fmla="*/ 2147483647 h 92"/>
              <a:gd name="T36" fmla="*/ 2147483647 w 101"/>
              <a:gd name="T37" fmla="*/ 2147483647 h 92"/>
              <a:gd name="T38" fmla="*/ 2147483647 w 101"/>
              <a:gd name="T39" fmla="*/ 2147483647 h 92"/>
              <a:gd name="T40" fmla="*/ 2147483647 w 101"/>
              <a:gd name="T41" fmla="*/ 2147483647 h 92"/>
              <a:gd name="T42" fmla="*/ 2147483647 w 101"/>
              <a:gd name="T43" fmla="*/ 2147483647 h 92"/>
              <a:gd name="T44" fmla="*/ 2147483647 w 101"/>
              <a:gd name="T45" fmla="*/ 2147483647 h 92"/>
              <a:gd name="T46" fmla="*/ 2147483647 w 101"/>
              <a:gd name="T47" fmla="*/ 2147483647 h 92"/>
              <a:gd name="T48" fmla="*/ 2147483647 w 101"/>
              <a:gd name="T49" fmla="*/ 2147483647 h 92"/>
              <a:gd name="T50" fmla="*/ 2147483647 w 101"/>
              <a:gd name="T51" fmla="*/ 2147483647 h 92"/>
              <a:gd name="T52" fmla="*/ 2147483647 w 101"/>
              <a:gd name="T53" fmla="*/ 2147483647 h 92"/>
              <a:gd name="T54" fmla="*/ 0 w 101"/>
              <a:gd name="T55" fmla="*/ 2147483647 h 92"/>
              <a:gd name="T56" fmla="*/ 2147483647 w 101"/>
              <a:gd name="T57" fmla="*/ 2147483647 h 92"/>
              <a:gd name="T58" fmla="*/ 2147483647 w 101"/>
              <a:gd name="T59" fmla="*/ 2147483647 h 92"/>
              <a:gd name="T60" fmla="*/ 2147483647 w 101"/>
              <a:gd name="T61" fmla="*/ 2147483647 h 9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01"/>
              <a:gd name="T94" fmla="*/ 0 h 92"/>
              <a:gd name="T95" fmla="*/ 101 w 101"/>
              <a:gd name="T96" fmla="*/ 92 h 92"/>
              <a:gd name="connsiteX0" fmla="*/ 2772 w 10000"/>
              <a:gd name="connsiteY0" fmla="*/ 3370 h 10000"/>
              <a:gd name="connsiteX1" fmla="*/ 3564 w 10000"/>
              <a:gd name="connsiteY1" fmla="*/ 2065 h 10000"/>
              <a:gd name="connsiteX2" fmla="*/ 3168 w 10000"/>
              <a:gd name="connsiteY2" fmla="*/ 978 h 10000"/>
              <a:gd name="connsiteX3" fmla="*/ 3960 w 10000"/>
              <a:gd name="connsiteY3" fmla="*/ 761 h 10000"/>
              <a:gd name="connsiteX4" fmla="*/ 4356 w 10000"/>
              <a:gd name="connsiteY4" fmla="*/ 1739 h 10000"/>
              <a:gd name="connsiteX5" fmla="*/ 4851 w 10000"/>
              <a:gd name="connsiteY5" fmla="*/ 870 h 10000"/>
              <a:gd name="connsiteX6" fmla="*/ 6040 w 10000"/>
              <a:gd name="connsiteY6" fmla="*/ 870 h 10000"/>
              <a:gd name="connsiteX7" fmla="*/ 5743 w 10000"/>
              <a:gd name="connsiteY7" fmla="*/ 217 h 10000"/>
              <a:gd name="connsiteX8" fmla="*/ 6634 w 10000"/>
              <a:gd name="connsiteY8" fmla="*/ 0 h 10000"/>
              <a:gd name="connsiteX9" fmla="*/ 7921 w 10000"/>
              <a:gd name="connsiteY9" fmla="*/ 1522 h 10000"/>
              <a:gd name="connsiteX10" fmla="*/ 8416 w 10000"/>
              <a:gd name="connsiteY10" fmla="*/ 3478 h 10000"/>
              <a:gd name="connsiteX11" fmla="*/ 9406 w 10000"/>
              <a:gd name="connsiteY11" fmla="*/ 3152 h 10000"/>
              <a:gd name="connsiteX12" fmla="*/ 10000 w 10000"/>
              <a:gd name="connsiteY12" fmla="*/ 3913 h 10000"/>
              <a:gd name="connsiteX13" fmla="*/ 9901 w 10000"/>
              <a:gd name="connsiteY13" fmla="*/ 4239 h 10000"/>
              <a:gd name="connsiteX14" fmla="*/ 8119 w 10000"/>
              <a:gd name="connsiteY14" fmla="*/ 6087 h 10000"/>
              <a:gd name="connsiteX15" fmla="*/ 7426 w 10000"/>
              <a:gd name="connsiteY15" fmla="*/ 6196 h 10000"/>
              <a:gd name="connsiteX16" fmla="*/ 7624 w 10000"/>
              <a:gd name="connsiteY16" fmla="*/ 6957 h 10000"/>
              <a:gd name="connsiteX17" fmla="*/ 8020 w 10000"/>
              <a:gd name="connsiteY17" fmla="*/ 7065 h 10000"/>
              <a:gd name="connsiteX18" fmla="*/ 7921 w 10000"/>
              <a:gd name="connsiteY18" fmla="*/ 9457 h 10000"/>
              <a:gd name="connsiteX19" fmla="*/ 7426 w 10000"/>
              <a:gd name="connsiteY19" fmla="*/ 9565 h 10000"/>
              <a:gd name="connsiteX20" fmla="*/ 7228 w 10000"/>
              <a:gd name="connsiteY20" fmla="*/ 9239 h 10000"/>
              <a:gd name="connsiteX21" fmla="*/ 6238 w 10000"/>
              <a:gd name="connsiteY21" fmla="*/ 10000 h 10000"/>
              <a:gd name="connsiteX22" fmla="*/ 5535 w 10000"/>
              <a:gd name="connsiteY22" fmla="*/ 9801 h 10000"/>
              <a:gd name="connsiteX23" fmla="*/ 3960 w 10000"/>
              <a:gd name="connsiteY23" fmla="*/ 8696 h 10000"/>
              <a:gd name="connsiteX24" fmla="*/ 3168 w 10000"/>
              <a:gd name="connsiteY24" fmla="*/ 9130 h 10000"/>
              <a:gd name="connsiteX25" fmla="*/ 1485 w 10000"/>
              <a:gd name="connsiteY25" fmla="*/ 9239 h 10000"/>
              <a:gd name="connsiteX26" fmla="*/ 792 w 10000"/>
              <a:gd name="connsiteY26" fmla="*/ 10000 h 10000"/>
              <a:gd name="connsiteX27" fmla="*/ 0 w 10000"/>
              <a:gd name="connsiteY27" fmla="*/ 10000 h 10000"/>
              <a:gd name="connsiteX28" fmla="*/ 594 w 10000"/>
              <a:gd name="connsiteY28" fmla="*/ 6630 h 10000"/>
              <a:gd name="connsiteX29" fmla="*/ 1980 w 10000"/>
              <a:gd name="connsiteY29" fmla="*/ 3913 h 10000"/>
              <a:gd name="connsiteX30" fmla="*/ 2772 w 10000"/>
              <a:gd name="connsiteY30" fmla="*/ 3370 h 10000"/>
              <a:gd name="connsiteX0" fmla="*/ 2772 w 10000"/>
              <a:gd name="connsiteY0" fmla="*/ 3370 h 10000"/>
              <a:gd name="connsiteX1" fmla="*/ 3564 w 10000"/>
              <a:gd name="connsiteY1" fmla="*/ 2065 h 10000"/>
              <a:gd name="connsiteX2" fmla="*/ 3168 w 10000"/>
              <a:gd name="connsiteY2" fmla="*/ 978 h 10000"/>
              <a:gd name="connsiteX3" fmla="*/ 3960 w 10000"/>
              <a:gd name="connsiteY3" fmla="*/ 761 h 10000"/>
              <a:gd name="connsiteX4" fmla="*/ 4356 w 10000"/>
              <a:gd name="connsiteY4" fmla="*/ 1739 h 10000"/>
              <a:gd name="connsiteX5" fmla="*/ 4851 w 10000"/>
              <a:gd name="connsiteY5" fmla="*/ 870 h 10000"/>
              <a:gd name="connsiteX6" fmla="*/ 6040 w 10000"/>
              <a:gd name="connsiteY6" fmla="*/ 870 h 10000"/>
              <a:gd name="connsiteX7" fmla="*/ 5743 w 10000"/>
              <a:gd name="connsiteY7" fmla="*/ 217 h 10000"/>
              <a:gd name="connsiteX8" fmla="*/ 6634 w 10000"/>
              <a:gd name="connsiteY8" fmla="*/ 0 h 10000"/>
              <a:gd name="connsiteX9" fmla="*/ 7921 w 10000"/>
              <a:gd name="connsiteY9" fmla="*/ 1522 h 10000"/>
              <a:gd name="connsiteX10" fmla="*/ 8416 w 10000"/>
              <a:gd name="connsiteY10" fmla="*/ 3478 h 10000"/>
              <a:gd name="connsiteX11" fmla="*/ 9406 w 10000"/>
              <a:gd name="connsiteY11" fmla="*/ 3152 h 10000"/>
              <a:gd name="connsiteX12" fmla="*/ 10000 w 10000"/>
              <a:gd name="connsiteY12" fmla="*/ 3913 h 10000"/>
              <a:gd name="connsiteX13" fmla="*/ 9901 w 10000"/>
              <a:gd name="connsiteY13" fmla="*/ 4239 h 10000"/>
              <a:gd name="connsiteX14" fmla="*/ 8119 w 10000"/>
              <a:gd name="connsiteY14" fmla="*/ 6087 h 10000"/>
              <a:gd name="connsiteX15" fmla="*/ 7426 w 10000"/>
              <a:gd name="connsiteY15" fmla="*/ 6196 h 10000"/>
              <a:gd name="connsiteX16" fmla="*/ 7624 w 10000"/>
              <a:gd name="connsiteY16" fmla="*/ 6957 h 10000"/>
              <a:gd name="connsiteX17" fmla="*/ 8020 w 10000"/>
              <a:gd name="connsiteY17" fmla="*/ 7065 h 10000"/>
              <a:gd name="connsiteX18" fmla="*/ 7921 w 10000"/>
              <a:gd name="connsiteY18" fmla="*/ 9457 h 10000"/>
              <a:gd name="connsiteX19" fmla="*/ 7426 w 10000"/>
              <a:gd name="connsiteY19" fmla="*/ 9565 h 10000"/>
              <a:gd name="connsiteX20" fmla="*/ 7228 w 10000"/>
              <a:gd name="connsiteY20" fmla="*/ 9239 h 10000"/>
              <a:gd name="connsiteX21" fmla="*/ 6238 w 10000"/>
              <a:gd name="connsiteY21" fmla="*/ 10000 h 10000"/>
              <a:gd name="connsiteX22" fmla="*/ 5535 w 10000"/>
              <a:gd name="connsiteY22" fmla="*/ 9801 h 10000"/>
              <a:gd name="connsiteX23" fmla="*/ 3960 w 10000"/>
              <a:gd name="connsiteY23" fmla="*/ 8696 h 10000"/>
              <a:gd name="connsiteX24" fmla="*/ 3480 w 10000"/>
              <a:gd name="connsiteY24" fmla="*/ 9544 h 10000"/>
              <a:gd name="connsiteX25" fmla="*/ 1485 w 10000"/>
              <a:gd name="connsiteY25" fmla="*/ 9239 h 10000"/>
              <a:gd name="connsiteX26" fmla="*/ 792 w 10000"/>
              <a:gd name="connsiteY26" fmla="*/ 10000 h 10000"/>
              <a:gd name="connsiteX27" fmla="*/ 0 w 10000"/>
              <a:gd name="connsiteY27" fmla="*/ 10000 h 10000"/>
              <a:gd name="connsiteX28" fmla="*/ 594 w 10000"/>
              <a:gd name="connsiteY28" fmla="*/ 6630 h 10000"/>
              <a:gd name="connsiteX29" fmla="*/ 1980 w 10000"/>
              <a:gd name="connsiteY29" fmla="*/ 3913 h 10000"/>
              <a:gd name="connsiteX30" fmla="*/ 2772 w 10000"/>
              <a:gd name="connsiteY30" fmla="*/ 3370 h 1000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3168 w 10000"/>
              <a:gd name="connsiteY2" fmla="*/ 978 h 10560"/>
              <a:gd name="connsiteX3" fmla="*/ 3960 w 10000"/>
              <a:gd name="connsiteY3" fmla="*/ 761 h 10560"/>
              <a:gd name="connsiteX4" fmla="*/ 4356 w 10000"/>
              <a:gd name="connsiteY4" fmla="*/ 1739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7921 w 10000"/>
              <a:gd name="connsiteY9" fmla="*/ 1522 h 10560"/>
              <a:gd name="connsiteX10" fmla="*/ 8416 w 10000"/>
              <a:gd name="connsiteY10" fmla="*/ 3478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485 w 10000"/>
              <a:gd name="connsiteY26" fmla="*/ 9239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594 w 10000"/>
              <a:gd name="connsiteY29" fmla="*/ 6630 h 10560"/>
              <a:gd name="connsiteX30" fmla="*/ 1980 w 10000"/>
              <a:gd name="connsiteY30" fmla="*/ 3913 h 10560"/>
              <a:gd name="connsiteX31" fmla="*/ 2772 w 10000"/>
              <a:gd name="connsiteY31" fmla="*/ 3370 h 1056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3168 w 10000"/>
              <a:gd name="connsiteY2" fmla="*/ 978 h 10560"/>
              <a:gd name="connsiteX3" fmla="*/ 3960 w 10000"/>
              <a:gd name="connsiteY3" fmla="*/ 761 h 10560"/>
              <a:gd name="connsiteX4" fmla="*/ 4356 w 10000"/>
              <a:gd name="connsiteY4" fmla="*/ 1739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7921 w 10000"/>
              <a:gd name="connsiteY9" fmla="*/ 1522 h 10560"/>
              <a:gd name="connsiteX10" fmla="*/ 8416 w 10000"/>
              <a:gd name="connsiteY10" fmla="*/ 3478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221 w 10000"/>
              <a:gd name="connsiteY26" fmla="*/ 10158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594 w 10000"/>
              <a:gd name="connsiteY29" fmla="*/ 6630 h 10560"/>
              <a:gd name="connsiteX30" fmla="*/ 1980 w 10000"/>
              <a:gd name="connsiteY30" fmla="*/ 3913 h 10560"/>
              <a:gd name="connsiteX31" fmla="*/ 2772 w 10000"/>
              <a:gd name="connsiteY31" fmla="*/ 3370 h 1056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3168 w 10000"/>
              <a:gd name="connsiteY2" fmla="*/ 978 h 10560"/>
              <a:gd name="connsiteX3" fmla="*/ 3960 w 10000"/>
              <a:gd name="connsiteY3" fmla="*/ 761 h 10560"/>
              <a:gd name="connsiteX4" fmla="*/ 4356 w 10000"/>
              <a:gd name="connsiteY4" fmla="*/ 1739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7921 w 10000"/>
              <a:gd name="connsiteY9" fmla="*/ 1522 h 10560"/>
              <a:gd name="connsiteX10" fmla="*/ 8416 w 10000"/>
              <a:gd name="connsiteY10" fmla="*/ 3478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221 w 10000"/>
              <a:gd name="connsiteY26" fmla="*/ 10158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428 w 10000"/>
              <a:gd name="connsiteY29" fmla="*/ 5436 h 10560"/>
              <a:gd name="connsiteX30" fmla="*/ 1980 w 10000"/>
              <a:gd name="connsiteY30" fmla="*/ 3913 h 10560"/>
              <a:gd name="connsiteX31" fmla="*/ 2772 w 10000"/>
              <a:gd name="connsiteY31" fmla="*/ 3370 h 1056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3168 w 10000"/>
              <a:gd name="connsiteY2" fmla="*/ 978 h 10560"/>
              <a:gd name="connsiteX3" fmla="*/ 3960 w 10000"/>
              <a:gd name="connsiteY3" fmla="*/ 761 h 10560"/>
              <a:gd name="connsiteX4" fmla="*/ 4356 w 10000"/>
              <a:gd name="connsiteY4" fmla="*/ 1739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7921 w 10000"/>
              <a:gd name="connsiteY9" fmla="*/ 1522 h 10560"/>
              <a:gd name="connsiteX10" fmla="*/ 8416 w 10000"/>
              <a:gd name="connsiteY10" fmla="*/ 3478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221 w 10000"/>
              <a:gd name="connsiteY26" fmla="*/ 10158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428 w 10000"/>
              <a:gd name="connsiteY29" fmla="*/ 5436 h 10560"/>
              <a:gd name="connsiteX30" fmla="*/ 1083 w 10000"/>
              <a:gd name="connsiteY30" fmla="*/ 3737 h 10560"/>
              <a:gd name="connsiteX31" fmla="*/ 2772 w 10000"/>
              <a:gd name="connsiteY31" fmla="*/ 3370 h 1056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2729 w 10000"/>
              <a:gd name="connsiteY2" fmla="*/ 1156 h 10560"/>
              <a:gd name="connsiteX3" fmla="*/ 3960 w 10000"/>
              <a:gd name="connsiteY3" fmla="*/ 761 h 10560"/>
              <a:gd name="connsiteX4" fmla="*/ 4356 w 10000"/>
              <a:gd name="connsiteY4" fmla="*/ 1739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7921 w 10000"/>
              <a:gd name="connsiteY9" fmla="*/ 1522 h 10560"/>
              <a:gd name="connsiteX10" fmla="*/ 8416 w 10000"/>
              <a:gd name="connsiteY10" fmla="*/ 3478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221 w 10000"/>
              <a:gd name="connsiteY26" fmla="*/ 10158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428 w 10000"/>
              <a:gd name="connsiteY29" fmla="*/ 5436 h 10560"/>
              <a:gd name="connsiteX30" fmla="*/ 1083 w 10000"/>
              <a:gd name="connsiteY30" fmla="*/ 3737 h 10560"/>
              <a:gd name="connsiteX31" fmla="*/ 2772 w 10000"/>
              <a:gd name="connsiteY31" fmla="*/ 3370 h 1056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2729 w 10000"/>
              <a:gd name="connsiteY2" fmla="*/ 1156 h 10560"/>
              <a:gd name="connsiteX3" fmla="*/ 3960 w 10000"/>
              <a:gd name="connsiteY3" fmla="*/ 761 h 10560"/>
              <a:gd name="connsiteX4" fmla="*/ 4675 w 10000"/>
              <a:gd name="connsiteY4" fmla="*/ 978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7921 w 10000"/>
              <a:gd name="connsiteY9" fmla="*/ 1522 h 10560"/>
              <a:gd name="connsiteX10" fmla="*/ 8416 w 10000"/>
              <a:gd name="connsiteY10" fmla="*/ 3478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221 w 10000"/>
              <a:gd name="connsiteY26" fmla="*/ 10158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428 w 10000"/>
              <a:gd name="connsiteY29" fmla="*/ 5436 h 10560"/>
              <a:gd name="connsiteX30" fmla="*/ 1083 w 10000"/>
              <a:gd name="connsiteY30" fmla="*/ 3737 h 10560"/>
              <a:gd name="connsiteX31" fmla="*/ 2772 w 10000"/>
              <a:gd name="connsiteY31" fmla="*/ 3370 h 1056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2729 w 10000"/>
              <a:gd name="connsiteY2" fmla="*/ 1156 h 10560"/>
              <a:gd name="connsiteX3" fmla="*/ 3960 w 10000"/>
              <a:gd name="connsiteY3" fmla="*/ 761 h 10560"/>
              <a:gd name="connsiteX4" fmla="*/ 4675 w 10000"/>
              <a:gd name="connsiteY4" fmla="*/ 978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8698 w 10000"/>
              <a:gd name="connsiteY9" fmla="*/ 1116 h 10560"/>
              <a:gd name="connsiteX10" fmla="*/ 8416 w 10000"/>
              <a:gd name="connsiteY10" fmla="*/ 3478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221 w 10000"/>
              <a:gd name="connsiteY26" fmla="*/ 10158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428 w 10000"/>
              <a:gd name="connsiteY29" fmla="*/ 5436 h 10560"/>
              <a:gd name="connsiteX30" fmla="*/ 1083 w 10000"/>
              <a:gd name="connsiteY30" fmla="*/ 3737 h 10560"/>
              <a:gd name="connsiteX31" fmla="*/ 2772 w 10000"/>
              <a:gd name="connsiteY31" fmla="*/ 3370 h 10560"/>
              <a:gd name="connsiteX0" fmla="*/ 2772 w 10000"/>
              <a:gd name="connsiteY0" fmla="*/ 3370 h 10560"/>
              <a:gd name="connsiteX1" fmla="*/ 3564 w 10000"/>
              <a:gd name="connsiteY1" fmla="*/ 2065 h 10560"/>
              <a:gd name="connsiteX2" fmla="*/ 2729 w 10000"/>
              <a:gd name="connsiteY2" fmla="*/ 1156 h 10560"/>
              <a:gd name="connsiteX3" fmla="*/ 3960 w 10000"/>
              <a:gd name="connsiteY3" fmla="*/ 761 h 10560"/>
              <a:gd name="connsiteX4" fmla="*/ 4675 w 10000"/>
              <a:gd name="connsiteY4" fmla="*/ 978 h 10560"/>
              <a:gd name="connsiteX5" fmla="*/ 4851 w 10000"/>
              <a:gd name="connsiteY5" fmla="*/ 870 h 10560"/>
              <a:gd name="connsiteX6" fmla="*/ 6040 w 10000"/>
              <a:gd name="connsiteY6" fmla="*/ 870 h 10560"/>
              <a:gd name="connsiteX7" fmla="*/ 5743 w 10000"/>
              <a:gd name="connsiteY7" fmla="*/ 217 h 10560"/>
              <a:gd name="connsiteX8" fmla="*/ 6634 w 10000"/>
              <a:gd name="connsiteY8" fmla="*/ 0 h 10560"/>
              <a:gd name="connsiteX9" fmla="*/ 8698 w 10000"/>
              <a:gd name="connsiteY9" fmla="*/ 1116 h 10560"/>
              <a:gd name="connsiteX10" fmla="*/ 9110 w 10000"/>
              <a:gd name="connsiteY10" fmla="*/ 2835 h 10560"/>
              <a:gd name="connsiteX11" fmla="*/ 9406 w 10000"/>
              <a:gd name="connsiteY11" fmla="*/ 3152 h 10560"/>
              <a:gd name="connsiteX12" fmla="*/ 10000 w 10000"/>
              <a:gd name="connsiteY12" fmla="*/ 3913 h 10560"/>
              <a:gd name="connsiteX13" fmla="*/ 9901 w 10000"/>
              <a:gd name="connsiteY13" fmla="*/ 4239 h 10560"/>
              <a:gd name="connsiteX14" fmla="*/ 8119 w 10000"/>
              <a:gd name="connsiteY14" fmla="*/ 6087 h 10560"/>
              <a:gd name="connsiteX15" fmla="*/ 7426 w 10000"/>
              <a:gd name="connsiteY15" fmla="*/ 6196 h 10560"/>
              <a:gd name="connsiteX16" fmla="*/ 7624 w 10000"/>
              <a:gd name="connsiteY16" fmla="*/ 6957 h 10560"/>
              <a:gd name="connsiteX17" fmla="*/ 8020 w 10000"/>
              <a:gd name="connsiteY17" fmla="*/ 7065 h 10560"/>
              <a:gd name="connsiteX18" fmla="*/ 7921 w 10000"/>
              <a:gd name="connsiteY18" fmla="*/ 9457 h 10560"/>
              <a:gd name="connsiteX19" fmla="*/ 7426 w 10000"/>
              <a:gd name="connsiteY19" fmla="*/ 9565 h 10560"/>
              <a:gd name="connsiteX20" fmla="*/ 7228 w 10000"/>
              <a:gd name="connsiteY20" fmla="*/ 9239 h 10560"/>
              <a:gd name="connsiteX21" fmla="*/ 6238 w 10000"/>
              <a:gd name="connsiteY21" fmla="*/ 10000 h 10560"/>
              <a:gd name="connsiteX22" fmla="*/ 5535 w 10000"/>
              <a:gd name="connsiteY22" fmla="*/ 9801 h 10560"/>
              <a:gd name="connsiteX23" fmla="*/ 3960 w 10000"/>
              <a:gd name="connsiteY23" fmla="*/ 8696 h 10560"/>
              <a:gd name="connsiteX24" fmla="*/ 3480 w 10000"/>
              <a:gd name="connsiteY24" fmla="*/ 9544 h 10560"/>
              <a:gd name="connsiteX25" fmla="*/ 2289 w 10000"/>
              <a:gd name="connsiteY25" fmla="*/ 10556 h 10560"/>
              <a:gd name="connsiteX26" fmla="*/ 1221 w 10000"/>
              <a:gd name="connsiteY26" fmla="*/ 10158 h 10560"/>
              <a:gd name="connsiteX27" fmla="*/ 792 w 10000"/>
              <a:gd name="connsiteY27" fmla="*/ 10000 h 10560"/>
              <a:gd name="connsiteX28" fmla="*/ 0 w 10000"/>
              <a:gd name="connsiteY28" fmla="*/ 10000 h 10560"/>
              <a:gd name="connsiteX29" fmla="*/ 428 w 10000"/>
              <a:gd name="connsiteY29" fmla="*/ 5436 h 10560"/>
              <a:gd name="connsiteX30" fmla="*/ 1083 w 10000"/>
              <a:gd name="connsiteY30" fmla="*/ 3737 h 10560"/>
              <a:gd name="connsiteX31" fmla="*/ 2772 w 10000"/>
              <a:gd name="connsiteY31" fmla="*/ 3370 h 10560"/>
              <a:gd name="connsiteX0" fmla="*/ 2772 w 10821"/>
              <a:gd name="connsiteY0" fmla="*/ 3370 h 10560"/>
              <a:gd name="connsiteX1" fmla="*/ 3564 w 10821"/>
              <a:gd name="connsiteY1" fmla="*/ 2065 h 10560"/>
              <a:gd name="connsiteX2" fmla="*/ 2729 w 10821"/>
              <a:gd name="connsiteY2" fmla="*/ 1156 h 10560"/>
              <a:gd name="connsiteX3" fmla="*/ 3960 w 10821"/>
              <a:gd name="connsiteY3" fmla="*/ 761 h 10560"/>
              <a:gd name="connsiteX4" fmla="*/ 4675 w 10821"/>
              <a:gd name="connsiteY4" fmla="*/ 978 h 10560"/>
              <a:gd name="connsiteX5" fmla="*/ 4851 w 10821"/>
              <a:gd name="connsiteY5" fmla="*/ 870 h 10560"/>
              <a:gd name="connsiteX6" fmla="*/ 6040 w 10821"/>
              <a:gd name="connsiteY6" fmla="*/ 870 h 10560"/>
              <a:gd name="connsiteX7" fmla="*/ 5743 w 10821"/>
              <a:gd name="connsiteY7" fmla="*/ 217 h 10560"/>
              <a:gd name="connsiteX8" fmla="*/ 6634 w 10821"/>
              <a:gd name="connsiteY8" fmla="*/ 0 h 10560"/>
              <a:gd name="connsiteX9" fmla="*/ 8698 w 10821"/>
              <a:gd name="connsiteY9" fmla="*/ 1116 h 10560"/>
              <a:gd name="connsiteX10" fmla="*/ 9110 w 10821"/>
              <a:gd name="connsiteY10" fmla="*/ 2835 h 10560"/>
              <a:gd name="connsiteX11" fmla="*/ 9406 w 10821"/>
              <a:gd name="connsiteY11" fmla="*/ 3152 h 10560"/>
              <a:gd name="connsiteX12" fmla="*/ 10821 w 10821"/>
              <a:gd name="connsiteY12" fmla="*/ 2678 h 10560"/>
              <a:gd name="connsiteX13" fmla="*/ 9901 w 10821"/>
              <a:gd name="connsiteY13" fmla="*/ 4239 h 10560"/>
              <a:gd name="connsiteX14" fmla="*/ 8119 w 10821"/>
              <a:gd name="connsiteY14" fmla="*/ 6087 h 10560"/>
              <a:gd name="connsiteX15" fmla="*/ 7426 w 10821"/>
              <a:gd name="connsiteY15" fmla="*/ 6196 h 10560"/>
              <a:gd name="connsiteX16" fmla="*/ 7624 w 10821"/>
              <a:gd name="connsiteY16" fmla="*/ 6957 h 10560"/>
              <a:gd name="connsiteX17" fmla="*/ 8020 w 10821"/>
              <a:gd name="connsiteY17" fmla="*/ 7065 h 10560"/>
              <a:gd name="connsiteX18" fmla="*/ 7921 w 10821"/>
              <a:gd name="connsiteY18" fmla="*/ 9457 h 10560"/>
              <a:gd name="connsiteX19" fmla="*/ 7426 w 10821"/>
              <a:gd name="connsiteY19" fmla="*/ 9565 h 10560"/>
              <a:gd name="connsiteX20" fmla="*/ 7228 w 10821"/>
              <a:gd name="connsiteY20" fmla="*/ 9239 h 10560"/>
              <a:gd name="connsiteX21" fmla="*/ 6238 w 10821"/>
              <a:gd name="connsiteY21" fmla="*/ 10000 h 10560"/>
              <a:gd name="connsiteX22" fmla="*/ 5535 w 10821"/>
              <a:gd name="connsiteY22" fmla="*/ 9801 h 10560"/>
              <a:gd name="connsiteX23" fmla="*/ 3960 w 10821"/>
              <a:gd name="connsiteY23" fmla="*/ 8696 h 10560"/>
              <a:gd name="connsiteX24" fmla="*/ 3480 w 10821"/>
              <a:gd name="connsiteY24" fmla="*/ 9544 h 10560"/>
              <a:gd name="connsiteX25" fmla="*/ 2289 w 10821"/>
              <a:gd name="connsiteY25" fmla="*/ 10556 h 10560"/>
              <a:gd name="connsiteX26" fmla="*/ 1221 w 10821"/>
              <a:gd name="connsiteY26" fmla="*/ 10158 h 10560"/>
              <a:gd name="connsiteX27" fmla="*/ 792 w 10821"/>
              <a:gd name="connsiteY27" fmla="*/ 10000 h 10560"/>
              <a:gd name="connsiteX28" fmla="*/ 0 w 10821"/>
              <a:gd name="connsiteY28" fmla="*/ 10000 h 10560"/>
              <a:gd name="connsiteX29" fmla="*/ 428 w 10821"/>
              <a:gd name="connsiteY29" fmla="*/ 5436 h 10560"/>
              <a:gd name="connsiteX30" fmla="*/ 1083 w 10821"/>
              <a:gd name="connsiteY30" fmla="*/ 3737 h 10560"/>
              <a:gd name="connsiteX31" fmla="*/ 2772 w 10821"/>
              <a:gd name="connsiteY31" fmla="*/ 3370 h 10560"/>
              <a:gd name="connsiteX0" fmla="*/ 2772 w 10821"/>
              <a:gd name="connsiteY0" fmla="*/ 3370 h 10560"/>
              <a:gd name="connsiteX1" fmla="*/ 3564 w 10821"/>
              <a:gd name="connsiteY1" fmla="*/ 2065 h 10560"/>
              <a:gd name="connsiteX2" fmla="*/ 2729 w 10821"/>
              <a:gd name="connsiteY2" fmla="*/ 1156 h 10560"/>
              <a:gd name="connsiteX3" fmla="*/ 3960 w 10821"/>
              <a:gd name="connsiteY3" fmla="*/ 761 h 10560"/>
              <a:gd name="connsiteX4" fmla="*/ 4675 w 10821"/>
              <a:gd name="connsiteY4" fmla="*/ 978 h 10560"/>
              <a:gd name="connsiteX5" fmla="*/ 4851 w 10821"/>
              <a:gd name="connsiteY5" fmla="*/ 870 h 10560"/>
              <a:gd name="connsiteX6" fmla="*/ 6040 w 10821"/>
              <a:gd name="connsiteY6" fmla="*/ 870 h 10560"/>
              <a:gd name="connsiteX7" fmla="*/ 5743 w 10821"/>
              <a:gd name="connsiteY7" fmla="*/ 217 h 10560"/>
              <a:gd name="connsiteX8" fmla="*/ 6634 w 10821"/>
              <a:gd name="connsiteY8" fmla="*/ 0 h 10560"/>
              <a:gd name="connsiteX9" fmla="*/ 8698 w 10821"/>
              <a:gd name="connsiteY9" fmla="*/ 1116 h 10560"/>
              <a:gd name="connsiteX10" fmla="*/ 9110 w 10821"/>
              <a:gd name="connsiteY10" fmla="*/ 2835 h 10560"/>
              <a:gd name="connsiteX11" fmla="*/ 10466 w 10821"/>
              <a:gd name="connsiteY11" fmla="*/ 2360 h 10560"/>
              <a:gd name="connsiteX12" fmla="*/ 10821 w 10821"/>
              <a:gd name="connsiteY12" fmla="*/ 2678 h 10560"/>
              <a:gd name="connsiteX13" fmla="*/ 9901 w 10821"/>
              <a:gd name="connsiteY13" fmla="*/ 4239 h 10560"/>
              <a:gd name="connsiteX14" fmla="*/ 8119 w 10821"/>
              <a:gd name="connsiteY14" fmla="*/ 6087 h 10560"/>
              <a:gd name="connsiteX15" fmla="*/ 7426 w 10821"/>
              <a:gd name="connsiteY15" fmla="*/ 6196 h 10560"/>
              <a:gd name="connsiteX16" fmla="*/ 7624 w 10821"/>
              <a:gd name="connsiteY16" fmla="*/ 6957 h 10560"/>
              <a:gd name="connsiteX17" fmla="*/ 8020 w 10821"/>
              <a:gd name="connsiteY17" fmla="*/ 7065 h 10560"/>
              <a:gd name="connsiteX18" fmla="*/ 7921 w 10821"/>
              <a:gd name="connsiteY18" fmla="*/ 9457 h 10560"/>
              <a:gd name="connsiteX19" fmla="*/ 7426 w 10821"/>
              <a:gd name="connsiteY19" fmla="*/ 9565 h 10560"/>
              <a:gd name="connsiteX20" fmla="*/ 7228 w 10821"/>
              <a:gd name="connsiteY20" fmla="*/ 9239 h 10560"/>
              <a:gd name="connsiteX21" fmla="*/ 6238 w 10821"/>
              <a:gd name="connsiteY21" fmla="*/ 10000 h 10560"/>
              <a:gd name="connsiteX22" fmla="*/ 5535 w 10821"/>
              <a:gd name="connsiteY22" fmla="*/ 9801 h 10560"/>
              <a:gd name="connsiteX23" fmla="*/ 3960 w 10821"/>
              <a:gd name="connsiteY23" fmla="*/ 8696 h 10560"/>
              <a:gd name="connsiteX24" fmla="*/ 3480 w 10821"/>
              <a:gd name="connsiteY24" fmla="*/ 9544 h 10560"/>
              <a:gd name="connsiteX25" fmla="*/ 2289 w 10821"/>
              <a:gd name="connsiteY25" fmla="*/ 10556 h 10560"/>
              <a:gd name="connsiteX26" fmla="*/ 1221 w 10821"/>
              <a:gd name="connsiteY26" fmla="*/ 10158 h 10560"/>
              <a:gd name="connsiteX27" fmla="*/ 792 w 10821"/>
              <a:gd name="connsiteY27" fmla="*/ 10000 h 10560"/>
              <a:gd name="connsiteX28" fmla="*/ 0 w 10821"/>
              <a:gd name="connsiteY28" fmla="*/ 10000 h 10560"/>
              <a:gd name="connsiteX29" fmla="*/ 428 w 10821"/>
              <a:gd name="connsiteY29" fmla="*/ 5436 h 10560"/>
              <a:gd name="connsiteX30" fmla="*/ 1083 w 10821"/>
              <a:gd name="connsiteY30" fmla="*/ 3737 h 10560"/>
              <a:gd name="connsiteX31" fmla="*/ 2772 w 10821"/>
              <a:gd name="connsiteY31" fmla="*/ 3370 h 10560"/>
              <a:gd name="connsiteX0" fmla="*/ 2772 w 10821"/>
              <a:gd name="connsiteY0" fmla="*/ 3370 h 10560"/>
              <a:gd name="connsiteX1" fmla="*/ 3564 w 10821"/>
              <a:gd name="connsiteY1" fmla="*/ 2065 h 10560"/>
              <a:gd name="connsiteX2" fmla="*/ 2729 w 10821"/>
              <a:gd name="connsiteY2" fmla="*/ 1156 h 10560"/>
              <a:gd name="connsiteX3" fmla="*/ 3960 w 10821"/>
              <a:gd name="connsiteY3" fmla="*/ 761 h 10560"/>
              <a:gd name="connsiteX4" fmla="*/ 4675 w 10821"/>
              <a:gd name="connsiteY4" fmla="*/ 978 h 10560"/>
              <a:gd name="connsiteX5" fmla="*/ 4851 w 10821"/>
              <a:gd name="connsiteY5" fmla="*/ 870 h 10560"/>
              <a:gd name="connsiteX6" fmla="*/ 6040 w 10821"/>
              <a:gd name="connsiteY6" fmla="*/ 870 h 10560"/>
              <a:gd name="connsiteX7" fmla="*/ 5743 w 10821"/>
              <a:gd name="connsiteY7" fmla="*/ 217 h 10560"/>
              <a:gd name="connsiteX8" fmla="*/ 6634 w 10821"/>
              <a:gd name="connsiteY8" fmla="*/ 0 h 10560"/>
              <a:gd name="connsiteX9" fmla="*/ 8698 w 10821"/>
              <a:gd name="connsiteY9" fmla="*/ 1116 h 10560"/>
              <a:gd name="connsiteX10" fmla="*/ 9658 w 10821"/>
              <a:gd name="connsiteY10" fmla="*/ 2252 h 10560"/>
              <a:gd name="connsiteX11" fmla="*/ 10466 w 10821"/>
              <a:gd name="connsiteY11" fmla="*/ 2360 h 10560"/>
              <a:gd name="connsiteX12" fmla="*/ 10821 w 10821"/>
              <a:gd name="connsiteY12" fmla="*/ 2678 h 10560"/>
              <a:gd name="connsiteX13" fmla="*/ 9901 w 10821"/>
              <a:gd name="connsiteY13" fmla="*/ 4239 h 10560"/>
              <a:gd name="connsiteX14" fmla="*/ 8119 w 10821"/>
              <a:gd name="connsiteY14" fmla="*/ 6087 h 10560"/>
              <a:gd name="connsiteX15" fmla="*/ 7426 w 10821"/>
              <a:gd name="connsiteY15" fmla="*/ 6196 h 10560"/>
              <a:gd name="connsiteX16" fmla="*/ 7624 w 10821"/>
              <a:gd name="connsiteY16" fmla="*/ 6957 h 10560"/>
              <a:gd name="connsiteX17" fmla="*/ 8020 w 10821"/>
              <a:gd name="connsiteY17" fmla="*/ 7065 h 10560"/>
              <a:gd name="connsiteX18" fmla="*/ 7921 w 10821"/>
              <a:gd name="connsiteY18" fmla="*/ 9457 h 10560"/>
              <a:gd name="connsiteX19" fmla="*/ 7426 w 10821"/>
              <a:gd name="connsiteY19" fmla="*/ 9565 h 10560"/>
              <a:gd name="connsiteX20" fmla="*/ 7228 w 10821"/>
              <a:gd name="connsiteY20" fmla="*/ 9239 h 10560"/>
              <a:gd name="connsiteX21" fmla="*/ 6238 w 10821"/>
              <a:gd name="connsiteY21" fmla="*/ 10000 h 10560"/>
              <a:gd name="connsiteX22" fmla="*/ 5535 w 10821"/>
              <a:gd name="connsiteY22" fmla="*/ 9801 h 10560"/>
              <a:gd name="connsiteX23" fmla="*/ 3960 w 10821"/>
              <a:gd name="connsiteY23" fmla="*/ 8696 h 10560"/>
              <a:gd name="connsiteX24" fmla="*/ 3480 w 10821"/>
              <a:gd name="connsiteY24" fmla="*/ 9544 h 10560"/>
              <a:gd name="connsiteX25" fmla="*/ 2289 w 10821"/>
              <a:gd name="connsiteY25" fmla="*/ 10556 h 10560"/>
              <a:gd name="connsiteX26" fmla="*/ 1221 w 10821"/>
              <a:gd name="connsiteY26" fmla="*/ 10158 h 10560"/>
              <a:gd name="connsiteX27" fmla="*/ 792 w 10821"/>
              <a:gd name="connsiteY27" fmla="*/ 10000 h 10560"/>
              <a:gd name="connsiteX28" fmla="*/ 0 w 10821"/>
              <a:gd name="connsiteY28" fmla="*/ 10000 h 10560"/>
              <a:gd name="connsiteX29" fmla="*/ 428 w 10821"/>
              <a:gd name="connsiteY29" fmla="*/ 5436 h 10560"/>
              <a:gd name="connsiteX30" fmla="*/ 1083 w 10821"/>
              <a:gd name="connsiteY30" fmla="*/ 3737 h 10560"/>
              <a:gd name="connsiteX31" fmla="*/ 2772 w 10821"/>
              <a:gd name="connsiteY31" fmla="*/ 3370 h 10560"/>
              <a:gd name="connsiteX0" fmla="*/ 2772 w 10821"/>
              <a:gd name="connsiteY0" fmla="*/ 3370 h 10560"/>
              <a:gd name="connsiteX1" fmla="*/ 3564 w 10821"/>
              <a:gd name="connsiteY1" fmla="*/ 2065 h 10560"/>
              <a:gd name="connsiteX2" fmla="*/ 2729 w 10821"/>
              <a:gd name="connsiteY2" fmla="*/ 1156 h 10560"/>
              <a:gd name="connsiteX3" fmla="*/ 3960 w 10821"/>
              <a:gd name="connsiteY3" fmla="*/ 761 h 10560"/>
              <a:gd name="connsiteX4" fmla="*/ 4675 w 10821"/>
              <a:gd name="connsiteY4" fmla="*/ 978 h 10560"/>
              <a:gd name="connsiteX5" fmla="*/ 4851 w 10821"/>
              <a:gd name="connsiteY5" fmla="*/ 870 h 10560"/>
              <a:gd name="connsiteX6" fmla="*/ 6040 w 10821"/>
              <a:gd name="connsiteY6" fmla="*/ 870 h 10560"/>
              <a:gd name="connsiteX7" fmla="*/ 5743 w 10821"/>
              <a:gd name="connsiteY7" fmla="*/ 217 h 10560"/>
              <a:gd name="connsiteX8" fmla="*/ 6634 w 10821"/>
              <a:gd name="connsiteY8" fmla="*/ 0 h 10560"/>
              <a:gd name="connsiteX9" fmla="*/ 8698 w 10821"/>
              <a:gd name="connsiteY9" fmla="*/ 1116 h 10560"/>
              <a:gd name="connsiteX10" fmla="*/ 9658 w 10821"/>
              <a:gd name="connsiteY10" fmla="*/ 2252 h 10560"/>
              <a:gd name="connsiteX11" fmla="*/ 10466 w 10821"/>
              <a:gd name="connsiteY11" fmla="*/ 2360 h 10560"/>
              <a:gd name="connsiteX12" fmla="*/ 10821 w 10821"/>
              <a:gd name="connsiteY12" fmla="*/ 2678 h 10560"/>
              <a:gd name="connsiteX13" fmla="*/ 9901 w 10821"/>
              <a:gd name="connsiteY13" fmla="*/ 4239 h 10560"/>
              <a:gd name="connsiteX14" fmla="*/ 8119 w 10821"/>
              <a:gd name="connsiteY14" fmla="*/ 6087 h 10560"/>
              <a:gd name="connsiteX15" fmla="*/ 7426 w 10821"/>
              <a:gd name="connsiteY15" fmla="*/ 6196 h 10560"/>
              <a:gd name="connsiteX16" fmla="*/ 7624 w 10821"/>
              <a:gd name="connsiteY16" fmla="*/ 6957 h 10560"/>
              <a:gd name="connsiteX17" fmla="*/ 8882 w 10821"/>
              <a:gd name="connsiteY17" fmla="*/ 8337 h 10560"/>
              <a:gd name="connsiteX18" fmla="*/ 7921 w 10821"/>
              <a:gd name="connsiteY18" fmla="*/ 9457 h 10560"/>
              <a:gd name="connsiteX19" fmla="*/ 7426 w 10821"/>
              <a:gd name="connsiteY19" fmla="*/ 9565 h 10560"/>
              <a:gd name="connsiteX20" fmla="*/ 7228 w 10821"/>
              <a:gd name="connsiteY20" fmla="*/ 9239 h 10560"/>
              <a:gd name="connsiteX21" fmla="*/ 6238 w 10821"/>
              <a:gd name="connsiteY21" fmla="*/ 10000 h 10560"/>
              <a:gd name="connsiteX22" fmla="*/ 5535 w 10821"/>
              <a:gd name="connsiteY22" fmla="*/ 9801 h 10560"/>
              <a:gd name="connsiteX23" fmla="*/ 3960 w 10821"/>
              <a:gd name="connsiteY23" fmla="*/ 8696 h 10560"/>
              <a:gd name="connsiteX24" fmla="*/ 3480 w 10821"/>
              <a:gd name="connsiteY24" fmla="*/ 9544 h 10560"/>
              <a:gd name="connsiteX25" fmla="*/ 2289 w 10821"/>
              <a:gd name="connsiteY25" fmla="*/ 10556 h 10560"/>
              <a:gd name="connsiteX26" fmla="*/ 1221 w 10821"/>
              <a:gd name="connsiteY26" fmla="*/ 10158 h 10560"/>
              <a:gd name="connsiteX27" fmla="*/ 792 w 10821"/>
              <a:gd name="connsiteY27" fmla="*/ 10000 h 10560"/>
              <a:gd name="connsiteX28" fmla="*/ 0 w 10821"/>
              <a:gd name="connsiteY28" fmla="*/ 10000 h 10560"/>
              <a:gd name="connsiteX29" fmla="*/ 428 w 10821"/>
              <a:gd name="connsiteY29" fmla="*/ 5436 h 10560"/>
              <a:gd name="connsiteX30" fmla="*/ 1083 w 10821"/>
              <a:gd name="connsiteY30" fmla="*/ 3737 h 10560"/>
              <a:gd name="connsiteX31" fmla="*/ 2772 w 10821"/>
              <a:gd name="connsiteY31" fmla="*/ 3370 h 10560"/>
              <a:gd name="connsiteX0" fmla="*/ 2772 w 10821"/>
              <a:gd name="connsiteY0" fmla="*/ 3370 h 10560"/>
              <a:gd name="connsiteX1" fmla="*/ 3564 w 10821"/>
              <a:gd name="connsiteY1" fmla="*/ 2065 h 10560"/>
              <a:gd name="connsiteX2" fmla="*/ 2729 w 10821"/>
              <a:gd name="connsiteY2" fmla="*/ 1156 h 10560"/>
              <a:gd name="connsiteX3" fmla="*/ 3960 w 10821"/>
              <a:gd name="connsiteY3" fmla="*/ 761 h 10560"/>
              <a:gd name="connsiteX4" fmla="*/ 4675 w 10821"/>
              <a:gd name="connsiteY4" fmla="*/ 978 h 10560"/>
              <a:gd name="connsiteX5" fmla="*/ 4851 w 10821"/>
              <a:gd name="connsiteY5" fmla="*/ 870 h 10560"/>
              <a:gd name="connsiteX6" fmla="*/ 6040 w 10821"/>
              <a:gd name="connsiteY6" fmla="*/ 870 h 10560"/>
              <a:gd name="connsiteX7" fmla="*/ 5743 w 10821"/>
              <a:gd name="connsiteY7" fmla="*/ 217 h 10560"/>
              <a:gd name="connsiteX8" fmla="*/ 6634 w 10821"/>
              <a:gd name="connsiteY8" fmla="*/ 0 h 10560"/>
              <a:gd name="connsiteX9" fmla="*/ 8698 w 10821"/>
              <a:gd name="connsiteY9" fmla="*/ 1116 h 10560"/>
              <a:gd name="connsiteX10" fmla="*/ 9658 w 10821"/>
              <a:gd name="connsiteY10" fmla="*/ 2252 h 10560"/>
              <a:gd name="connsiteX11" fmla="*/ 10466 w 10821"/>
              <a:gd name="connsiteY11" fmla="*/ 2360 h 10560"/>
              <a:gd name="connsiteX12" fmla="*/ 10821 w 10821"/>
              <a:gd name="connsiteY12" fmla="*/ 2678 h 10560"/>
              <a:gd name="connsiteX13" fmla="*/ 9901 w 10821"/>
              <a:gd name="connsiteY13" fmla="*/ 4239 h 10560"/>
              <a:gd name="connsiteX14" fmla="*/ 8119 w 10821"/>
              <a:gd name="connsiteY14" fmla="*/ 6087 h 10560"/>
              <a:gd name="connsiteX15" fmla="*/ 7426 w 10821"/>
              <a:gd name="connsiteY15" fmla="*/ 6196 h 10560"/>
              <a:gd name="connsiteX16" fmla="*/ 9573 w 10821"/>
              <a:gd name="connsiteY16" fmla="*/ 7516 h 10560"/>
              <a:gd name="connsiteX17" fmla="*/ 8882 w 10821"/>
              <a:gd name="connsiteY17" fmla="*/ 8337 h 10560"/>
              <a:gd name="connsiteX18" fmla="*/ 7921 w 10821"/>
              <a:gd name="connsiteY18" fmla="*/ 9457 h 10560"/>
              <a:gd name="connsiteX19" fmla="*/ 7426 w 10821"/>
              <a:gd name="connsiteY19" fmla="*/ 9565 h 10560"/>
              <a:gd name="connsiteX20" fmla="*/ 7228 w 10821"/>
              <a:gd name="connsiteY20" fmla="*/ 9239 h 10560"/>
              <a:gd name="connsiteX21" fmla="*/ 6238 w 10821"/>
              <a:gd name="connsiteY21" fmla="*/ 10000 h 10560"/>
              <a:gd name="connsiteX22" fmla="*/ 5535 w 10821"/>
              <a:gd name="connsiteY22" fmla="*/ 9801 h 10560"/>
              <a:gd name="connsiteX23" fmla="*/ 3960 w 10821"/>
              <a:gd name="connsiteY23" fmla="*/ 8696 h 10560"/>
              <a:gd name="connsiteX24" fmla="*/ 3480 w 10821"/>
              <a:gd name="connsiteY24" fmla="*/ 9544 h 10560"/>
              <a:gd name="connsiteX25" fmla="*/ 2289 w 10821"/>
              <a:gd name="connsiteY25" fmla="*/ 10556 h 10560"/>
              <a:gd name="connsiteX26" fmla="*/ 1221 w 10821"/>
              <a:gd name="connsiteY26" fmla="*/ 10158 h 10560"/>
              <a:gd name="connsiteX27" fmla="*/ 792 w 10821"/>
              <a:gd name="connsiteY27" fmla="*/ 10000 h 10560"/>
              <a:gd name="connsiteX28" fmla="*/ 0 w 10821"/>
              <a:gd name="connsiteY28" fmla="*/ 10000 h 10560"/>
              <a:gd name="connsiteX29" fmla="*/ 428 w 10821"/>
              <a:gd name="connsiteY29" fmla="*/ 5436 h 10560"/>
              <a:gd name="connsiteX30" fmla="*/ 1083 w 10821"/>
              <a:gd name="connsiteY30" fmla="*/ 3737 h 10560"/>
              <a:gd name="connsiteX31" fmla="*/ 2772 w 10821"/>
              <a:gd name="connsiteY31" fmla="*/ 3370 h 10560"/>
              <a:gd name="connsiteX0" fmla="*/ 2772 w 10821"/>
              <a:gd name="connsiteY0" fmla="*/ 3370 h 10560"/>
              <a:gd name="connsiteX1" fmla="*/ 3564 w 10821"/>
              <a:gd name="connsiteY1" fmla="*/ 2065 h 10560"/>
              <a:gd name="connsiteX2" fmla="*/ 2729 w 10821"/>
              <a:gd name="connsiteY2" fmla="*/ 1156 h 10560"/>
              <a:gd name="connsiteX3" fmla="*/ 3960 w 10821"/>
              <a:gd name="connsiteY3" fmla="*/ 761 h 10560"/>
              <a:gd name="connsiteX4" fmla="*/ 4675 w 10821"/>
              <a:gd name="connsiteY4" fmla="*/ 978 h 10560"/>
              <a:gd name="connsiteX5" fmla="*/ 4851 w 10821"/>
              <a:gd name="connsiteY5" fmla="*/ 870 h 10560"/>
              <a:gd name="connsiteX6" fmla="*/ 6040 w 10821"/>
              <a:gd name="connsiteY6" fmla="*/ 870 h 10560"/>
              <a:gd name="connsiteX7" fmla="*/ 5743 w 10821"/>
              <a:gd name="connsiteY7" fmla="*/ 217 h 10560"/>
              <a:gd name="connsiteX8" fmla="*/ 6634 w 10821"/>
              <a:gd name="connsiteY8" fmla="*/ 0 h 10560"/>
              <a:gd name="connsiteX9" fmla="*/ 8698 w 10821"/>
              <a:gd name="connsiteY9" fmla="*/ 1116 h 10560"/>
              <a:gd name="connsiteX10" fmla="*/ 9658 w 10821"/>
              <a:gd name="connsiteY10" fmla="*/ 2252 h 10560"/>
              <a:gd name="connsiteX11" fmla="*/ 10466 w 10821"/>
              <a:gd name="connsiteY11" fmla="*/ 2360 h 10560"/>
              <a:gd name="connsiteX12" fmla="*/ 10821 w 10821"/>
              <a:gd name="connsiteY12" fmla="*/ 2678 h 10560"/>
              <a:gd name="connsiteX13" fmla="*/ 9901 w 10821"/>
              <a:gd name="connsiteY13" fmla="*/ 4239 h 10560"/>
              <a:gd name="connsiteX14" fmla="*/ 9235 w 10821"/>
              <a:gd name="connsiteY14" fmla="*/ 6174 h 10560"/>
              <a:gd name="connsiteX15" fmla="*/ 7426 w 10821"/>
              <a:gd name="connsiteY15" fmla="*/ 6196 h 10560"/>
              <a:gd name="connsiteX16" fmla="*/ 9573 w 10821"/>
              <a:gd name="connsiteY16" fmla="*/ 7516 h 10560"/>
              <a:gd name="connsiteX17" fmla="*/ 8882 w 10821"/>
              <a:gd name="connsiteY17" fmla="*/ 8337 h 10560"/>
              <a:gd name="connsiteX18" fmla="*/ 7921 w 10821"/>
              <a:gd name="connsiteY18" fmla="*/ 9457 h 10560"/>
              <a:gd name="connsiteX19" fmla="*/ 7426 w 10821"/>
              <a:gd name="connsiteY19" fmla="*/ 9565 h 10560"/>
              <a:gd name="connsiteX20" fmla="*/ 7228 w 10821"/>
              <a:gd name="connsiteY20" fmla="*/ 9239 h 10560"/>
              <a:gd name="connsiteX21" fmla="*/ 6238 w 10821"/>
              <a:gd name="connsiteY21" fmla="*/ 10000 h 10560"/>
              <a:gd name="connsiteX22" fmla="*/ 5535 w 10821"/>
              <a:gd name="connsiteY22" fmla="*/ 9801 h 10560"/>
              <a:gd name="connsiteX23" fmla="*/ 3960 w 10821"/>
              <a:gd name="connsiteY23" fmla="*/ 8696 h 10560"/>
              <a:gd name="connsiteX24" fmla="*/ 3480 w 10821"/>
              <a:gd name="connsiteY24" fmla="*/ 9544 h 10560"/>
              <a:gd name="connsiteX25" fmla="*/ 2289 w 10821"/>
              <a:gd name="connsiteY25" fmla="*/ 10556 h 10560"/>
              <a:gd name="connsiteX26" fmla="*/ 1221 w 10821"/>
              <a:gd name="connsiteY26" fmla="*/ 10158 h 10560"/>
              <a:gd name="connsiteX27" fmla="*/ 792 w 10821"/>
              <a:gd name="connsiteY27" fmla="*/ 10000 h 10560"/>
              <a:gd name="connsiteX28" fmla="*/ 0 w 10821"/>
              <a:gd name="connsiteY28" fmla="*/ 10000 h 10560"/>
              <a:gd name="connsiteX29" fmla="*/ 428 w 10821"/>
              <a:gd name="connsiteY29" fmla="*/ 5436 h 10560"/>
              <a:gd name="connsiteX30" fmla="*/ 1083 w 10821"/>
              <a:gd name="connsiteY30" fmla="*/ 3737 h 10560"/>
              <a:gd name="connsiteX31" fmla="*/ 2772 w 10821"/>
              <a:gd name="connsiteY31" fmla="*/ 3370 h 10560"/>
              <a:gd name="connsiteX0" fmla="*/ 2772 w 10821"/>
              <a:gd name="connsiteY0" fmla="*/ 3370 h 10560"/>
              <a:gd name="connsiteX1" fmla="*/ 3564 w 10821"/>
              <a:gd name="connsiteY1" fmla="*/ 2065 h 10560"/>
              <a:gd name="connsiteX2" fmla="*/ 2729 w 10821"/>
              <a:gd name="connsiteY2" fmla="*/ 1156 h 10560"/>
              <a:gd name="connsiteX3" fmla="*/ 3960 w 10821"/>
              <a:gd name="connsiteY3" fmla="*/ 761 h 10560"/>
              <a:gd name="connsiteX4" fmla="*/ 4675 w 10821"/>
              <a:gd name="connsiteY4" fmla="*/ 978 h 10560"/>
              <a:gd name="connsiteX5" fmla="*/ 4851 w 10821"/>
              <a:gd name="connsiteY5" fmla="*/ 870 h 10560"/>
              <a:gd name="connsiteX6" fmla="*/ 6040 w 10821"/>
              <a:gd name="connsiteY6" fmla="*/ 870 h 10560"/>
              <a:gd name="connsiteX7" fmla="*/ 5743 w 10821"/>
              <a:gd name="connsiteY7" fmla="*/ 217 h 10560"/>
              <a:gd name="connsiteX8" fmla="*/ 6634 w 10821"/>
              <a:gd name="connsiteY8" fmla="*/ 0 h 10560"/>
              <a:gd name="connsiteX9" fmla="*/ 8698 w 10821"/>
              <a:gd name="connsiteY9" fmla="*/ 1116 h 10560"/>
              <a:gd name="connsiteX10" fmla="*/ 9658 w 10821"/>
              <a:gd name="connsiteY10" fmla="*/ 2252 h 10560"/>
              <a:gd name="connsiteX11" fmla="*/ 10466 w 10821"/>
              <a:gd name="connsiteY11" fmla="*/ 2360 h 10560"/>
              <a:gd name="connsiteX12" fmla="*/ 10821 w 10821"/>
              <a:gd name="connsiteY12" fmla="*/ 2678 h 10560"/>
              <a:gd name="connsiteX13" fmla="*/ 9901 w 10821"/>
              <a:gd name="connsiteY13" fmla="*/ 4239 h 10560"/>
              <a:gd name="connsiteX14" fmla="*/ 9235 w 10821"/>
              <a:gd name="connsiteY14" fmla="*/ 6174 h 10560"/>
              <a:gd name="connsiteX15" fmla="*/ 9412 w 10821"/>
              <a:gd name="connsiteY15" fmla="*/ 7101 h 10560"/>
              <a:gd name="connsiteX16" fmla="*/ 9573 w 10821"/>
              <a:gd name="connsiteY16" fmla="*/ 7516 h 10560"/>
              <a:gd name="connsiteX17" fmla="*/ 8882 w 10821"/>
              <a:gd name="connsiteY17" fmla="*/ 8337 h 10560"/>
              <a:gd name="connsiteX18" fmla="*/ 7921 w 10821"/>
              <a:gd name="connsiteY18" fmla="*/ 9457 h 10560"/>
              <a:gd name="connsiteX19" fmla="*/ 7426 w 10821"/>
              <a:gd name="connsiteY19" fmla="*/ 9565 h 10560"/>
              <a:gd name="connsiteX20" fmla="*/ 7228 w 10821"/>
              <a:gd name="connsiteY20" fmla="*/ 9239 h 10560"/>
              <a:gd name="connsiteX21" fmla="*/ 6238 w 10821"/>
              <a:gd name="connsiteY21" fmla="*/ 10000 h 10560"/>
              <a:gd name="connsiteX22" fmla="*/ 5535 w 10821"/>
              <a:gd name="connsiteY22" fmla="*/ 9801 h 10560"/>
              <a:gd name="connsiteX23" fmla="*/ 3960 w 10821"/>
              <a:gd name="connsiteY23" fmla="*/ 8696 h 10560"/>
              <a:gd name="connsiteX24" fmla="*/ 3480 w 10821"/>
              <a:gd name="connsiteY24" fmla="*/ 9544 h 10560"/>
              <a:gd name="connsiteX25" fmla="*/ 2289 w 10821"/>
              <a:gd name="connsiteY25" fmla="*/ 10556 h 10560"/>
              <a:gd name="connsiteX26" fmla="*/ 1221 w 10821"/>
              <a:gd name="connsiteY26" fmla="*/ 10158 h 10560"/>
              <a:gd name="connsiteX27" fmla="*/ 792 w 10821"/>
              <a:gd name="connsiteY27" fmla="*/ 10000 h 10560"/>
              <a:gd name="connsiteX28" fmla="*/ 0 w 10821"/>
              <a:gd name="connsiteY28" fmla="*/ 10000 h 10560"/>
              <a:gd name="connsiteX29" fmla="*/ 428 w 10821"/>
              <a:gd name="connsiteY29" fmla="*/ 5436 h 10560"/>
              <a:gd name="connsiteX30" fmla="*/ 1083 w 10821"/>
              <a:gd name="connsiteY30" fmla="*/ 3737 h 10560"/>
              <a:gd name="connsiteX31" fmla="*/ 2772 w 10821"/>
              <a:gd name="connsiteY31" fmla="*/ 3370 h 1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821" h="10560">
                <a:moveTo>
                  <a:pt x="2772" y="3370"/>
                </a:moveTo>
                <a:lnTo>
                  <a:pt x="3564" y="2065"/>
                </a:lnTo>
                <a:lnTo>
                  <a:pt x="2729" y="1156"/>
                </a:lnTo>
                <a:lnTo>
                  <a:pt x="3960" y="761"/>
                </a:lnTo>
                <a:lnTo>
                  <a:pt x="4675" y="978"/>
                </a:lnTo>
                <a:lnTo>
                  <a:pt x="4851" y="870"/>
                </a:lnTo>
                <a:lnTo>
                  <a:pt x="6040" y="870"/>
                </a:lnTo>
                <a:lnTo>
                  <a:pt x="5743" y="217"/>
                </a:lnTo>
                <a:lnTo>
                  <a:pt x="6634" y="0"/>
                </a:lnTo>
                <a:lnTo>
                  <a:pt x="8698" y="1116"/>
                </a:lnTo>
                <a:cubicBezTo>
                  <a:pt x="8835" y="1689"/>
                  <a:pt x="9521" y="1679"/>
                  <a:pt x="9658" y="2252"/>
                </a:cubicBezTo>
                <a:lnTo>
                  <a:pt x="10466" y="2360"/>
                </a:lnTo>
                <a:lnTo>
                  <a:pt x="10821" y="2678"/>
                </a:lnTo>
                <a:cubicBezTo>
                  <a:pt x="10788" y="2787"/>
                  <a:pt x="9934" y="4130"/>
                  <a:pt x="9901" y="4239"/>
                </a:cubicBezTo>
                <a:lnTo>
                  <a:pt x="9235" y="6174"/>
                </a:lnTo>
                <a:lnTo>
                  <a:pt x="9412" y="7101"/>
                </a:lnTo>
                <a:cubicBezTo>
                  <a:pt x="9466" y="7239"/>
                  <a:pt x="9519" y="7378"/>
                  <a:pt x="9573" y="7516"/>
                </a:cubicBezTo>
                <a:lnTo>
                  <a:pt x="8882" y="8337"/>
                </a:lnTo>
                <a:cubicBezTo>
                  <a:pt x="8849" y="9134"/>
                  <a:pt x="7954" y="8660"/>
                  <a:pt x="7921" y="9457"/>
                </a:cubicBezTo>
                <a:lnTo>
                  <a:pt x="7426" y="9565"/>
                </a:lnTo>
                <a:lnTo>
                  <a:pt x="7228" y="9239"/>
                </a:lnTo>
                <a:lnTo>
                  <a:pt x="6238" y="10000"/>
                </a:lnTo>
                <a:lnTo>
                  <a:pt x="5535" y="9801"/>
                </a:lnTo>
                <a:lnTo>
                  <a:pt x="3960" y="8696"/>
                </a:lnTo>
                <a:lnTo>
                  <a:pt x="3480" y="9544"/>
                </a:lnTo>
                <a:cubicBezTo>
                  <a:pt x="2936" y="9460"/>
                  <a:pt x="2833" y="10640"/>
                  <a:pt x="2289" y="10556"/>
                </a:cubicBezTo>
                <a:lnTo>
                  <a:pt x="1221" y="10158"/>
                </a:lnTo>
                <a:lnTo>
                  <a:pt x="792" y="10000"/>
                </a:lnTo>
                <a:lnTo>
                  <a:pt x="0" y="10000"/>
                </a:lnTo>
                <a:cubicBezTo>
                  <a:pt x="143" y="8479"/>
                  <a:pt x="285" y="6957"/>
                  <a:pt x="428" y="5436"/>
                </a:cubicBezTo>
                <a:lnTo>
                  <a:pt x="1083" y="3737"/>
                </a:lnTo>
                <a:lnTo>
                  <a:pt x="2772" y="3370"/>
                </a:ln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grpSp>
        <p:nvGrpSpPr>
          <p:cNvPr id="50" name="Am"/>
          <p:cNvGrpSpPr>
            <a:grpSpLocks/>
          </p:cNvGrpSpPr>
          <p:nvPr/>
        </p:nvGrpSpPr>
        <p:grpSpPr bwMode="auto">
          <a:xfrm rot="712744">
            <a:off x="5339298" y="3478563"/>
            <a:ext cx="690458" cy="800203"/>
            <a:chOff x="2287936" y="3796326"/>
            <a:chExt cx="143" cy="227"/>
          </a:xfrm>
          <a:solidFill>
            <a:srgbClr val="FAFAFA"/>
          </a:solidFill>
          <a:effectLst/>
        </p:grpSpPr>
        <p:sp>
          <p:nvSpPr>
            <p:cNvPr id="55" name="2aD"/>
            <p:cNvSpPr>
              <a:spLocks/>
            </p:cNvSpPr>
            <p:nvPr/>
          </p:nvSpPr>
          <p:spPr bwMode="auto">
            <a:xfrm>
              <a:off x="2287936" y="3796326"/>
              <a:ext cx="88" cy="168"/>
            </a:xfrm>
            <a:custGeom>
              <a:avLst/>
              <a:gdLst>
                <a:gd name="T0" fmla="*/ 55 w 77"/>
                <a:gd name="T1" fmla="*/ 160 h 160"/>
                <a:gd name="T2" fmla="*/ 30 w 77"/>
                <a:gd name="T3" fmla="*/ 153 h 160"/>
                <a:gd name="T4" fmla="*/ 9 w 77"/>
                <a:gd name="T5" fmla="*/ 142 h 160"/>
                <a:gd name="T6" fmla="*/ 10 w 77"/>
                <a:gd name="T7" fmla="*/ 130 h 160"/>
                <a:gd name="T8" fmla="*/ 11 w 77"/>
                <a:gd name="T9" fmla="*/ 122 h 160"/>
                <a:gd name="T10" fmla="*/ 6 w 77"/>
                <a:gd name="T11" fmla="*/ 114 h 160"/>
                <a:gd name="T12" fmla="*/ 4 w 77"/>
                <a:gd name="T13" fmla="*/ 108 h 160"/>
                <a:gd name="T14" fmla="*/ 12 w 77"/>
                <a:gd name="T15" fmla="*/ 98 h 160"/>
                <a:gd name="T16" fmla="*/ 3 w 77"/>
                <a:gd name="T17" fmla="*/ 89 h 160"/>
                <a:gd name="T18" fmla="*/ 0 w 77"/>
                <a:gd name="T19" fmla="*/ 66 h 160"/>
                <a:gd name="T20" fmla="*/ 7 w 77"/>
                <a:gd name="T21" fmla="*/ 62 h 160"/>
                <a:gd name="T22" fmla="*/ 7 w 77"/>
                <a:gd name="T23" fmla="*/ 43 h 160"/>
                <a:gd name="T24" fmla="*/ 2 w 77"/>
                <a:gd name="T25" fmla="*/ 38 h 160"/>
                <a:gd name="T26" fmla="*/ 8 w 77"/>
                <a:gd name="T27" fmla="*/ 33 h 160"/>
                <a:gd name="T28" fmla="*/ 28 w 77"/>
                <a:gd name="T29" fmla="*/ 33 h 160"/>
                <a:gd name="T30" fmla="*/ 34 w 77"/>
                <a:gd name="T31" fmla="*/ 26 h 160"/>
                <a:gd name="T32" fmla="*/ 33 w 77"/>
                <a:gd name="T33" fmla="*/ 1 h 160"/>
                <a:gd name="T34" fmla="*/ 40 w 77"/>
                <a:gd name="T35" fmla="*/ 0 h 160"/>
                <a:gd name="T36" fmla="*/ 49 w 77"/>
                <a:gd name="T37" fmla="*/ 10 h 160"/>
                <a:gd name="T38" fmla="*/ 61 w 77"/>
                <a:gd name="T39" fmla="*/ 0 h 160"/>
                <a:gd name="T40" fmla="*/ 67 w 77"/>
                <a:gd name="T41" fmla="*/ 18 h 160"/>
                <a:gd name="T42" fmla="*/ 62 w 77"/>
                <a:gd name="T43" fmla="*/ 35 h 160"/>
                <a:gd name="T44" fmla="*/ 62 w 77"/>
                <a:gd name="T45" fmla="*/ 48 h 160"/>
                <a:gd name="T46" fmla="*/ 75 w 77"/>
                <a:gd name="T47" fmla="*/ 48 h 160"/>
                <a:gd name="T48" fmla="*/ 62 w 77"/>
                <a:gd name="T49" fmla="*/ 59 h 160"/>
                <a:gd name="T50" fmla="*/ 68 w 77"/>
                <a:gd name="T51" fmla="*/ 67 h 160"/>
                <a:gd name="T52" fmla="*/ 57 w 77"/>
                <a:gd name="T53" fmla="*/ 80 h 160"/>
                <a:gd name="T54" fmla="*/ 51 w 77"/>
                <a:gd name="T55" fmla="*/ 85 h 160"/>
                <a:gd name="T56" fmla="*/ 55 w 77"/>
                <a:gd name="T57" fmla="*/ 102 h 160"/>
                <a:gd name="T58" fmla="*/ 62 w 77"/>
                <a:gd name="T59" fmla="*/ 104 h 160"/>
                <a:gd name="T60" fmla="*/ 60 w 77"/>
                <a:gd name="T61" fmla="*/ 114 h 160"/>
                <a:gd name="T62" fmla="*/ 76 w 77"/>
                <a:gd name="T63" fmla="*/ 115 h 160"/>
                <a:gd name="T64" fmla="*/ 77 w 77"/>
                <a:gd name="T65" fmla="*/ 137 h 160"/>
                <a:gd name="T66" fmla="*/ 71 w 77"/>
                <a:gd name="T67" fmla="*/ 145 h 160"/>
                <a:gd name="T68" fmla="*/ 68 w 77"/>
                <a:gd name="T69" fmla="*/ 136 h 160"/>
                <a:gd name="T70" fmla="*/ 59 w 77"/>
                <a:gd name="T71" fmla="*/ 139 h 160"/>
                <a:gd name="T72" fmla="*/ 63 w 77"/>
                <a:gd name="T73" fmla="*/ 148 h 160"/>
                <a:gd name="T74" fmla="*/ 55 w 77"/>
                <a:gd name="T75" fmla="*/ 160 h 16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7"/>
                <a:gd name="T115" fmla="*/ 0 h 160"/>
                <a:gd name="T116" fmla="*/ 77 w 77"/>
                <a:gd name="T117" fmla="*/ 160 h 160"/>
                <a:gd name="connsiteX0" fmla="*/ 7143 w 10000"/>
                <a:gd name="connsiteY0" fmla="*/ 10000 h 10000"/>
                <a:gd name="connsiteX1" fmla="*/ 3896 w 10000"/>
                <a:gd name="connsiteY1" fmla="*/ 9563 h 10000"/>
                <a:gd name="connsiteX2" fmla="*/ 1169 w 10000"/>
                <a:gd name="connsiteY2" fmla="*/ 8875 h 10000"/>
                <a:gd name="connsiteX3" fmla="*/ 1299 w 10000"/>
                <a:gd name="connsiteY3" fmla="*/ 8125 h 10000"/>
                <a:gd name="connsiteX4" fmla="*/ 1429 w 10000"/>
                <a:gd name="connsiteY4" fmla="*/ 7625 h 10000"/>
                <a:gd name="connsiteX5" fmla="*/ 779 w 10000"/>
                <a:gd name="connsiteY5" fmla="*/ 7125 h 10000"/>
                <a:gd name="connsiteX6" fmla="*/ 519 w 10000"/>
                <a:gd name="connsiteY6" fmla="*/ 6750 h 10000"/>
                <a:gd name="connsiteX7" fmla="*/ 1558 w 10000"/>
                <a:gd name="connsiteY7" fmla="*/ 6125 h 10000"/>
                <a:gd name="connsiteX8" fmla="*/ 390 w 10000"/>
                <a:gd name="connsiteY8" fmla="*/ 5563 h 10000"/>
                <a:gd name="connsiteX9" fmla="*/ 0 w 10000"/>
                <a:gd name="connsiteY9" fmla="*/ 4125 h 10000"/>
                <a:gd name="connsiteX10" fmla="*/ 909 w 10000"/>
                <a:gd name="connsiteY10" fmla="*/ 3875 h 10000"/>
                <a:gd name="connsiteX11" fmla="*/ 909 w 10000"/>
                <a:gd name="connsiteY11" fmla="*/ 2688 h 10000"/>
                <a:gd name="connsiteX12" fmla="*/ 260 w 10000"/>
                <a:gd name="connsiteY12" fmla="*/ 2375 h 10000"/>
                <a:gd name="connsiteX13" fmla="*/ 1039 w 10000"/>
                <a:gd name="connsiteY13" fmla="*/ 2063 h 10000"/>
                <a:gd name="connsiteX14" fmla="*/ 3636 w 10000"/>
                <a:gd name="connsiteY14" fmla="*/ 2063 h 10000"/>
                <a:gd name="connsiteX15" fmla="*/ 4416 w 10000"/>
                <a:gd name="connsiteY15" fmla="*/ 1625 h 10000"/>
                <a:gd name="connsiteX16" fmla="*/ 4286 w 10000"/>
                <a:gd name="connsiteY16" fmla="*/ 63 h 10000"/>
                <a:gd name="connsiteX17" fmla="*/ 5195 w 10000"/>
                <a:gd name="connsiteY17" fmla="*/ 0 h 10000"/>
                <a:gd name="connsiteX18" fmla="*/ 6364 w 10000"/>
                <a:gd name="connsiteY18" fmla="*/ 625 h 10000"/>
                <a:gd name="connsiteX19" fmla="*/ 7922 w 10000"/>
                <a:gd name="connsiteY19" fmla="*/ 0 h 10000"/>
                <a:gd name="connsiteX20" fmla="*/ 8701 w 10000"/>
                <a:gd name="connsiteY20" fmla="*/ 1125 h 10000"/>
                <a:gd name="connsiteX21" fmla="*/ 8052 w 10000"/>
                <a:gd name="connsiteY21" fmla="*/ 2188 h 10000"/>
                <a:gd name="connsiteX22" fmla="*/ 8052 w 10000"/>
                <a:gd name="connsiteY22" fmla="*/ 3000 h 10000"/>
                <a:gd name="connsiteX23" fmla="*/ 9740 w 10000"/>
                <a:gd name="connsiteY23" fmla="*/ 3000 h 10000"/>
                <a:gd name="connsiteX24" fmla="*/ 8052 w 10000"/>
                <a:gd name="connsiteY24" fmla="*/ 3688 h 10000"/>
                <a:gd name="connsiteX25" fmla="*/ 8831 w 10000"/>
                <a:gd name="connsiteY25" fmla="*/ 4188 h 10000"/>
                <a:gd name="connsiteX26" fmla="*/ 7403 w 10000"/>
                <a:gd name="connsiteY26" fmla="*/ 5000 h 10000"/>
                <a:gd name="connsiteX27" fmla="*/ 7740 w 10000"/>
                <a:gd name="connsiteY27" fmla="*/ 6033 h 10000"/>
                <a:gd name="connsiteX28" fmla="*/ 7143 w 10000"/>
                <a:gd name="connsiteY28" fmla="*/ 6375 h 10000"/>
                <a:gd name="connsiteX29" fmla="*/ 8052 w 10000"/>
                <a:gd name="connsiteY29" fmla="*/ 6500 h 10000"/>
                <a:gd name="connsiteX30" fmla="*/ 7792 w 10000"/>
                <a:gd name="connsiteY30" fmla="*/ 7125 h 10000"/>
                <a:gd name="connsiteX31" fmla="*/ 9870 w 10000"/>
                <a:gd name="connsiteY31" fmla="*/ 7188 h 10000"/>
                <a:gd name="connsiteX32" fmla="*/ 10000 w 10000"/>
                <a:gd name="connsiteY32" fmla="*/ 8563 h 10000"/>
                <a:gd name="connsiteX33" fmla="*/ 9221 w 10000"/>
                <a:gd name="connsiteY33" fmla="*/ 9063 h 10000"/>
                <a:gd name="connsiteX34" fmla="*/ 8831 w 10000"/>
                <a:gd name="connsiteY34" fmla="*/ 8500 h 10000"/>
                <a:gd name="connsiteX35" fmla="*/ 7662 w 10000"/>
                <a:gd name="connsiteY35" fmla="*/ 8688 h 10000"/>
                <a:gd name="connsiteX36" fmla="*/ 8182 w 10000"/>
                <a:gd name="connsiteY36" fmla="*/ 9250 h 10000"/>
                <a:gd name="connsiteX37" fmla="*/ 7143 w 10000"/>
                <a:gd name="connsiteY37" fmla="*/ 10000 h 10000"/>
                <a:gd name="connsiteX0" fmla="*/ 7143 w 10000"/>
                <a:gd name="connsiteY0" fmla="*/ 10000 h 10000"/>
                <a:gd name="connsiteX1" fmla="*/ 3896 w 10000"/>
                <a:gd name="connsiteY1" fmla="*/ 9563 h 10000"/>
                <a:gd name="connsiteX2" fmla="*/ 1169 w 10000"/>
                <a:gd name="connsiteY2" fmla="*/ 8875 h 10000"/>
                <a:gd name="connsiteX3" fmla="*/ 1299 w 10000"/>
                <a:gd name="connsiteY3" fmla="*/ 8125 h 10000"/>
                <a:gd name="connsiteX4" fmla="*/ 1429 w 10000"/>
                <a:gd name="connsiteY4" fmla="*/ 7625 h 10000"/>
                <a:gd name="connsiteX5" fmla="*/ 779 w 10000"/>
                <a:gd name="connsiteY5" fmla="*/ 7125 h 10000"/>
                <a:gd name="connsiteX6" fmla="*/ 519 w 10000"/>
                <a:gd name="connsiteY6" fmla="*/ 6750 h 10000"/>
                <a:gd name="connsiteX7" fmla="*/ 1558 w 10000"/>
                <a:gd name="connsiteY7" fmla="*/ 6125 h 10000"/>
                <a:gd name="connsiteX8" fmla="*/ 390 w 10000"/>
                <a:gd name="connsiteY8" fmla="*/ 5563 h 10000"/>
                <a:gd name="connsiteX9" fmla="*/ 0 w 10000"/>
                <a:gd name="connsiteY9" fmla="*/ 4125 h 10000"/>
                <a:gd name="connsiteX10" fmla="*/ 909 w 10000"/>
                <a:gd name="connsiteY10" fmla="*/ 3875 h 10000"/>
                <a:gd name="connsiteX11" fmla="*/ 909 w 10000"/>
                <a:gd name="connsiteY11" fmla="*/ 2688 h 10000"/>
                <a:gd name="connsiteX12" fmla="*/ 260 w 10000"/>
                <a:gd name="connsiteY12" fmla="*/ 2375 h 10000"/>
                <a:gd name="connsiteX13" fmla="*/ 1039 w 10000"/>
                <a:gd name="connsiteY13" fmla="*/ 2063 h 10000"/>
                <a:gd name="connsiteX14" fmla="*/ 3636 w 10000"/>
                <a:gd name="connsiteY14" fmla="*/ 2063 h 10000"/>
                <a:gd name="connsiteX15" fmla="*/ 4416 w 10000"/>
                <a:gd name="connsiteY15" fmla="*/ 1625 h 10000"/>
                <a:gd name="connsiteX16" fmla="*/ 4286 w 10000"/>
                <a:gd name="connsiteY16" fmla="*/ 63 h 10000"/>
                <a:gd name="connsiteX17" fmla="*/ 5195 w 10000"/>
                <a:gd name="connsiteY17" fmla="*/ 0 h 10000"/>
                <a:gd name="connsiteX18" fmla="*/ 6364 w 10000"/>
                <a:gd name="connsiteY18" fmla="*/ 625 h 10000"/>
                <a:gd name="connsiteX19" fmla="*/ 7922 w 10000"/>
                <a:gd name="connsiteY19" fmla="*/ 0 h 10000"/>
                <a:gd name="connsiteX20" fmla="*/ 8701 w 10000"/>
                <a:gd name="connsiteY20" fmla="*/ 1125 h 10000"/>
                <a:gd name="connsiteX21" fmla="*/ 8052 w 10000"/>
                <a:gd name="connsiteY21" fmla="*/ 2188 h 10000"/>
                <a:gd name="connsiteX22" fmla="*/ 8052 w 10000"/>
                <a:gd name="connsiteY22" fmla="*/ 3000 h 10000"/>
                <a:gd name="connsiteX23" fmla="*/ 9740 w 10000"/>
                <a:gd name="connsiteY23" fmla="*/ 3000 h 10000"/>
                <a:gd name="connsiteX24" fmla="*/ 8052 w 10000"/>
                <a:gd name="connsiteY24" fmla="*/ 3688 h 10000"/>
                <a:gd name="connsiteX25" fmla="*/ 8831 w 10000"/>
                <a:gd name="connsiteY25" fmla="*/ 4188 h 10000"/>
                <a:gd name="connsiteX26" fmla="*/ 8393 w 10000"/>
                <a:gd name="connsiteY26" fmla="*/ 5505 h 10000"/>
                <a:gd name="connsiteX27" fmla="*/ 7740 w 10000"/>
                <a:gd name="connsiteY27" fmla="*/ 6033 h 10000"/>
                <a:gd name="connsiteX28" fmla="*/ 7143 w 10000"/>
                <a:gd name="connsiteY28" fmla="*/ 6375 h 10000"/>
                <a:gd name="connsiteX29" fmla="*/ 8052 w 10000"/>
                <a:gd name="connsiteY29" fmla="*/ 6500 h 10000"/>
                <a:gd name="connsiteX30" fmla="*/ 7792 w 10000"/>
                <a:gd name="connsiteY30" fmla="*/ 7125 h 10000"/>
                <a:gd name="connsiteX31" fmla="*/ 9870 w 10000"/>
                <a:gd name="connsiteY31" fmla="*/ 7188 h 10000"/>
                <a:gd name="connsiteX32" fmla="*/ 10000 w 10000"/>
                <a:gd name="connsiteY32" fmla="*/ 8563 h 10000"/>
                <a:gd name="connsiteX33" fmla="*/ 9221 w 10000"/>
                <a:gd name="connsiteY33" fmla="*/ 9063 h 10000"/>
                <a:gd name="connsiteX34" fmla="*/ 8831 w 10000"/>
                <a:gd name="connsiteY34" fmla="*/ 8500 h 10000"/>
                <a:gd name="connsiteX35" fmla="*/ 7662 w 10000"/>
                <a:gd name="connsiteY35" fmla="*/ 8688 h 10000"/>
                <a:gd name="connsiteX36" fmla="*/ 8182 w 10000"/>
                <a:gd name="connsiteY36" fmla="*/ 9250 h 10000"/>
                <a:gd name="connsiteX37" fmla="*/ 7143 w 10000"/>
                <a:gd name="connsiteY37" fmla="*/ 10000 h 10000"/>
                <a:gd name="connsiteX0" fmla="*/ 7143 w 10000"/>
                <a:gd name="connsiteY0" fmla="*/ 10000 h 10000"/>
                <a:gd name="connsiteX1" fmla="*/ 3896 w 10000"/>
                <a:gd name="connsiteY1" fmla="*/ 9563 h 10000"/>
                <a:gd name="connsiteX2" fmla="*/ 1169 w 10000"/>
                <a:gd name="connsiteY2" fmla="*/ 8875 h 10000"/>
                <a:gd name="connsiteX3" fmla="*/ 1299 w 10000"/>
                <a:gd name="connsiteY3" fmla="*/ 8125 h 10000"/>
                <a:gd name="connsiteX4" fmla="*/ 1429 w 10000"/>
                <a:gd name="connsiteY4" fmla="*/ 7625 h 10000"/>
                <a:gd name="connsiteX5" fmla="*/ 779 w 10000"/>
                <a:gd name="connsiteY5" fmla="*/ 7125 h 10000"/>
                <a:gd name="connsiteX6" fmla="*/ 519 w 10000"/>
                <a:gd name="connsiteY6" fmla="*/ 6750 h 10000"/>
                <a:gd name="connsiteX7" fmla="*/ 1558 w 10000"/>
                <a:gd name="connsiteY7" fmla="*/ 6125 h 10000"/>
                <a:gd name="connsiteX8" fmla="*/ 390 w 10000"/>
                <a:gd name="connsiteY8" fmla="*/ 5563 h 10000"/>
                <a:gd name="connsiteX9" fmla="*/ 0 w 10000"/>
                <a:gd name="connsiteY9" fmla="*/ 4125 h 10000"/>
                <a:gd name="connsiteX10" fmla="*/ 909 w 10000"/>
                <a:gd name="connsiteY10" fmla="*/ 3875 h 10000"/>
                <a:gd name="connsiteX11" fmla="*/ 909 w 10000"/>
                <a:gd name="connsiteY11" fmla="*/ 2688 h 10000"/>
                <a:gd name="connsiteX12" fmla="*/ 260 w 10000"/>
                <a:gd name="connsiteY12" fmla="*/ 2375 h 10000"/>
                <a:gd name="connsiteX13" fmla="*/ 1039 w 10000"/>
                <a:gd name="connsiteY13" fmla="*/ 2063 h 10000"/>
                <a:gd name="connsiteX14" fmla="*/ 3636 w 10000"/>
                <a:gd name="connsiteY14" fmla="*/ 2063 h 10000"/>
                <a:gd name="connsiteX15" fmla="*/ 2711 w 10000"/>
                <a:gd name="connsiteY15" fmla="*/ 666 h 10000"/>
                <a:gd name="connsiteX16" fmla="*/ 4286 w 10000"/>
                <a:gd name="connsiteY16" fmla="*/ 63 h 10000"/>
                <a:gd name="connsiteX17" fmla="*/ 5195 w 10000"/>
                <a:gd name="connsiteY17" fmla="*/ 0 h 10000"/>
                <a:gd name="connsiteX18" fmla="*/ 6364 w 10000"/>
                <a:gd name="connsiteY18" fmla="*/ 625 h 10000"/>
                <a:gd name="connsiteX19" fmla="*/ 7922 w 10000"/>
                <a:gd name="connsiteY19" fmla="*/ 0 h 10000"/>
                <a:gd name="connsiteX20" fmla="*/ 8701 w 10000"/>
                <a:gd name="connsiteY20" fmla="*/ 1125 h 10000"/>
                <a:gd name="connsiteX21" fmla="*/ 8052 w 10000"/>
                <a:gd name="connsiteY21" fmla="*/ 2188 h 10000"/>
                <a:gd name="connsiteX22" fmla="*/ 8052 w 10000"/>
                <a:gd name="connsiteY22" fmla="*/ 3000 h 10000"/>
                <a:gd name="connsiteX23" fmla="*/ 9740 w 10000"/>
                <a:gd name="connsiteY23" fmla="*/ 3000 h 10000"/>
                <a:gd name="connsiteX24" fmla="*/ 8052 w 10000"/>
                <a:gd name="connsiteY24" fmla="*/ 3688 h 10000"/>
                <a:gd name="connsiteX25" fmla="*/ 8831 w 10000"/>
                <a:gd name="connsiteY25" fmla="*/ 4188 h 10000"/>
                <a:gd name="connsiteX26" fmla="*/ 8393 w 10000"/>
                <a:gd name="connsiteY26" fmla="*/ 5505 h 10000"/>
                <a:gd name="connsiteX27" fmla="*/ 7740 w 10000"/>
                <a:gd name="connsiteY27" fmla="*/ 6033 h 10000"/>
                <a:gd name="connsiteX28" fmla="*/ 7143 w 10000"/>
                <a:gd name="connsiteY28" fmla="*/ 6375 h 10000"/>
                <a:gd name="connsiteX29" fmla="*/ 8052 w 10000"/>
                <a:gd name="connsiteY29" fmla="*/ 6500 h 10000"/>
                <a:gd name="connsiteX30" fmla="*/ 7792 w 10000"/>
                <a:gd name="connsiteY30" fmla="*/ 7125 h 10000"/>
                <a:gd name="connsiteX31" fmla="*/ 9870 w 10000"/>
                <a:gd name="connsiteY31" fmla="*/ 7188 h 10000"/>
                <a:gd name="connsiteX32" fmla="*/ 10000 w 10000"/>
                <a:gd name="connsiteY32" fmla="*/ 8563 h 10000"/>
                <a:gd name="connsiteX33" fmla="*/ 9221 w 10000"/>
                <a:gd name="connsiteY33" fmla="*/ 9063 h 10000"/>
                <a:gd name="connsiteX34" fmla="*/ 8831 w 10000"/>
                <a:gd name="connsiteY34" fmla="*/ 8500 h 10000"/>
                <a:gd name="connsiteX35" fmla="*/ 7662 w 10000"/>
                <a:gd name="connsiteY35" fmla="*/ 8688 h 10000"/>
                <a:gd name="connsiteX36" fmla="*/ 8182 w 10000"/>
                <a:gd name="connsiteY36" fmla="*/ 9250 h 10000"/>
                <a:gd name="connsiteX37" fmla="*/ 7143 w 10000"/>
                <a:gd name="connsiteY37" fmla="*/ 10000 h 10000"/>
                <a:gd name="connsiteX0" fmla="*/ 7143 w 10000"/>
                <a:gd name="connsiteY0" fmla="*/ 10000 h 10000"/>
                <a:gd name="connsiteX1" fmla="*/ 3896 w 10000"/>
                <a:gd name="connsiteY1" fmla="*/ 9563 h 10000"/>
                <a:gd name="connsiteX2" fmla="*/ 1169 w 10000"/>
                <a:gd name="connsiteY2" fmla="*/ 8875 h 10000"/>
                <a:gd name="connsiteX3" fmla="*/ 1299 w 10000"/>
                <a:gd name="connsiteY3" fmla="*/ 8125 h 10000"/>
                <a:gd name="connsiteX4" fmla="*/ 1429 w 10000"/>
                <a:gd name="connsiteY4" fmla="*/ 7625 h 10000"/>
                <a:gd name="connsiteX5" fmla="*/ 779 w 10000"/>
                <a:gd name="connsiteY5" fmla="*/ 7125 h 10000"/>
                <a:gd name="connsiteX6" fmla="*/ 519 w 10000"/>
                <a:gd name="connsiteY6" fmla="*/ 6750 h 10000"/>
                <a:gd name="connsiteX7" fmla="*/ 1558 w 10000"/>
                <a:gd name="connsiteY7" fmla="*/ 6125 h 10000"/>
                <a:gd name="connsiteX8" fmla="*/ 390 w 10000"/>
                <a:gd name="connsiteY8" fmla="*/ 5563 h 10000"/>
                <a:gd name="connsiteX9" fmla="*/ 0 w 10000"/>
                <a:gd name="connsiteY9" fmla="*/ 4125 h 10000"/>
                <a:gd name="connsiteX10" fmla="*/ 909 w 10000"/>
                <a:gd name="connsiteY10" fmla="*/ 3875 h 10000"/>
                <a:gd name="connsiteX11" fmla="*/ 909 w 10000"/>
                <a:gd name="connsiteY11" fmla="*/ 2688 h 10000"/>
                <a:gd name="connsiteX12" fmla="*/ 260 w 10000"/>
                <a:gd name="connsiteY12" fmla="*/ 2375 h 10000"/>
                <a:gd name="connsiteX13" fmla="*/ 1039 w 10000"/>
                <a:gd name="connsiteY13" fmla="*/ 2063 h 10000"/>
                <a:gd name="connsiteX14" fmla="*/ 3110 w 10000"/>
                <a:gd name="connsiteY14" fmla="*/ 1815 h 10000"/>
                <a:gd name="connsiteX15" fmla="*/ 2711 w 10000"/>
                <a:gd name="connsiteY15" fmla="*/ 666 h 10000"/>
                <a:gd name="connsiteX16" fmla="*/ 4286 w 10000"/>
                <a:gd name="connsiteY16" fmla="*/ 63 h 10000"/>
                <a:gd name="connsiteX17" fmla="*/ 5195 w 10000"/>
                <a:gd name="connsiteY17" fmla="*/ 0 h 10000"/>
                <a:gd name="connsiteX18" fmla="*/ 6364 w 10000"/>
                <a:gd name="connsiteY18" fmla="*/ 625 h 10000"/>
                <a:gd name="connsiteX19" fmla="*/ 7922 w 10000"/>
                <a:gd name="connsiteY19" fmla="*/ 0 h 10000"/>
                <a:gd name="connsiteX20" fmla="*/ 8701 w 10000"/>
                <a:gd name="connsiteY20" fmla="*/ 1125 h 10000"/>
                <a:gd name="connsiteX21" fmla="*/ 8052 w 10000"/>
                <a:gd name="connsiteY21" fmla="*/ 2188 h 10000"/>
                <a:gd name="connsiteX22" fmla="*/ 8052 w 10000"/>
                <a:gd name="connsiteY22" fmla="*/ 3000 h 10000"/>
                <a:gd name="connsiteX23" fmla="*/ 9740 w 10000"/>
                <a:gd name="connsiteY23" fmla="*/ 3000 h 10000"/>
                <a:gd name="connsiteX24" fmla="*/ 8052 w 10000"/>
                <a:gd name="connsiteY24" fmla="*/ 3688 h 10000"/>
                <a:gd name="connsiteX25" fmla="*/ 8831 w 10000"/>
                <a:gd name="connsiteY25" fmla="*/ 4188 h 10000"/>
                <a:gd name="connsiteX26" fmla="*/ 8393 w 10000"/>
                <a:gd name="connsiteY26" fmla="*/ 5505 h 10000"/>
                <a:gd name="connsiteX27" fmla="*/ 7740 w 10000"/>
                <a:gd name="connsiteY27" fmla="*/ 6033 h 10000"/>
                <a:gd name="connsiteX28" fmla="*/ 7143 w 10000"/>
                <a:gd name="connsiteY28" fmla="*/ 6375 h 10000"/>
                <a:gd name="connsiteX29" fmla="*/ 8052 w 10000"/>
                <a:gd name="connsiteY29" fmla="*/ 6500 h 10000"/>
                <a:gd name="connsiteX30" fmla="*/ 7792 w 10000"/>
                <a:gd name="connsiteY30" fmla="*/ 7125 h 10000"/>
                <a:gd name="connsiteX31" fmla="*/ 9870 w 10000"/>
                <a:gd name="connsiteY31" fmla="*/ 7188 h 10000"/>
                <a:gd name="connsiteX32" fmla="*/ 10000 w 10000"/>
                <a:gd name="connsiteY32" fmla="*/ 8563 h 10000"/>
                <a:gd name="connsiteX33" fmla="*/ 9221 w 10000"/>
                <a:gd name="connsiteY33" fmla="*/ 9063 h 10000"/>
                <a:gd name="connsiteX34" fmla="*/ 8831 w 10000"/>
                <a:gd name="connsiteY34" fmla="*/ 8500 h 10000"/>
                <a:gd name="connsiteX35" fmla="*/ 7662 w 10000"/>
                <a:gd name="connsiteY35" fmla="*/ 8688 h 10000"/>
                <a:gd name="connsiteX36" fmla="*/ 8182 w 10000"/>
                <a:gd name="connsiteY36" fmla="*/ 9250 h 10000"/>
                <a:gd name="connsiteX37" fmla="*/ 7143 w 10000"/>
                <a:gd name="connsiteY37" fmla="*/ 10000 h 10000"/>
                <a:gd name="connsiteX0" fmla="*/ 7143 w 10000"/>
                <a:gd name="connsiteY0" fmla="*/ 11300 h 11300"/>
                <a:gd name="connsiteX1" fmla="*/ 3896 w 10000"/>
                <a:gd name="connsiteY1" fmla="*/ 10863 h 11300"/>
                <a:gd name="connsiteX2" fmla="*/ 1169 w 10000"/>
                <a:gd name="connsiteY2" fmla="*/ 10175 h 11300"/>
                <a:gd name="connsiteX3" fmla="*/ 1299 w 10000"/>
                <a:gd name="connsiteY3" fmla="*/ 9425 h 11300"/>
                <a:gd name="connsiteX4" fmla="*/ 1429 w 10000"/>
                <a:gd name="connsiteY4" fmla="*/ 8925 h 11300"/>
                <a:gd name="connsiteX5" fmla="*/ 779 w 10000"/>
                <a:gd name="connsiteY5" fmla="*/ 8425 h 11300"/>
                <a:gd name="connsiteX6" fmla="*/ 519 w 10000"/>
                <a:gd name="connsiteY6" fmla="*/ 8050 h 11300"/>
                <a:gd name="connsiteX7" fmla="*/ 1558 w 10000"/>
                <a:gd name="connsiteY7" fmla="*/ 7425 h 11300"/>
                <a:gd name="connsiteX8" fmla="*/ 390 w 10000"/>
                <a:gd name="connsiteY8" fmla="*/ 6863 h 11300"/>
                <a:gd name="connsiteX9" fmla="*/ 0 w 10000"/>
                <a:gd name="connsiteY9" fmla="*/ 5425 h 11300"/>
                <a:gd name="connsiteX10" fmla="*/ 909 w 10000"/>
                <a:gd name="connsiteY10" fmla="*/ 5175 h 11300"/>
                <a:gd name="connsiteX11" fmla="*/ 909 w 10000"/>
                <a:gd name="connsiteY11" fmla="*/ 3988 h 11300"/>
                <a:gd name="connsiteX12" fmla="*/ 260 w 10000"/>
                <a:gd name="connsiteY12" fmla="*/ 3675 h 11300"/>
                <a:gd name="connsiteX13" fmla="*/ 1039 w 10000"/>
                <a:gd name="connsiteY13" fmla="*/ 3363 h 11300"/>
                <a:gd name="connsiteX14" fmla="*/ 3110 w 10000"/>
                <a:gd name="connsiteY14" fmla="*/ 3115 h 11300"/>
                <a:gd name="connsiteX15" fmla="*/ 2711 w 10000"/>
                <a:gd name="connsiteY15" fmla="*/ 1966 h 11300"/>
                <a:gd name="connsiteX16" fmla="*/ 3695 w 10000"/>
                <a:gd name="connsiteY16" fmla="*/ 0 h 11300"/>
                <a:gd name="connsiteX17" fmla="*/ 5195 w 10000"/>
                <a:gd name="connsiteY17" fmla="*/ 1300 h 11300"/>
                <a:gd name="connsiteX18" fmla="*/ 6364 w 10000"/>
                <a:gd name="connsiteY18" fmla="*/ 1925 h 11300"/>
                <a:gd name="connsiteX19" fmla="*/ 7922 w 10000"/>
                <a:gd name="connsiteY19" fmla="*/ 1300 h 11300"/>
                <a:gd name="connsiteX20" fmla="*/ 8701 w 10000"/>
                <a:gd name="connsiteY20" fmla="*/ 2425 h 11300"/>
                <a:gd name="connsiteX21" fmla="*/ 8052 w 10000"/>
                <a:gd name="connsiteY21" fmla="*/ 3488 h 11300"/>
                <a:gd name="connsiteX22" fmla="*/ 8052 w 10000"/>
                <a:gd name="connsiteY22" fmla="*/ 4300 h 11300"/>
                <a:gd name="connsiteX23" fmla="*/ 9740 w 10000"/>
                <a:gd name="connsiteY23" fmla="*/ 4300 h 11300"/>
                <a:gd name="connsiteX24" fmla="*/ 8052 w 10000"/>
                <a:gd name="connsiteY24" fmla="*/ 4988 h 11300"/>
                <a:gd name="connsiteX25" fmla="*/ 8831 w 10000"/>
                <a:gd name="connsiteY25" fmla="*/ 5488 h 11300"/>
                <a:gd name="connsiteX26" fmla="*/ 8393 w 10000"/>
                <a:gd name="connsiteY26" fmla="*/ 6805 h 11300"/>
                <a:gd name="connsiteX27" fmla="*/ 7740 w 10000"/>
                <a:gd name="connsiteY27" fmla="*/ 7333 h 11300"/>
                <a:gd name="connsiteX28" fmla="*/ 7143 w 10000"/>
                <a:gd name="connsiteY28" fmla="*/ 7675 h 11300"/>
                <a:gd name="connsiteX29" fmla="*/ 8052 w 10000"/>
                <a:gd name="connsiteY29" fmla="*/ 7800 h 11300"/>
                <a:gd name="connsiteX30" fmla="*/ 7792 w 10000"/>
                <a:gd name="connsiteY30" fmla="*/ 8425 h 11300"/>
                <a:gd name="connsiteX31" fmla="*/ 9870 w 10000"/>
                <a:gd name="connsiteY31" fmla="*/ 8488 h 11300"/>
                <a:gd name="connsiteX32" fmla="*/ 10000 w 10000"/>
                <a:gd name="connsiteY32" fmla="*/ 9863 h 11300"/>
                <a:gd name="connsiteX33" fmla="*/ 9221 w 10000"/>
                <a:gd name="connsiteY33" fmla="*/ 10363 h 11300"/>
                <a:gd name="connsiteX34" fmla="*/ 8831 w 10000"/>
                <a:gd name="connsiteY34" fmla="*/ 9800 h 11300"/>
                <a:gd name="connsiteX35" fmla="*/ 7662 w 10000"/>
                <a:gd name="connsiteY35" fmla="*/ 9988 h 11300"/>
                <a:gd name="connsiteX36" fmla="*/ 8182 w 10000"/>
                <a:gd name="connsiteY36" fmla="*/ 10550 h 11300"/>
                <a:gd name="connsiteX37" fmla="*/ 7143 w 10000"/>
                <a:gd name="connsiteY37" fmla="*/ 11300 h 11300"/>
                <a:gd name="connsiteX0" fmla="*/ 7143 w 10000"/>
                <a:gd name="connsiteY0" fmla="*/ 11300 h 11300"/>
                <a:gd name="connsiteX1" fmla="*/ 3896 w 10000"/>
                <a:gd name="connsiteY1" fmla="*/ 10863 h 11300"/>
                <a:gd name="connsiteX2" fmla="*/ 1169 w 10000"/>
                <a:gd name="connsiteY2" fmla="*/ 10175 h 11300"/>
                <a:gd name="connsiteX3" fmla="*/ 1299 w 10000"/>
                <a:gd name="connsiteY3" fmla="*/ 9425 h 11300"/>
                <a:gd name="connsiteX4" fmla="*/ 1429 w 10000"/>
                <a:gd name="connsiteY4" fmla="*/ 8925 h 11300"/>
                <a:gd name="connsiteX5" fmla="*/ 779 w 10000"/>
                <a:gd name="connsiteY5" fmla="*/ 8425 h 11300"/>
                <a:gd name="connsiteX6" fmla="*/ 519 w 10000"/>
                <a:gd name="connsiteY6" fmla="*/ 8050 h 11300"/>
                <a:gd name="connsiteX7" fmla="*/ 1558 w 10000"/>
                <a:gd name="connsiteY7" fmla="*/ 7425 h 11300"/>
                <a:gd name="connsiteX8" fmla="*/ 390 w 10000"/>
                <a:gd name="connsiteY8" fmla="*/ 6863 h 11300"/>
                <a:gd name="connsiteX9" fmla="*/ 0 w 10000"/>
                <a:gd name="connsiteY9" fmla="*/ 5425 h 11300"/>
                <a:gd name="connsiteX10" fmla="*/ 909 w 10000"/>
                <a:gd name="connsiteY10" fmla="*/ 5175 h 11300"/>
                <a:gd name="connsiteX11" fmla="*/ 909 w 10000"/>
                <a:gd name="connsiteY11" fmla="*/ 3988 h 11300"/>
                <a:gd name="connsiteX12" fmla="*/ 260 w 10000"/>
                <a:gd name="connsiteY12" fmla="*/ 3675 h 11300"/>
                <a:gd name="connsiteX13" fmla="*/ 1039 w 10000"/>
                <a:gd name="connsiteY13" fmla="*/ 3363 h 11300"/>
                <a:gd name="connsiteX14" fmla="*/ 3110 w 10000"/>
                <a:gd name="connsiteY14" fmla="*/ 3115 h 11300"/>
                <a:gd name="connsiteX15" fmla="*/ 2711 w 10000"/>
                <a:gd name="connsiteY15" fmla="*/ 1966 h 11300"/>
                <a:gd name="connsiteX16" fmla="*/ 3695 w 10000"/>
                <a:gd name="connsiteY16" fmla="*/ 0 h 11300"/>
                <a:gd name="connsiteX17" fmla="*/ 5195 w 10000"/>
                <a:gd name="connsiteY17" fmla="*/ 1300 h 11300"/>
                <a:gd name="connsiteX18" fmla="*/ 6364 w 10000"/>
                <a:gd name="connsiteY18" fmla="*/ 1925 h 11300"/>
                <a:gd name="connsiteX19" fmla="*/ 7922 w 10000"/>
                <a:gd name="connsiteY19" fmla="*/ 1300 h 11300"/>
                <a:gd name="connsiteX20" fmla="*/ 8701 w 10000"/>
                <a:gd name="connsiteY20" fmla="*/ 2425 h 11300"/>
                <a:gd name="connsiteX21" fmla="*/ 8052 w 10000"/>
                <a:gd name="connsiteY21" fmla="*/ 3488 h 11300"/>
                <a:gd name="connsiteX22" fmla="*/ 8052 w 10000"/>
                <a:gd name="connsiteY22" fmla="*/ 4300 h 11300"/>
                <a:gd name="connsiteX23" fmla="*/ 9740 w 10000"/>
                <a:gd name="connsiteY23" fmla="*/ 4300 h 11300"/>
                <a:gd name="connsiteX24" fmla="*/ 8052 w 10000"/>
                <a:gd name="connsiteY24" fmla="*/ 4988 h 11300"/>
                <a:gd name="connsiteX25" fmla="*/ 8831 w 10000"/>
                <a:gd name="connsiteY25" fmla="*/ 5488 h 11300"/>
                <a:gd name="connsiteX26" fmla="*/ 8393 w 10000"/>
                <a:gd name="connsiteY26" fmla="*/ 6805 h 11300"/>
                <a:gd name="connsiteX27" fmla="*/ 7740 w 10000"/>
                <a:gd name="connsiteY27" fmla="*/ 7333 h 11300"/>
                <a:gd name="connsiteX28" fmla="*/ 7143 w 10000"/>
                <a:gd name="connsiteY28" fmla="*/ 7675 h 11300"/>
                <a:gd name="connsiteX29" fmla="*/ 8052 w 10000"/>
                <a:gd name="connsiteY29" fmla="*/ 7800 h 11300"/>
                <a:gd name="connsiteX30" fmla="*/ 7792 w 10000"/>
                <a:gd name="connsiteY30" fmla="*/ 8425 h 11300"/>
                <a:gd name="connsiteX31" fmla="*/ 9870 w 10000"/>
                <a:gd name="connsiteY31" fmla="*/ 8488 h 11300"/>
                <a:gd name="connsiteX32" fmla="*/ 10000 w 10000"/>
                <a:gd name="connsiteY32" fmla="*/ 9863 h 11300"/>
                <a:gd name="connsiteX33" fmla="*/ 9221 w 10000"/>
                <a:gd name="connsiteY33" fmla="*/ 10363 h 11300"/>
                <a:gd name="connsiteX34" fmla="*/ 8831 w 10000"/>
                <a:gd name="connsiteY34" fmla="*/ 9800 h 11300"/>
                <a:gd name="connsiteX35" fmla="*/ 7662 w 10000"/>
                <a:gd name="connsiteY35" fmla="*/ 9988 h 11300"/>
                <a:gd name="connsiteX36" fmla="*/ 8182 w 10000"/>
                <a:gd name="connsiteY36" fmla="*/ 10550 h 11300"/>
                <a:gd name="connsiteX37" fmla="*/ 7143 w 10000"/>
                <a:gd name="connsiteY37" fmla="*/ 11300 h 11300"/>
                <a:gd name="connsiteX0" fmla="*/ 7143 w 10000"/>
                <a:gd name="connsiteY0" fmla="*/ 10127 h 10127"/>
                <a:gd name="connsiteX1" fmla="*/ 3896 w 10000"/>
                <a:gd name="connsiteY1" fmla="*/ 9690 h 10127"/>
                <a:gd name="connsiteX2" fmla="*/ 1169 w 10000"/>
                <a:gd name="connsiteY2" fmla="*/ 9002 h 10127"/>
                <a:gd name="connsiteX3" fmla="*/ 1299 w 10000"/>
                <a:gd name="connsiteY3" fmla="*/ 8252 h 10127"/>
                <a:gd name="connsiteX4" fmla="*/ 1429 w 10000"/>
                <a:gd name="connsiteY4" fmla="*/ 7752 h 10127"/>
                <a:gd name="connsiteX5" fmla="*/ 779 w 10000"/>
                <a:gd name="connsiteY5" fmla="*/ 7252 h 10127"/>
                <a:gd name="connsiteX6" fmla="*/ 519 w 10000"/>
                <a:gd name="connsiteY6" fmla="*/ 6877 h 10127"/>
                <a:gd name="connsiteX7" fmla="*/ 1558 w 10000"/>
                <a:gd name="connsiteY7" fmla="*/ 6252 h 10127"/>
                <a:gd name="connsiteX8" fmla="*/ 390 w 10000"/>
                <a:gd name="connsiteY8" fmla="*/ 5690 h 10127"/>
                <a:gd name="connsiteX9" fmla="*/ 0 w 10000"/>
                <a:gd name="connsiteY9" fmla="*/ 4252 h 10127"/>
                <a:gd name="connsiteX10" fmla="*/ 909 w 10000"/>
                <a:gd name="connsiteY10" fmla="*/ 4002 h 10127"/>
                <a:gd name="connsiteX11" fmla="*/ 909 w 10000"/>
                <a:gd name="connsiteY11" fmla="*/ 2815 h 10127"/>
                <a:gd name="connsiteX12" fmla="*/ 260 w 10000"/>
                <a:gd name="connsiteY12" fmla="*/ 2502 h 10127"/>
                <a:gd name="connsiteX13" fmla="*/ 1039 w 10000"/>
                <a:gd name="connsiteY13" fmla="*/ 2190 h 10127"/>
                <a:gd name="connsiteX14" fmla="*/ 3110 w 10000"/>
                <a:gd name="connsiteY14" fmla="*/ 1942 h 10127"/>
                <a:gd name="connsiteX15" fmla="*/ 2711 w 10000"/>
                <a:gd name="connsiteY15" fmla="*/ 793 h 10127"/>
                <a:gd name="connsiteX16" fmla="*/ 3972 w 10000"/>
                <a:gd name="connsiteY16" fmla="*/ 0 h 10127"/>
                <a:gd name="connsiteX17" fmla="*/ 5195 w 10000"/>
                <a:gd name="connsiteY17" fmla="*/ 127 h 10127"/>
                <a:gd name="connsiteX18" fmla="*/ 6364 w 10000"/>
                <a:gd name="connsiteY18" fmla="*/ 752 h 10127"/>
                <a:gd name="connsiteX19" fmla="*/ 7922 w 10000"/>
                <a:gd name="connsiteY19" fmla="*/ 127 h 10127"/>
                <a:gd name="connsiteX20" fmla="*/ 8701 w 10000"/>
                <a:gd name="connsiteY20" fmla="*/ 1252 h 10127"/>
                <a:gd name="connsiteX21" fmla="*/ 8052 w 10000"/>
                <a:gd name="connsiteY21" fmla="*/ 2315 h 10127"/>
                <a:gd name="connsiteX22" fmla="*/ 8052 w 10000"/>
                <a:gd name="connsiteY22" fmla="*/ 3127 h 10127"/>
                <a:gd name="connsiteX23" fmla="*/ 9740 w 10000"/>
                <a:gd name="connsiteY23" fmla="*/ 3127 h 10127"/>
                <a:gd name="connsiteX24" fmla="*/ 8052 w 10000"/>
                <a:gd name="connsiteY24" fmla="*/ 3815 h 10127"/>
                <a:gd name="connsiteX25" fmla="*/ 8831 w 10000"/>
                <a:gd name="connsiteY25" fmla="*/ 4315 h 10127"/>
                <a:gd name="connsiteX26" fmla="*/ 8393 w 10000"/>
                <a:gd name="connsiteY26" fmla="*/ 5632 h 10127"/>
                <a:gd name="connsiteX27" fmla="*/ 7740 w 10000"/>
                <a:gd name="connsiteY27" fmla="*/ 6160 h 10127"/>
                <a:gd name="connsiteX28" fmla="*/ 7143 w 10000"/>
                <a:gd name="connsiteY28" fmla="*/ 6502 h 10127"/>
                <a:gd name="connsiteX29" fmla="*/ 8052 w 10000"/>
                <a:gd name="connsiteY29" fmla="*/ 6627 h 10127"/>
                <a:gd name="connsiteX30" fmla="*/ 7792 w 10000"/>
                <a:gd name="connsiteY30" fmla="*/ 7252 h 10127"/>
                <a:gd name="connsiteX31" fmla="*/ 9870 w 10000"/>
                <a:gd name="connsiteY31" fmla="*/ 7315 h 10127"/>
                <a:gd name="connsiteX32" fmla="*/ 10000 w 10000"/>
                <a:gd name="connsiteY32" fmla="*/ 8690 h 10127"/>
                <a:gd name="connsiteX33" fmla="*/ 9221 w 10000"/>
                <a:gd name="connsiteY33" fmla="*/ 9190 h 10127"/>
                <a:gd name="connsiteX34" fmla="*/ 8831 w 10000"/>
                <a:gd name="connsiteY34" fmla="*/ 8627 h 10127"/>
                <a:gd name="connsiteX35" fmla="*/ 7662 w 10000"/>
                <a:gd name="connsiteY35" fmla="*/ 8815 h 10127"/>
                <a:gd name="connsiteX36" fmla="*/ 8182 w 10000"/>
                <a:gd name="connsiteY36" fmla="*/ 9377 h 10127"/>
                <a:gd name="connsiteX37" fmla="*/ 7143 w 10000"/>
                <a:gd name="connsiteY37" fmla="*/ 10127 h 10127"/>
                <a:gd name="connsiteX0" fmla="*/ 7143 w 10000"/>
                <a:gd name="connsiteY0" fmla="*/ 10127 h 10127"/>
                <a:gd name="connsiteX1" fmla="*/ 3896 w 10000"/>
                <a:gd name="connsiteY1" fmla="*/ 9690 h 10127"/>
                <a:gd name="connsiteX2" fmla="*/ 1169 w 10000"/>
                <a:gd name="connsiteY2" fmla="*/ 9002 h 10127"/>
                <a:gd name="connsiteX3" fmla="*/ 1299 w 10000"/>
                <a:gd name="connsiteY3" fmla="*/ 8252 h 10127"/>
                <a:gd name="connsiteX4" fmla="*/ 1429 w 10000"/>
                <a:gd name="connsiteY4" fmla="*/ 7752 h 10127"/>
                <a:gd name="connsiteX5" fmla="*/ 779 w 10000"/>
                <a:gd name="connsiteY5" fmla="*/ 7252 h 10127"/>
                <a:gd name="connsiteX6" fmla="*/ 519 w 10000"/>
                <a:gd name="connsiteY6" fmla="*/ 6877 h 10127"/>
                <a:gd name="connsiteX7" fmla="*/ 1558 w 10000"/>
                <a:gd name="connsiteY7" fmla="*/ 6252 h 10127"/>
                <a:gd name="connsiteX8" fmla="*/ 390 w 10000"/>
                <a:gd name="connsiteY8" fmla="*/ 5690 h 10127"/>
                <a:gd name="connsiteX9" fmla="*/ 0 w 10000"/>
                <a:gd name="connsiteY9" fmla="*/ 4252 h 10127"/>
                <a:gd name="connsiteX10" fmla="*/ 909 w 10000"/>
                <a:gd name="connsiteY10" fmla="*/ 4002 h 10127"/>
                <a:gd name="connsiteX11" fmla="*/ 909 w 10000"/>
                <a:gd name="connsiteY11" fmla="*/ 2815 h 10127"/>
                <a:gd name="connsiteX12" fmla="*/ 260 w 10000"/>
                <a:gd name="connsiteY12" fmla="*/ 2502 h 10127"/>
                <a:gd name="connsiteX13" fmla="*/ 1039 w 10000"/>
                <a:gd name="connsiteY13" fmla="*/ 2190 h 10127"/>
                <a:gd name="connsiteX14" fmla="*/ 3110 w 10000"/>
                <a:gd name="connsiteY14" fmla="*/ 1942 h 10127"/>
                <a:gd name="connsiteX15" fmla="*/ 2711 w 10000"/>
                <a:gd name="connsiteY15" fmla="*/ 793 h 10127"/>
                <a:gd name="connsiteX16" fmla="*/ 3972 w 10000"/>
                <a:gd name="connsiteY16" fmla="*/ 0 h 10127"/>
                <a:gd name="connsiteX17" fmla="*/ 5195 w 10000"/>
                <a:gd name="connsiteY17" fmla="*/ 127 h 10127"/>
                <a:gd name="connsiteX18" fmla="*/ 6364 w 10000"/>
                <a:gd name="connsiteY18" fmla="*/ 752 h 10127"/>
                <a:gd name="connsiteX19" fmla="*/ 7922 w 10000"/>
                <a:gd name="connsiteY19" fmla="*/ 127 h 10127"/>
                <a:gd name="connsiteX20" fmla="*/ 8701 w 10000"/>
                <a:gd name="connsiteY20" fmla="*/ 1252 h 10127"/>
                <a:gd name="connsiteX21" fmla="*/ 8052 w 10000"/>
                <a:gd name="connsiteY21" fmla="*/ 2315 h 10127"/>
                <a:gd name="connsiteX22" fmla="*/ 8052 w 10000"/>
                <a:gd name="connsiteY22" fmla="*/ 3127 h 10127"/>
                <a:gd name="connsiteX23" fmla="*/ 9740 w 10000"/>
                <a:gd name="connsiteY23" fmla="*/ 3127 h 10127"/>
                <a:gd name="connsiteX24" fmla="*/ 8052 w 10000"/>
                <a:gd name="connsiteY24" fmla="*/ 3815 h 10127"/>
                <a:gd name="connsiteX25" fmla="*/ 8831 w 10000"/>
                <a:gd name="connsiteY25" fmla="*/ 4315 h 10127"/>
                <a:gd name="connsiteX26" fmla="*/ 8393 w 10000"/>
                <a:gd name="connsiteY26" fmla="*/ 5632 h 10127"/>
                <a:gd name="connsiteX27" fmla="*/ 7740 w 10000"/>
                <a:gd name="connsiteY27" fmla="*/ 6160 h 10127"/>
                <a:gd name="connsiteX28" fmla="*/ 7143 w 10000"/>
                <a:gd name="connsiteY28" fmla="*/ 6502 h 10127"/>
                <a:gd name="connsiteX29" fmla="*/ 8052 w 10000"/>
                <a:gd name="connsiteY29" fmla="*/ 6627 h 10127"/>
                <a:gd name="connsiteX30" fmla="*/ 7792 w 10000"/>
                <a:gd name="connsiteY30" fmla="*/ 7252 h 10127"/>
                <a:gd name="connsiteX31" fmla="*/ 9870 w 10000"/>
                <a:gd name="connsiteY31" fmla="*/ 7315 h 10127"/>
                <a:gd name="connsiteX32" fmla="*/ 10000 w 10000"/>
                <a:gd name="connsiteY32" fmla="*/ 8690 h 10127"/>
                <a:gd name="connsiteX33" fmla="*/ 9221 w 10000"/>
                <a:gd name="connsiteY33" fmla="*/ 9190 h 10127"/>
                <a:gd name="connsiteX34" fmla="*/ 8831 w 10000"/>
                <a:gd name="connsiteY34" fmla="*/ 8627 h 10127"/>
                <a:gd name="connsiteX35" fmla="*/ 7662 w 10000"/>
                <a:gd name="connsiteY35" fmla="*/ 8815 h 10127"/>
                <a:gd name="connsiteX36" fmla="*/ 8182 w 10000"/>
                <a:gd name="connsiteY36" fmla="*/ 9377 h 10127"/>
                <a:gd name="connsiteX37" fmla="*/ 7143 w 10000"/>
                <a:gd name="connsiteY37" fmla="*/ 10127 h 10127"/>
                <a:gd name="connsiteX0" fmla="*/ 7143 w 10000"/>
                <a:gd name="connsiteY0" fmla="*/ 10127 h 10127"/>
                <a:gd name="connsiteX1" fmla="*/ 2752 w 10000"/>
                <a:gd name="connsiteY1" fmla="*/ 9770 h 10127"/>
                <a:gd name="connsiteX2" fmla="*/ 1169 w 10000"/>
                <a:gd name="connsiteY2" fmla="*/ 9002 h 10127"/>
                <a:gd name="connsiteX3" fmla="*/ 1299 w 10000"/>
                <a:gd name="connsiteY3" fmla="*/ 8252 h 10127"/>
                <a:gd name="connsiteX4" fmla="*/ 1429 w 10000"/>
                <a:gd name="connsiteY4" fmla="*/ 7752 h 10127"/>
                <a:gd name="connsiteX5" fmla="*/ 779 w 10000"/>
                <a:gd name="connsiteY5" fmla="*/ 7252 h 10127"/>
                <a:gd name="connsiteX6" fmla="*/ 519 w 10000"/>
                <a:gd name="connsiteY6" fmla="*/ 6877 h 10127"/>
                <a:gd name="connsiteX7" fmla="*/ 1558 w 10000"/>
                <a:gd name="connsiteY7" fmla="*/ 6252 h 10127"/>
                <a:gd name="connsiteX8" fmla="*/ 390 w 10000"/>
                <a:gd name="connsiteY8" fmla="*/ 5690 h 10127"/>
                <a:gd name="connsiteX9" fmla="*/ 0 w 10000"/>
                <a:gd name="connsiteY9" fmla="*/ 4252 h 10127"/>
                <a:gd name="connsiteX10" fmla="*/ 909 w 10000"/>
                <a:gd name="connsiteY10" fmla="*/ 4002 h 10127"/>
                <a:gd name="connsiteX11" fmla="*/ 909 w 10000"/>
                <a:gd name="connsiteY11" fmla="*/ 2815 h 10127"/>
                <a:gd name="connsiteX12" fmla="*/ 260 w 10000"/>
                <a:gd name="connsiteY12" fmla="*/ 2502 h 10127"/>
                <a:gd name="connsiteX13" fmla="*/ 1039 w 10000"/>
                <a:gd name="connsiteY13" fmla="*/ 2190 h 10127"/>
                <a:gd name="connsiteX14" fmla="*/ 3110 w 10000"/>
                <a:gd name="connsiteY14" fmla="*/ 1942 h 10127"/>
                <a:gd name="connsiteX15" fmla="*/ 2711 w 10000"/>
                <a:gd name="connsiteY15" fmla="*/ 793 h 10127"/>
                <a:gd name="connsiteX16" fmla="*/ 3972 w 10000"/>
                <a:gd name="connsiteY16" fmla="*/ 0 h 10127"/>
                <a:gd name="connsiteX17" fmla="*/ 5195 w 10000"/>
                <a:gd name="connsiteY17" fmla="*/ 127 h 10127"/>
                <a:gd name="connsiteX18" fmla="*/ 6364 w 10000"/>
                <a:gd name="connsiteY18" fmla="*/ 752 h 10127"/>
                <a:gd name="connsiteX19" fmla="*/ 7922 w 10000"/>
                <a:gd name="connsiteY19" fmla="*/ 127 h 10127"/>
                <a:gd name="connsiteX20" fmla="*/ 8701 w 10000"/>
                <a:gd name="connsiteY20" fmla="*/ 1252 h 10127"/>
                <a:gd name="connsiteX21" fmla="*/ 8052 w 10000"/>
                <a:gd name="connsiteY21" fmla="*/ 2315 h 10127"/>
                <a:gd name="connsiteX22" fmla="*/ 8052 w 10000"/>
                <a:gd name="connsiteY22" fmla="*/ 3127 h 10127"/>
                <a:gd name="connsiteX23" fmla="*/ 9740 w 10000"/>
                <a:gd name="connsiteY23" fmla="*/ 3127 h 10127"/>
                <a:gd name="connsiteX24" fmla="*/ 8052 w 10000"/>
                <a:gd name="connsiteY24" fmla="*/ 3815 h 10127"/>
                <a:gd name="connsiteX25" fmla="*/ 8831 w 10000"/>
                <a:gd name="connsiteY25" fmla="*/ 4315 h 10127"/>
                <a:gd name="connsiteX26" fmla="*/ 8393 w 10000"/>
                <a:gd name="connsiteY26" fmla="*/ 5632 h 10127"/>
                <a:gd name="connsiteX27" fmla="*/ 7740 w 10000"/>
                <a:gd name="connsiteY27" fmla="*/ 6160 h 10127"/>
                <a:gd name="connsiteX28" fmla="*/ 7143 w 10000"/>
                <a:gd name="connsiteY28" fmla="*/ 6502 h 10127"/>
                <a:gd name="connsiteX29" fmla="*/ 8052 w 10000"/>
                <a:gd name="connsiteY29" fmla="*/ 6627 h 10127"/>
                <a:gd name="connsiteX30" fmla="*/ 7792 w 10000"/>
                <a:gd name="connsiteY30" fmla="*/ 7252 h 10127"/>
                <a:gd name="connsiteX31" fmla="*/ 9870 w 10000"/>
                <a:gd name="connsiteY31" fmla="*/ 7315 h 10127"/>
                <a:gd name="connsiteX32" fmla="*/ 10000 w 10000"/>
                <a:gd name="connsiteY32" fmla="*/ 8690 h 10127"/>
                <a:gd name="connsiteX33" fmla="*/ 9221 w 10000"/>
                <a:gd name="connsiteY33" fmla="*/ 9190 h 10127"/>
                <a:gd name="connsiteX34" fmla="*/ 8831 w 10000"/>
                <a:gd name="connsiteY34" fmla="*/ 8627 h 10127"/>
                <a:gd name="connsiteX35" fmla="*/ 7662 w 10000"/>
                <a:gd name="connsiteY35" fmla="*/ 8815 h 10127"/>
                <a:gd name="connsiteX36" fmla="*/ 8182 w 10000"/>
                <a:gd name="connsiteY36" fmla="*/ 9377 h 10127"/>
                <a:gd name="connsiteX37" fmla="*/ 7143 w 10000"/>
                <a:gd name="connsiteY37" fmla="*/ 10127 h 10127"/>
                <a:gd name="connsiteX0" fmla="*/ 7143 w 10000"/>
                <a:gd name="connsiteY0" fmla="*/ 10127 h 10127"/>
                <a:gd name="connsiteX1" fmla="*/ 2752 w 10000"/>
                <a:gd name="connsiteY1" fmla="*/ 9770 h 10127"/>
                <a:gd name="connsiteX2" fmla="*/ 1169 w 10000"/>
                <a:gd name="connsiteY2" fmla="*/ 9002 h 10127"/>
                <a:gd name="connsiteX3" fmla="*/ 1299 w 10000"/>
                <a:gd name="connsiteY3" fmla="*/ 8252 h 10127"/>
                <a:gd name="connsiteX4" fmla="*/ 1429 w 10000"/>
                <a:gd name="connsiteY4" fmla="*/ 7752 h 10127"/>
                <a:gd name="connsiteX5" fmla="*/ 779 w 10000"/>
                <a:gd name="connsiteY5" fmla="*/ 7252 h 10127"/>
                <a:gd name="connsiteX6" fmla="*/ 519 w 10000"/>
                <a:gd name="connsiteY6" fmla="*/ 6877 h 10127"/>
                <a:gd name="connsiteX7" fmla="*/ 1558 w 10000"/>
                <a:gd name="connsiteY7" fmla="*/ 6252 h 10127"/>
                <a:gd name="connsiteX8" fmla="*/ 390 w 10000"/>
                <a:gd name="connsiteY8" fmla="*/ 5690 h 10127"/>
                <a:gd name="connsiteX9" fmla="*/ 0 w 10000"/>
                <a:gd name="connsiteY9" fmla="*/ 4252 h 10127"/>
                <a:gd name="connsiteX10" fmla="*/ 909 w 10000"/>
                <a:gd name="connsiteY10" fmla="*/ 4002 h 10127"/>
                <a:gd name="connsiteX11" fmla="*/ 909 w 10000"/>
                <a:gd name="connsiteY11" fmla="*/ 2815 h 10127"/>
                <a:gd name="connsiteX12" fmla="*/ 260 w 10000"/>
                <a:gd name="connsiteY12" fmla="*/ 2502 h 10127"/>
                <a:gd name="connsiteX13" fmla="*/ 1039 w 10000"/>
                <a:gd name="connsiteY13" fmla="*/ 2190 h 10127"/>
                <a:gd name="connsiteX14" fmla="*/ 3110 w 10000"/>
                <a:gd name="connsiteY14" fmla="*/ 1942 h 10127"/>
                <a:gd name="connsiteX15" fmla="*/ 2711 w 10000"/>
                <a:gd name="connsiteY15" fmla="*/ 793 h 10127"/>
                <a:gd name="connsiteX16" fmla="*/ 3972 w 10000"/>
                <a:gd name="connsiteY16" fmla="*/ 0 h 10127"/>
                <a:gd name="connsiteX17" fmla="*/ 5195 w 10000"/>
                <a:gd name="connsiteY17" fmla="*/ 127 h 10127"/>
                <a:gd name="connsiteX18" fmla="*/ 6364 w 10000"/>
                <a:gd name="connsiteY18" fmla="*/ 752 h 10127"/>
                <a:gd name="connsiteX19" fmla="*/ 7922 w 10000"/>
                <a:gd name="connsiteY19" fmla="*/ 127 h 10127"/>
                <a:gd name="connsiteX20" fmla="*/ 8701 w 10000"/>
                <a:gd name="connsiteY20" fmla="*/ 1252 h 10127"/>
                <a:gd name="connsiteX21" fmla="*/ 8052 w 10000"/>
                <a:gd name="connsiteY21" fmla="*/ 2315 h 10127"/>
                <a:gd name="connsiteX22" fmla="*/ 8052 w 10000"/>
                <a:gd name="connsiteY22" fmla="*/ 3127 h 10127"/>
                <a:gd name="connsiteX23" fmla="*/ 9740 w 10000"/>
                <a:gd name="connsiteY23" fmla="*/ 3127 h 10127"/>
                <a:gd name="connsiteX24" fmla="*/ 8052 w 10000"/>
                <a:gd name="connsiteY24" fmla="*/ 3815 h 10127"/>
                <a:gd name="connsiteX25" fmla="*/ 8831 w 10000"/>
                <a:gd name="connsiteY25" fmla="*/ 4315 h 10127"/>
                <a:gd name="connsiteX26" fmla="*/ 8393 w 10000"/>
                <a:gd name="connsiteY26" fmla="*/ 5632 h 10127"/>
                <a:gd name="connsiteX27" fmla="*/ 7740 w 10000"/>
                <a:gd name="connsiteY27" fmla="*/ 6160 h 10127"/>
                <a:gd name="connsiteX28" fmla="*/ 7143 w 10000"/>
                <a:gd name="connsiteY28" fmla="*/ 6502 h 10127"/>
                <a:gd name="connsiteX29" fmla="*/ 8052 w 10000"/>
                <a:gd name="connsiteY29" fmla="*/ 6627 h 10127"/>
                <a:gd name="connsiteX30" fmla="*/ 7792 w 10000"/>
                <a:gd name="connsiteY30" fmla="*/ 7252 h 10127"/>
                <a:gd name="connsiteX31" fmla="*/ 9870 w 10000"/>
                <a:gd name="connsiteY31" fmla="*/ 7315 h 10127"/>
                <a:gd name="connsiteX32" fmla="*/ 10000 w 10000"/>
                <a:gd name="connsiteY32" fmla="*/ 8690 h 10127"/>
                <a:gd name="connsiteX33" fmla="*/ 9221 w 10000"/>
                <a:gd name="connsiteY33" fmla="*/ 9190 h 10127"/>
                <a:gd name="connsiteX34" fmla="*/ 8831 w 10000"/>
                <a:gd name="connsiteY34" fmla="*/ 8627 h 10127"/>
                <a:gd name="connsiteX35" fmla="*/ 7662 w 10000"/>
                <a:gd name="connsiteY35" fmla="*/ 8815 h 10127"/>
                <a:gd name="connsiteX36" fmla="*/ 8182 w 10000"/>
                <a:gd name="connsiteY36" fmla="*/ 9377 h 10127"/>
                <a:gd name="connsiteX37" fmla="*/ 7143 w 10000"/>
                <a:gd name="connsiteY37" fmla="*/ 10127 h 10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0000" h="10127">
                  <a:moveTo>
                    <a:pt x="7143" y="10127"/>
                  </a:moveTo>
                  <a:cubicBezTo>
                    <a:pt x="5679" y="10008"/>
                    <a:pt x="4723" y="9624"/>
                    <a:pt x="2752" y="9770"/>
                  </a:cubicBezTo>
                  <a:lnTo>
                    <a:pt x="1169" y="9002"/>
                  </a:lnTo>
                  <a:cubicBezTo>
                    <a:pt x="1212" y="8752"/>
                    <a:pt x="1256" y="8502"/>
                    <a:pt x="1299" y="8252"/>
                  </a:cubicBezTo>
                  <a:cubicBezTo>
                    <a:pt x="1342" y="8085"/>
                    <a:pt x="1386" y="7919"/>
                    <a:pt x="1429" y="7752"/>
                  </a:cubicBezTo>
                  <a:lnTo>
                    <a:pt x="779" y="7252"/>
                  </a:lnTo>
                  <a:lnTo>
                    <a:pt x="519" y="6877"/>
                  </a:lnTo>
                  <a:lnTo>
                    <a:pt x="1558" y="6252"/>
                  </a:lnTo>
                  <a:lnTo>
                    <a:pt x="390" y="5690"/>
                  </a:lnTo>
                  <a:lnTo>
                    <a:pt x="0" y="4252"/>
                  </a:lnTo>
                  <a:lnTo>
                    <a:pt x="909" y="4002"/>
                  </a:lnTo>
                  <a:lnTo>
                    <a:pt x="909" y="2815"/>
                  </a:lnTo>
                  <a:lnTo>
                    <a:pt x="260" y="2502"/>
                  </a:lnTo>
                  <a:lnTo>
                    <a:pt x="1039" y="2190"/>
                  </a:lnTo>
                  <a:lnTo>
                    <a:pt x="3110" y="1942"/>
                  </a:lnTo>
                  <a:lnTo>
                    <a:pt x="2711" y="793"/>
                  </a:lnTo>
                  <a:cubicBezTo>
                    <a:pt x="2668" y="272"/>
                    <a:pt x="3600" y="206"/>
                    <a:pt x="3972" y="0"/>
                  </a:cubicBezTo>
                  <a:lnTo>
                    <a:pt x="5195" y="127"/>
                  </a:lnTo>
                  <a:lnTo>
                    <a:pt x="6364" y="752"/>
                  </a:lnTo>
                  <a:lnTo>
                    <a:pt x="7922" y="127"/>
                  </a:lnTo>
                  <a:lnTo>
                    <a:pt x="8701" y="1252"/>
                  </a:lnTo>
                  <a:lnTo>
                    <a:pt x="8052" y="2315"/>
                  </a:lnTo>
                  <a:lnTo>
                    <a:pt x="8052" y="3127"/>
                  </a:lnTo>
                  <a:lnTo>
                    <a:pt x="9740" y="3127"/>
                  </a:lnTo>
                  <a:lnTo>
                    <a:pt x="8052" y="3815"/>
                  </a:lnTo>
                  <a:lnTo>
                    <a:pt x="8831" y="4315"/>
                  </a:lnTo>
                  <a:lnTo>
                    <a:pt x="8393" y="5632"/>
                  </a:lnTo>
                  <a:lnTo>
                    <a:pt x="7740" y="6160"/>
                  </a:lnTo>
                  <a:lnTo>
                    <a:pt x="7143" y="6502"/>
                  </a:lnTo>
                  <a:lnTo>
                    <a:pt x="8052" y="6627"/>
                  </a:lnTo>
                  <a:cubicBezTo>
                    <a:pt x="7965" y="6835"/>
                    <a:pt x="7879" y="7044"/>
                    <a:pt x="7792" y="7252"/>
                  </a:cubicBezTo>
                  <a:lnTo>
                    <a:pt x="9870" y="7315"/>
                  </a:lnTo>
                  <a:cubicBezTo>
                    <a:pt x="9913" y="7773"/>
                    <a:pt x="9957" y="8232"/>
                    <a:pt x="10000" y="8690"/>
                  </a:cubicBezTo>
                  <a:lnTo>
                    <a:pt x="9221" y="9190"/>
                  </a:lnTo>
                  <a:lnTo>
                    <a:pt x="8831" y="8627"/>
                  </a:lnTo>
                  <a:lnTo>
                    <a:pt x="7662" y="8815"/>
                  </a:lnTo>
                  <a:lnTo>
                    <a:pt x="8182" y="9377"/>
                  </a:lnTo>
                  <a:lnTo>
                    <a:pt x="7143" y="101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sp>
          <p:nvSpPr>
            <p:cNvPr id="56" name="2bD"/>
            <p:cNvSpPr>
              <a:spLocks/>
            </p:cNvSpPr>
            <p:nvPr/>
          </p:nvSpPr>
          <p:spPr bwMode="auto">
            <a:xfrm>
              <a:off x="2288038" y="3796492"/>
              <a:ext cx="41" cy="61"/>
            </a:xfrm>
            <a:custGeom>
              <a:avLst/>
              <a:gdLst>
                <a:gd name="T0" fmla="*/ 6 w 41"/>
                <a:gd name="T1" fmla="*/ 61 h 61"/>
                <a:gd name="T2" fmla="*/ 18 w 41"/>
                <a:gd name="T3" fmla="*/ 61 h 61"/>
                <a:gd name="T4" fmla="*/ 22 w 41"/>
                <a:gd name="T5" fmla="*/ 58 h 61"/>
                <a:gd name="T6" fmla="*/ 28 w 41"/>
                <a:gd name="T7" fmla="*/ 59 h 61"/>
                <a:gd name="T8" fmla="*/ 34 w 41"/>
                <a:gd name="T9" fmla="*/ 61 h 61"/>
                <a:gd name="T10" fmla="*/ 35 w 41"/>
                <a:gd name="T11" fmla="*/ 34 h 61"/>
                <a:gd name="T12" fmla="*/ 41 w 41"/>
                <a:gd name="T13" fmla="*/ 6 h 61"/>
                <a:gd name="T14" fmla="*/ 25 w 41"/>
                <a:gd name="T15" fmla="*/ 0 h 61"/>
                <a:gd name="T16" fmla="*/ 25 w 41"/>
                <a:gd name="T17" fmla="*/ 4 h 61"/>
                <a:gd name="T18" fmla="*/ 7 w 41"/>
                <a:gd name="T19" fmla="*/ 21 h 61"/>
                <a:gd name="T20" fmla="*/ 0 w 41"/>
                <a:gd name="T21" fmla="*/ 22 h 61"/>
                <a:gd name="T22" fmla="*/ 1 w 41"/>
                <a:gd name="T23" fmla="*/ 29 h 61"/>
                <a:gd name="T24" fmla="*/ 6 w 41"/>
                <a:gd name="T25" fmla="*/ 30 h 61"/>
                <a:gd name="T26" fmla="*/ 5 w 41"/>
                <a:gd name="T27" fmla="*/ 53 h 61"/>
                <a:gd name="T28" fmla="*/ 0 w 41"/>
                <a:gd name="T29" fmla="*/ 52 h 61"/>
                <a:gd name="T30" fmla="*/ 6 w 41"/>
                <a:gd name="T31" fmla="*/ 61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1"/>
                <a:gd name="T49" fmla="*/ 0 h 61"/>
                <a:gd name="T50" fmla="*/ 41 w 41"/>
                <a:gd name="T51" fmla="*/ 61 h 6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1" h="61">
                  <a:moveTo>
                    <a:pt x="6" y="61"/>
                  </a:moveTo>
                  <a:lnTo>
                    <a:pt x="18" y="61"/>
                  </a:lnTo>
                  <a:lnTo>
                    <a:pt x="22" y="58"/>
                  </a:lnTo>
                  <a:lnTo>
                    <a:pt x="28" y="59"/>
                  </a:lnTo>
                  <a:lnTo>
                    <a:pt x="34" y="61"/>
                  </a:lnTo>
                  <a:lnTo>
                    <a:pt x="35" y="34"/>
                  </a:lnTo>
                  <a:lnTo>
                    <a:pt x="41" y="6"/>
                  </a:lnTo>
                  <a:lnTo>
                    <a:pt x="25" y="0"/>
                  </a:lnTo>
                  <a:lnTo>
                    <a:pt x="25" y="4"/>
                  </a:lnTo>
                  <a:lnTo>
                    <a:pt x="7" y="21"/>
                  </a:lnTo>
                  <a:lnTo>
                    <a:pt x="0" y="22"/>
                  </a:lnTo>
                  <a:lnTo>
                    <a:pt x="1" y="29"/>
                  </a:lnTo>
                  <a:lnTo>
                    <a:pt x="6" y="30"/>
                  </a:lnTo>
                  <a:lnTo>
                    <a:pt x="5" y="53"/>
                  </a:lnTo>
                  <a:lnTo>
                    <a:pt x="0" y="52"/>
                  </a:lnTo>
                  <a:lnTo>
                    <a:pt x="6" y="6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</p:grpSp>
      <p:sp>
        <p:nvSpPr>
          <p:cNvPr id="51" name="MT"/>
          <p:cNvSpPr>
            <a:spLocks noChangeAspect="1"/>
          </p:cNvSpPr>
          <p:nvPr/>
        </p:nvSpPr>
        <p:spPr bwMode="auto">
          <a:xfrm rot="13083780">
            <a:off x="5983288" y="6127750"/>
            <a:ext cx="142875" cy="46038"/>
          </a:xfrm>
          <a:custGeom>
            <a:avLst/>
            <a:gdLst>
              <a:gd name="connsiteX0" fmla="*/ 0 w 10000"/>
              <a:gd name="connsiteY0" fmla="*/ 7919 h 14586"/>
              <a:gd name="connsiteX1" fmla="*/ 257 w 10000"/>
              <a:gd name="connsiteY1" fmla="*/ 12364 h 14586"/>
              <a:gd name="connsiteX2" fmla="*/ 1061 w 10000"/>
              <a:gd name="connsiteY2" fmla="*/ 13475 h 14586"/>
              <a:gd name="connsiteX3" fmla="*/ 2154 w 10000"/>
              <a:gd name="connsiteY3" fmla="*/ 13475 h 14586"/>
              <a:gd name="connsiteX4" fmla="*/ 4051 w 10000"/>
              <a:gd name="connsiteY4" fmla="*/ 12364 h 14586"/>
              <a:gd name="connsiteX5" fmla="*/ 4598 w 10000"/>
              <a:gd name="connsiteY5" fmla="*/ 12364 h 14586"/>
              <a:gd name="connsiteX6" fmla="*/ 4598 w 10000"/>
              <a:gd name="connsiteY6" fmla="*/ 14586 h 14586"/>
              <a:gd name="connsiteX7" fmla="*/ 6206 w 10000"/>
              <a:gd name="connsiteY7" fmla="*/ 14586 h 14586"/>
              <a:gd name="connsiteX8" fmla="*/ 7042 w 10000"/>
              <a:gd name="connsiteY8" fmla="*/ 12364 h 14586"/>
              <a:gd name="connsiteX9" fmla="*/ 8103 w 10000"/>
              <a:gd name="connsiteY9" fmla="*/ 12364 h 14586"/>
              <a:gd name="connsiteX10" fmla="*/ 8939 w 10000"/>
              <a:gd name="connsiteY10" fmla="*/ 10142 h 14586"/>
              <a:gd name="connsiteX11" fmla="*/ 10000 w 10000"/>
              <a:gd name="connsiteY11" fmla="*/ 9030 h 14586"/>
              <a:gd name="connsiteX12" fmla="*/ 10000 w 10000"/>
              <a:gd name="connsiteY12" fmla="*/ 4586 h 14586"/>
              <a:gd name="connsiteX13" fmla="*/ 9196 w 10000"/>
              <a:gd name="connsiteY13" fmla="*/ 6808 h 14586"/>
              <a:gd name="connsiteX14" fmla="*/ 8650 w 10000"/>
              <a:gd name="connsiteY14" fmla="*/ 7919 h 14586"/>
              <a:gd name="connsiteX15" fmla="*/ 8103 w 10000"/>
              <a:gd name="connsiteY15" fmla="*/ 7919 h 14586"/>
              <a:gd name="connsiteX16" fmla="*/ 7846 w 10000"/>
              <a:gd name="connsiteY16" fmla="*/ 5697 h 14586"/>
              <a:gd name="connsiteX17" fmla="*/ 7042 w 10000"/>
              <a:gd name="connsiteY17" fmla="*/ 6808 h 14586"/>
              <a:gd name="connsiteX18" fmla="*/ 5402 w 10000"/>
              <a:gd name="connsiteY18" fmla="*/ 7919 h 14586"/>
              <a:gd name="connsiteX19" fmla="*/ 5402 w 10000"/>
              <a:gd name="connsiteY19" fmla="*/ 5697 h 14586"/>
              <a:gd name="connsiteX20" fmla="*/ 3529 w 10000"/>
              <a:gd name="connsiteY20" fmla="*/ 1111 h 14586"/>
              <a:gd name="connsiteX21" fmla="*/ 2412 w 10000"/>
              <a:gd name="connsiteY21" fmla="*/ 6808 h 14586"/>
              <a:gd name="connsiteX22" fmla="*/ 1897 w 10000"/>
              <a:gd name="connsiteY22" fmla="*/ 5697 h 14586"/>
              <a:gd name="connsiteX23" fmla="*/ 1897 w 10000"/>
              <a:gd name="connsiteY23" fmla="*/ 7919 h 14586"/>
              <a:gd name="connsiteX24" fmla="*/ 1061 w 10000"/>
              <a:gd name="connsiteY24" fmla="*/ 7919 h 14586"/>
              <a:gd name="connsiteX25" fmla="*/ 514 w 10000"/>
              <a:gd name="connsiteY25" fmla="*/ 4586 h 14586"/>
              <a:gd name="connsiteX26" fmla="*/ 514 w 10000"/>
              <a:gd name="connsiteY26" fmla="*/ 6808 h 14586"/>
              <a:gd name="connsiteX27" fmla="*/ 0 w 10000"/>
              <a:gd name="connsiteY27" fmla="*/ 7919 h 14586"/>
              <a:gd name="connsiteX0" fmla="*/ 0 w 10000"/>
              <a:gd name="connsiteY0" fmla="*/ 7919 h 14586"/>
              <a:gd name="connsiteX1" fmla="*/ 257 w 10000"/>
              <a:gd name="connsiteY1" fmla="*/ 12364 h 14586"/>
              <a:gd name="connsiteX2" fmla="*/ 1061 w 10000"/>
              <a:gd name="connsiteY2" fmla="*/ 13475 h 14586"/>
              <a:gd name="connsiteX3" fmla="*/ 2154 w 10000"/>
              <a:gd name="connsiteY3" fmla="*/ 13475 h 14586"/>
              <a:gd name="connsiteX4" fmla="*/ 4051 w 10000"/>
              <a:gd name="connsiteY4" fmla="*/ 12364 h 14586"/>
              <a:gd name="connsiteX5" fmla="*/ 4598 w 10000"/>
              <a:gd name="connsiteY5" fmla="*/ 12364 h 14586"/>
              <a:gd name="connsiteX6" fmla="*/ 4598 w 10000"/>
              <a:gd name="connsiteY6" fmla="*/ 14586 h 14586"/>
              <a:gd name="connsiteX7" fmla="*/ 6206 w 10000"/>
              <a:gd name="connsiteY7" fmla="*/ 14586 h 14586"/>
              <a:gd name="connsiteX8" fmla="*/ 7042 w 10000"/>
              <a:gd name="connsiteY8" fmla="*/ 12364 h 14586"/>
              <a:gd name="connsiteX9" fmla="*/ 8103 w 10000"/>
              <a:gd name="connsiteY9" fmla="*/ 12364 h 14586"/>
              <a:gd name="connsiteX10" fmla="*/ 8939 w 10000"/>
              <a:gd name="connsiteY10" fmla="*/ 10142 h 14586"/>
              <a:gd name="connsiteX11" fmla="*/ 10000 w 10000"/>
              <a:gd name="connsiteY11" fmla="*/ 9030 h 14586"/>
              <a:gd name="connsiteX12" fmla="*/ 10000 w 10000"/>
              <a:gd name="connsiteY12" fmla="*/ 4586 h 14586"/>
              <a:gd name="connsiteX13" fmla="*/ 9196 w 10000"/>
              <a:gd name="connsiteY13" fmla="*/ 6808 h 14586"/>
              <a:gd name="connsiteX14" fmla="*/ 8650 w 10000"/>
              <a:gd name="connsiteY14" fmla="*/ 7919 h 14586"/>
              <a:gd name="connsiteX15" fmla="*/ 8103 w 10000"/>
              <a:gd name="connsiteY15" fmla="*/ 7919 h 14586"/>
              <a:gd name="connsiteX16" fmla="*/ 7846 w 10000"/>
              <a:gd name="connsiteY16" fmla="*/ 5697 h 14586"/>
              <a:gd name="connsiteX17" fmla="*/ 7042 w 10000"/>
              <a:gd name="connsiteY17" fmla="*/ 6808 h 14586"/>
              <a:gd name="connsiteX18" fmla="*/ 5402 w 10000"/>
              <a:gd name="connsiteY18" fmla="*/ 7919 h 14586"/>
              <a:gd name="connsiteX19" fmla="*/ 5402 w 10000"/>
              <a:gd name="connsiteY19" fmla="*/ 5697 h 14586"/>
              <a:gd name="connsiteX20" fmla="*/ 3529 w 10000"/>
              <a:gd name="connsiteY20" fmla="*/ 1111 h 14586"/>
              <a:gd name="connsiteX21" fmla="*/ 2412 w 10000"/>
              <a:gd name="connsiteY21" fmla="*/ 6808 h 14586"/>
              <a:gd name="connsiteX22" fmla="*/ 1176 w 10000"/>
              <a:gd name="connsiteY22" fmla="*/ 0 h 14586"/>
              <a:gd name="connsiteX23" fmla="*/ 1897 w 10000"/>
              <a:gd name="connsiteY23" fmla="*/ 7919 h 14586"/>
              <a:gd name="connsiteX24" fmla="*/ 1061 w 10000"/>
              <a:gd name="connsiteY24" fmla="*/ 7919 h 14586"/>
              <a:gd name="connsiteX25" fmla="*/ 514 w 10000"/>
              <a:gd name="connsiteY25" fmla="*/ 4586 h 14586"/>
              <a:gd name="connsiteX26" fmla="*/ 514 w 10000"/>
              <a:gd name="connsiteY26" fmla="*/ 6808 h 14586"/>
              <a:gd name="connsiteX27" fmla="*/ 0 w 10000"/>
              <a:gd name="connsiteY27" fmla="*/ 7919 h 14586"/>
              <a:gd name="connsiteX0" fmla="*/ 0 w 10000"/>
              <a:gd name="connsiteY0" fmla="*/ 7919 h 14586"/>
              <a:gd name="connsiteX1" fmla="*/ 257 w 10000"/>
              <a:gd name="connsiteY1" fmla="*/ 12364 h 14586"/>
              <a:gd name="connsiteX2" fmla="*/ 1061 w 10000"/>
              <a:gd name="connsiteY2" fmla="*/ 13475 h 14586"/>
              <a:gd name="connsiteX3" fmla="*/ 2154 w 10000"/>
              <a:gd name="connsiteY3" fmla="*/ 13475 h 14586"/>
              <a:gd name="connsiteX4" fmla="*/ 4051 w 10000"/>
              <a:gd name="connsiteY4" fmla="*/ 12364 h 14586"/>
              <a:gd name="connsiteX5" fmla="*/ 4598 w 10000"/>
              <a:gd name="connsiteY5" fmla="*/ 12364 h 14586"/>
              <a:gd name="connsiteX6" fmla="*/ 4598 w 10000"/>
              <a:gd name="connsiteY6" fmla="*/ 14586 h 14586"/>
              <a:gd name="connsiteX7" fmla="*/ 6206 w 10000"/>
              <a:gd name="connsiteY7" fmla="*/ 14586 h 14586"/>
              <a:gd name="connsiteX8" fmla="*/ 7042 w 10000"/>
              <a:gd name="connsiteY8" fmla="*/ 12364 h 14586"/>
              <a:gd name="connsiteX9" fmla="*/ 8103 w 10000"/>
              <a:gd name="connsiteY9" fmla="*/ 12364 h 14586"/>
              <a:gd name="connsiteX10" fmla="*/ 8939 w 10000"/>
              <a:gd name="connsiteY10" fmla="*/ 10142 h 14586"/>
              <a:gd name="connsiteX11" fmla="*/ 10000 w 10000"/>
              <a:gd name="connsiteY11" fmla="*/ 9030 h 14586"/>
              <a:gd name="connsiteX12" fmla="*/ 10000 w 10000"/>
              <a:gd name="connsiteY12" fmla="*/ 4586 h 14586"/>
              <a:gd name="connsiteX13" fmla="*/ 9196 w 10000"/>
              <a:gd name="connsiteY13" fmla="*/ 6808 h 14586"/>
              <a:gd name="connsiteX14" fmla="*/ 8650 w 10000"/>
              <a:gd name="connsiteY14" fmla="*/ 7919 h 14586"/>
              <a:gd name="connsiteX15" fmla="*/ 8103 w 10000"/>
              <a:gd name="connsiteY15" fmla="*/ 7919 h 14586"/>
              <a:gd name="connsiteX16" fmla="*/ 7846 w 10000"/>
              <a:gd name="connsiteY16" fmla="*/ 5697 h 14586"/>
              <a:gd name="connsiteX17" fmla="*/ 7042 w 10000"/>
              <a:gd name="connsiteY17" fmla="*/ 6808 h 14586"/>
              <a:gd name="connsiteX18" fmla="*/ 5402 w 10000"/>
              <a:gd name="connsiteY18" fmla="*/ 7919 h 14586"/>
              <a:gd name="connsiteX19" fmla="*/ 5402 w 10000"/>
              <a:gd name="connsiteY19" fmla="*/ 5697 h 14586"/>
              <a:gd name="connsiteX20" fmla="*/ 3529 w 10000"/>
              <a:gd name="connsiteY20" fmla="*/ 1111 h 14586"/>
              <a:gd name="connsiteX21" fmla="*/ 2353 w 10000"/>
              <a:gd name="connsiteY21" fmla="*/ 1111 h 14586"/>
              <a:gd name="connsiteX22" fmla="*/ 1176 w 10000"/>
              <a:gd name="connsiteY22" fmla="*/ 0 h 14586"/>
              <a:gd name="connsiteX23" fmla="*/ 1897 w 10000"/>
              <a:gd name="connsiteY23" fmla="*/ 7919 h 14586"/>
              <a:gd name="connsiteX24" fmla="*/ 1061 w 10000"/>
              <a:gd name="connsiteY24" fmla="*/ 7919 h 14586"/>
              <a:gd name="connsiteX25" fmla="*/ 514 w 10000"/>
              <a:gd name="connsiteY25" fmla="*/ 4586 h 14586"/>
              <a:gd name="connsiteX26" fmla="*/ 514 w 10000"/>
              <a:gd name="connsiteY26" fmla="*/ 6808 h 14586"/>
              <a:gd name="connsiteX27" fmla="*/ 0 w 10000"/>
              <a:gd name="connsiteY27" fmla="*/ 7919 h 14586"/>
              <a:gd name="connsiteX0" fmla="*/ 0 w 10000"/>
              <a:gd name="connsiteY0" fmla="*/ 7919 h 14586"/>
              <a:gd name="connsiteX1" fmla="*/ 257 w 10000"/>
              <a:gd name="connsiteY1" fmla="*/ 12364 h 14586"/>
              <a:gd name="connsiteX2" fmla="*/ 1061 w 10000"/>
              <a:gd name="connsiteY2" fmla="*/ 13475 h 14586"/>
              <a:gd name="connsiteX3" fmla="*/ 2154 w 10000"/>
              <a:gd name="connsiteY3" fmla="*/ 13475 h 14586"/>
              <a:gd name="connsiteX4" fmla="*/ 4051 w 10000"/>
              <a:gd name="connsiteY4" fmla="*/ 12364 h 14586"/>
              <a:gd name="connsiteX5" fmla="*/ 4598 w 10000"/>
              <a:gd name="connsiteY5" fmla="*/ 12364 h 14586"/>
              <a:gd name="connsiteX6" fmla="*/ 4598 w 10000"/>
              <a:gd name="connsiteY6" fmla="*/ 14586 h 14586"/>
              <a:gd name="connsiteX7" fmla="*/ 6206 w 10000"/>
              <a:gd name="connsiteY7" fmla="*/ 14586 h 14586"/>
              <a:gd name="connsiteX8" fmla="*/ 7042 w 10000"/>
              <a:gd name="connsiteY8" fmla="*/ 12364 h 14586"/>
              <a:gd name="connsiteX9" fmla="*/ 8103 w 10000"/>
              <a:gd name="connsiteY9" fmla="*/ 12364 h 14586"/>
              <a:gd name="connsiteX10" fmla="*/ 8939 w 10000"/>
              <a:gd name="connsiteY10" fmla="*/ 10142 h 14586"/>
              <a:gd name="connsiteX11" fmla="*/ 10000 w 10000"/>
              <a:gd name="connsiteY11" fmla="*/ 9030 h 14586"/>
              <a:gd name="connsiteX12" fmla="*/ 10000 w 10000"/>
              <a:gd name="connsiteY12" fmla="*/ 4586 h 14586"/>
              <a:gd name="connsiteX13" fmla="*/ 9196 w 10000"/>
              <a:gd name="connsiteY13" fmla="*/ 6808 h 14586"/>
              <a:gd name="connsiteX14" fmla="*/ 8650 w 10000"/>
              <a:gd name="connsiteY14" fmla="*/ 7919 h 14586"/>
              <a:gd name="connsiteX15" fmla="*/ 8103 w 10000"/>
              <a:gd name="connsiteY15" fmla="*/ 7919 h 14586"/>
              <a:gd name="connsiteX16" fmla="*/ 7846 w 10000"/>
              <a:gd name="connsiteY16" fmla="*/ 5697 h 14586"/>
              <a:gd name="connsiteX17" fmla="*/ 7042 w 10000"/>
              <a:gd name="connsiteY17" fmla="*/ 6808 h 14586"/>
              <a:gd name="connsiteX18" fmla="*/ 5402 w 10000"/>
              <a:gd name="connsiteY18" fmla="*/ 7919 h 14586"/>
              <a:gd name="connsiteX19" fmla="*/ 5402 w 10000"/>
              <a:gd name="connsiteY19" fmla="*/ 5697 h 14586"/>
              <a:gd name="connsiteX20" fmla="*/ 3529 w 10000"/>
              <a:gd name="connsiteY20" fmla="*/ 1111 h 14586"/>
              <a:gd name="connsiteX21" fmla="*/ 2353 w 10000"/>
              <a:gd name="connsiteY21" fmla="*/ 1111 h 14586"/>
              <a:gd name="connsiteX22" fmla="*/ 1176 w 10000"/>
              <a:gd name="connsiteY22" fmla="*/ 0 h 14586"/>
              <a:gd name="connsiteX23" fmla="*/ 1765 w 10000"/>
              <a:gd name="connsiteY23" fmla="*/ 5281 h 14586"/>
              <a:gd name="connsiteX24" fmla="*/ 1061 w 10000"/>
              <a:gd name="connsiteY24" fmla="*/ 7919 h 14586"/>
              <a:gd name="connsiteX25" fmla="*/ 514 w 10000"/>
              <a:gd name="connsiteY25" fmla="*/ 4586 h 14586"/>
              <a:gd name="connsiteX26" fmla="*/ 514 w 10000"/>
              <a:gd name="connsiteY26" fmla="*/ 6808 h 14586"/>
              <a:gd name="connsiteX27" fmla="*/ 0 w 10000"/>
              <a:gd name="connsiteY27" fmla="*/ 7919 h 14586"/>
              <a:gd name="connsiteX0" fmla="*/ 0 w 10000"/>
              <a:gd name="connsiteY0" fmla="*/ 7919 h 14586"/>
              <a:gd name="connsiteX1" fmla="*/ 257 w 10000"/>
              <a:gd name="connsiteY1" fmla="*/ 12364 h 14586"/>
              <a:gd name="connsiteX2" fmla="*/ 1061 w 10000"/>
              <a:gd name="connsiteY2" fmla="*/ 13475 h 14586"/>
              <a:gd name="connsiteX3" fmla="*/ 2154 w 10000"/>
              <a:gd name="connsiteY3" fmla="*/ 13475 h 14586"/>
              <a:gd name="connsiteX4" fmla="*/ 4051 w 10000"/>
              <a:gd name="connsiteY4" fmla="*/ 12364 h 14586"/>
              <a:gd name="connsiteX5" fmla="*/ 4598 w 10000"/>
              <a:gd name="connsiteY5" fmla="*/ 12364 h 14586"/>
              <a:gd name="connsiteX6" fmla="*/ 4598 w 10000"/>
              <a:gd name="connsiteY6" fmla="*/ 14586 h 14586"/>
              <a:gd name="connsiteX7" fmla="*/ 6206 w 10000"/>
              <a:gd name="connsiteY7" fmla="*/ 14586 h 14586"/>
              <a:gd name="connsiteX8" fmla="*/ 7042 w 10000"/>
              <a:gd name="connsiteY8" fmla="*/ 12364 h 14586"/>
              <a:gd name="connsiteX9" fmla="*/ 8103 w 10000"/>
              <a:gd name="connsiteY9" fmla="*/ 12364 h 14586"/>
              <a:gd name="connsiteX10" fmla="*/ 8939 w 10000"/>
              <a:gd name="connsiteY10" fmla="*/ 10142 h 14586"/>
              <a:gd name="connsiteX11" fmla="*/ 10000 w 10000"/>
              <a:gd name="connsiteY11" fmla="*/ 9030 h 14586"/>
              <a:gd name="connsiteX12" fmla="*/ 10000 w 10000"/>
              <a:gd name="connsiteY12" fmla="*/ 4586 h 14586"/>
              <a:gd name="connsiteX13" fmla="*/ 9196 w 10000"/>
              <a:gd name="connsiteY13" fmla="*/ 6808 h 14586"/>
              <a:gd name="connsiteX14" fmla="*/ 8650 w 10000"/>
              <a:gd name="connsiteY14" fmla="*/ 7919 h 14586"/>
              <a:gd name="connsiteX15" fmla="*/ 8103 w 10000"/>
              <a:gd name="connsiteY15" fmla="*/ 7919 h 14586"/>
              <a:gd name="connsiteX16" fmla="*/ 7846 w 10000"/>
              <a:gd name="connsiteY16" fmla="*/ 5697 h 14586"/>
              <a:gd name="connsiteX17" fmla="*/ 7042 w 10000"/>
              <a:gd name="connsiteY17" fmla="*/ 6808 h 14586"/>
              <a:gd name="connsiteX18" fmla="*/ 5402 w 10000"/>
              <a:gd name="connsiteY18" fmla="*/ 7919 h 14586"/>
              <a:gd name="connsiteX19" fmla="*/ 5402 w 10000"/>
              <a:gd name="connsiteY19" fmla="*/ 5697 h 14586"/>
              <a:gd name="connsiteX20" fmla="*/ 3529 w 10000"/>
              <a:gd name="connsiteY20" fmla="*/ 1111 h 14586"/>
              <a:gd name="connsiteX21" fmla="*/ 2353 w 10000"/>
              <a:gd name="connsiteY21" fmla="*/ 1111 h 14586"/>
              <a:gd name="connsiteX22" fmla="*/ 1176 w 10000"/>
              <a:gd name="connsiteY22" fmla="*/ 0 h 14586"/>
              <a:gd name="connsiteX23" fmla="*/ 1765 w 10000"/>
              <a:gd name="connsiteY23" fmla="*/ 5281 h 14586"/>
              <a:gd name="connsiteX24" fmla="*/ 882 w 10000"/>
              <a:gd name="connsiteY24" fmla="*/ 5976 h 14586"/>
              <a:gd name="connsiteX25" fmla="*/ 514 w 10000"/>
              <a:gd name="connsiteY25" fmla="*/ 4586 h 14586"/>
              <a:gd name="connsiteX26" fmla="*/ 514 w 10000"/>
              <a:gd name="connsiteY26" fmla="*/ 6808 h 14586"/>
              <a:gd name="connsiteX27" fmla="*/ 0 w 10000"/>
              <a:gd name="connsiteY27" fmla="*/ 7919 h 14586"/>
              <a:gd name="connsiteX0" fmla="*/ 0 w 10000"/>
              <a:gd name="connsiteY0" fmla="*/ 7919 h 14586"/>
              <a:gd name="connsiteX1" fmla="*/ 257 w 10000"/>
              <a:gd name="connsiteY1" fmla="*/ 12364 h 14586"/>
              <a:gd name="connsiteX2" fmla="*/ 1061 w 10000"/>
              <a:gd name="connsiteY2" fmla="*/ 13475 h 14586"/>
              <a:gd name="connsiteX3" fmla="*/ 2154 w 10000"/>
              <a:gd name="connsiteY3" fmla="*/ 13475 h 14586"/>
              <a:gd name="connsiteX4" fmla="*/ 4051 w 10000"/>
              <a:gd name="connsiteY4" fmla="*/ 12364 h 14586"/>
              <a:gd name="connsiteX5" fmla="*/ 4598 w 10000"/>
              <a:gd name="connsiteY5" fmla="*/ 12364 h 14586"/>
              <a:gd name="connsiteX6" fmla="*/ 4598 w 10000"/>
              <a:gd name="connsiteY6" fmla="*/ 14586 h 14586"/>
              <a:gd name="connsiteX7" fmla="*/ 6206 w 10000"/>
              <a:gd name="connsiteY7" fmla="*/ 14586 h 14586"/>
              <a:gd name="connsiteX8" fmla="*/ 7042 w 10000"/>
              <a:gd name="connsiteY8" fmla="*/ 12364 h 14586"/>
              <a:gd name="connsiteX9" fmla="*/ 8103 w 10000"/>
              <a:gd name="connsiteY9" fmla="*/ 12364 h 14586"/>
              <a:gd name="connsiteX10" fmla="*/ 8939 w 10000"/>
              <a:gd name="connsiteY10" fmla="*/ 10142 h 14586"/>
              <a:gd name="connsiteX11" fmla="*/ 10000 w 10000"/>
              <a:gd name="connsiteY11" fmla="*/ 9030 h 14586"/>
              <a:gd name="connsiteX12" fmla="*/ 10000 w 10000"/>
              <a:gd name="connsiteY12" fmla="*/ 4586 h 14586"/>
              <a:gd name="connsiteX13" fmla="*/ 9196 w 10000"/>
              <a:gd name="connsiteY13" fmla="*/ 6808 h 14586"/>
              <a:gd name="connsiteX14" fmla="*/ 8650 w 10000"/>
              <a:gd name="connsiteY14" fmla="*/ 7919 h 14586"/>
              <a:gd name="connsiteX15" fmla="*/ 8103 w 10000"/>
              <a:gd name="connsiteY15" fmla="*/ 7919 h 14586"/>
              <a:gd name="connsiteX16" fmla="*/ 7846 w 10000"/>
              <a:gd name="connsiteY16" fmla="*/ 5697 h 14586"/>
              <a:gd name="connsiteX17" fmla="*/ 7042 w 10000"/>
              <a:gd name="connsiteY17" fmla="*/ 6808 h 14586"/>
              <a:gd name="connsiteX18" fmla="*/ 5402 w 10000"/>
              <a:gd name="connsiteY18" fmla="*/ 7919 h 14586"/>
              <a:gd name="connsiteX19" fmla="*/ 5402 w 10000"/>
              <a:gd name="connsiteY19" fmla="*/ 5697 h 14586"/>
              <a:gd name="connsiteX20" fmla="*/ 3529 w 10000"/>
              <a:gd name="connsiteY20" fmla="*/ 1111 h 14586"/>
              <a:gd name="connsiteX21" fmla="*/ 2353 w 10000"/>
              <a:gd name="connsiteY21" fmla="*/ 1111 h 14586"/>
              <a:gd name="connsiteX22" fmla="*/ 1176 w 10000"/>
              <a:gd name="connsiteY22" fmla="*/ 0 h 14586"/>
              <a:gd name="connsiteX23" fmla="*/ 1765 w 10000"/>
              <a:gd name="connsiteY23" fmla="*/ 5281 h 14586"/>
              <a:gd name="connsiteX24" fmla="*/ 882 w 10000"/>
              <a:gd name="connsiteY24" fmla="*/ 5976 h 14586"/>
              <a:gd name="connsiteX25" fmla="*/ 514 w 10000"/>
              <a:gd name="connsiteY25" fmla="*/ 4586 h 14586"/>
              <a:gd name="connsiteX26" fmla="*/ 0 w 10000"/>
              <a:gd name="connsiteY26" fmla="*/ 5281 h 14586"/>
              <a:gd name="connsiteX27" fmla="*/ 0 w 10000"/>
              <a:gd name="connsiteY27" fmla="*/ 7919 h 14586"/>
              <a:gd name="connsiteX0" fmla="*/ 0 w 11176"/>
              <a:gd name="connsiteY0" fmla="*/ 5976 h 14586"/>
              <a:gd name="connsiteX1" fmla="*/ 1433 w 11176"/>
              <a:gd name="connsiteY1" fmla="*/ 12364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022 w 11176"/>
              <a:gd name="connsiteY16" fmla="*/ 5697 h 14586"/>
              <a:gd name="connsiteX17" fmla="*/ 8218 w 11176"/>
              <a:gd name="connsiteY17" fmla="*/ 6808 h 14586"/>
              <a:gd name="connsiteX18" fmla="*/ 6578 w 11176"/>
              <a:gd name="connsiteY18" fmla="*/ 7919 h 14586"/>
              <a:gd name="connsiteX19" fmla="*/ 6578 w 11176"/>
              <a:gd name="connsiteY19" fmla="*/ 5697 h 14586"/>
              <a:gd name="connsiteX20" fmla="*/ 4705 w 11176"/>
              <a:gd name="connsiteY20" fmla="*/ 1111 h 14586"/>
              <a:gd name="connsiteX21" fmla="*/ 3529 w 11176"/>
              <a:gd name="connsiteY21" fmla="*/ 1111 h 14586"/>
              <a:gd name="connsiteX22" fmla="*/ 2352 w 11176"/>
              <a:gd name="connsiteY22" fmla="*/ 0 h 14586"/>
              <a:gd name="connsiteX23" fmla="*/ 2941 w 11176"/>
              <a:gd name="connsiteY23" fmla="*/ 5281 h 14586"/>
              <a:gd name="connsiteX24" fmla="*/ 2058 w 11176"/>
              <a:gd name="connsiteY24" fmla="*/ 5976 h 14586"/>
              <a:gd name="connsiteX25" fmla="*/ 1690 w 11176"/>
              <a:gd name="connsiteY25" fmla="*/ 4586 h 14586"/>
              <a:gd name="connsiteX26" fmla="*/ 1176 w 11176"/>
              <a:gd name="connsiteY26" fmla="*/ 5281 h 14586"/>
              <a:gd name="connsiteX27" fmla="*/ 0 w 11176"/>
              <a:gd name="connsiteY27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022 w 11176"/>
              <a:gd name="connsiteY16" fmla="*/ 5697 h 14586"/>
              <a:gd name="connsiteX17" fmla="*/ 8218 w 11176"/>
              <a:gd name="connsiteY17" fmla="*/ 6808 h 14586"/>
              <a:gd name="connsiteX18" fmla="*/ 6578 w 11176"/>
              <a:gd name="connsiteY18" fmla="*/ 7919 h 14586"/>
              <a:gd name="connsiteX19" fmla="*/ 6578 w 11176"/>
              <a:gd name="connsiteY19" fmla="*/ 5697 h 14586"/>
              <a:gd name="connsiteX20" fmla="*/ 4705 w 11176"/>
              <a:gd name="connsiteY20" fmla="*/ 1111 h 14586"/>
              <a:gd name="connsiteX21" fmla="*/ 3529 w 11176"/>
              <a:gd name="connsiteY21" fmla="*/ 1111 h 14586"/>
              <a:gd name="connsiteX22" fmla="*/ 2352 w 11176"/>
              <a:gd name="connsiteY22" fmla="*/ 0 h 14586"/>
              <a:gd name="connsiteX23" fmla="*/ 2941 w 11176"/>
              <a:gd name="connsiteY23" fmla="*/ 5281 h 14586"/>
              <a:gd name="connsiteX24" fmla="*/ 2058 w 11176"/>
              <a:gd name="connsiteY24" fmla="*/ 5976 h 14586"/>
              <a:gd name="connsiteX25" fmla="*/ 1690 w 11176"/>
              <a:gd name="connsiteY25" fmla="*/ 4586 h 14586"/>
              <a:gd name="connsiteX26" fmla="*/ 1176 w 11176"/>
              <a:gd name="connsiteY26" fmla="*/ 5281 h 14586"/>
              <a:gd name="connsiteX27" fmla="*/ 0 w 11176"/>
              <a:gd name="connsiteY27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022 w 11176"/>
              <a:gd name="connsiteY16" fmla="*/ 5697 h 14586"/>
              <a:gd name="connsiteX17" fmla="*/ 8218 w 11176"/>
              <a:gd name="connsiteY17" fmla="*/ 6808 h 14586"/>
              <a:gd name="connsiteX18" fmla="*/ 6578 w 11176"/>
              <a:gd name="connsiteY18" fmla="*/ 7919 h 14586"/>
              <a:gd name="connsiteX19" fmla="*/ 6578 w 11176"/>
              <a:gd name="connsiteY19" fmla="*/ 5697 h 14586"/>
              <a:gd name="connsiteX20" fmla="*/ 4705 w 11176"/>
              <a:gd name="connsiteY20" fmla="*/ 1111 h 14586"/>
              <a:gd name="connsiteX21" fmla="*/ 3529 w 11176"/>
              <a:gd name="connsiteY21" fmla="*/ 1111 h 14586"/>
              <a:gd name="connsiteX22" fmla="*/ 2352 w 11176"/>
              <a:gd name="connsiteY22" fmla="*/ 0 h 14586"/>
              <a:gd name="connsiteX23" fmla="*/ 2941 w 11176"/>
              <a:gd name="connsiteY23" fmla="*/ 5281 h 14586"/>
              <a:gd name="connsiteX24" fmla="*/ 2058 w 11176"/>
              <a:gd name="connsiteY24" fmla="*/ 5976 h 14586"/>
              <a:gd name="connsiteX25" fmla="*/ 1690 w 11176"/>
              <a:gd name="connsiteY25" fmla="*/ 4586 h 14586"/>
              <a:gd name="connsiteX26" fmla="*/ 882 w 11176"/>
              <a:gd name="connsiteY26" fmla="*/ 5976 h 14586"/>
              <a:gd name="connsiteX27" fmla="*/ 0 w 11176"/>
              <a:gd name="connsiteY27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022 w 11176"/>
              <a:gd name="connsiteY16" fmla="*/ 5697 h 14586"/>
              <a:gd name="connsiteX17" fmla="*/ 8218 w 11176"/>
              <a:gd name="connsiteY17" fmla="*/ 6808 h 14586"/>
              <a:gd name="connsiteX18" fmla="*/ 6578 w 11176"/>
              <a:gd name="connsiteY18" fmla="*/ 7919 h 14586"/>
              <a:gd name="connsiteX19" fmla="*/ 6578 w 11176"/>
              <a:gd name="connsiteY19" fmla="*/ 5697 h 14586"/>
              <a:gd name="connsiteX20" fmla="*/ 4705 w 11176"/>
              <a:gd name="connsiteY20" fmla="*/ 1111 h 14586"/>
              <a:gd name="connsiteX21" fmla="*/ 3529 w 11176"/>
              <a:gd name="connsiteY21" fmla="*/ 1111 h 14586"/>
              <a:gd name="connsiteX22" fmla="*/ 2352 w 11176"/>
              <a:gd name="connsiteY22" fmla="*/ 0 h 14586"/>
              <a:gd name="connsiteX23" fmla="*/ 2941 w 11176"/>
              <a:gd name="connsiteY23" fmla="*/ 5281 h 14586"/>
              <a:gd name="connsiteX24" fmla="*/ 2058 w 11176"/>
              <a:gd name="connsiteY24" fmla="*/ 5976 h 14586"/>
              <a:gd name="connsiteX25" fmla="*/ 1176 w 11176"/>
              <a:gd name="connsiteY25" fmla="*/ 3891 h 14586"/>
              <a:gd name="connsiteX26" fmla="*/ 882 w 11176"/>
              <a:gd name="connsiteY26" fmla="*/ 5976 h 14586"/>
              <a:gd name="connsiteX27" fmla="*/ 0 w 11176"/>
              <a:gd name="connsiteY27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022 w 11176"/>
              <a:gd name="connsiteY16" fmla="*/ 5697 h 14586"/>
              <a:gd name="connsiteX17" fmla="*/ 8218 w 11176"/>
              <a:gd name="connsiteY17" fmla="*/ 6808 h 14586"/>
              <a:gd name="connsiteX18" fmla="*/ 6578 w 11176"/>
              <a:gd name="connsiteY18" fmla="*/ 7919 h 14586"/>
              <a:gd name="connsiteX19" fmla="*/ 6578 w 11176"/>
              <a:gd name="connsiteY19" fmla="*/ 5697 h 14586"/>
              <a:gd name="connsiteX20" fmla="*/ 4705 w 11176"/>
              <a:gd name="connsiteY20" fmla="*/ 1111 h 14586"/>
              <a:gd name="connsiteX21" fmla="*/ 3529 w 11176"/>
              <a:gd name="connsiteY21" fmla="*/ 1111 h 14586"/>
              <a:gd name="connsiteX22" fmla="*/ 2352 w 11176"/>
              <a:gd name="connsiteY22" fmla="*/ 0 h 14586"/>
              <a:gd name="connsiteX23" fmla="*/ 2941 w 11176"/>
              <a:gd name="connsiteY23" fmla="*/ 5281 h 14586"/>
              <a:gd name="connsiteX24" fmla="*/ 1764 w 11176"/>
              <a:gd name="connsiteY24" fmla="*/ 5281 h 14586"/>
              <a:gd name="connsiteX25" fmla="*/ 1176 w 11176"/>
              <a:gd name="connsiteY25" fmla="*/ 3891 h 14586"/>
              <a:gd name="connsiteX26" fmla="*/ 882 w 11176"/>
              <a:gd name="connsiteY26" fmla="*/ 5976 h 14586"/>
              <a:gd name="connsiteX27" fmla="*/ 0 w 11176"/>
              <a:gd name="connsiteY27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022 w 11176"/>
              <a:gd name="connsiteY16" fmla="*/ 5697 h 14586"/>
              <a:gd name="connsiteX17" fmla="*/ 8218 w 11176"/>
              <a:gd name="connsiteY17" fmla="*/ 6808 h 14586"/>
              <a:gd name="connsiteX18" fmla="*/ 9117 w 11176"/>
              <a:gd name="connsiteY18" fmla="*/ 0 h 14586"/>
              <a:gd name="connsiteX19" fmla="*/ 6578 w 11176"/>
              <a:gd name="connsiteY19" fmla="*/ 5697 h 14586"/>
              <a:gd name="connsiteX20" fmla="*/ 4705 w 11176"/>
              <a:gd name="connsiteY20" fmla="*/ 1111 h 14586"/>
              <a:gd name="connsiteX21" fmla="*/ 3529 w 11176"/>
              <a:gd name="connsiteY21" fmla="*/ 1111 h 14586"/>
              <a:gd name="connsiteX22" fmla="*/ 2352 w 11176"/>
              <a:gd name="connsiteY22" fmla="*/ 0 h 14586"/>
              <a:gd name="connsiteX23" fmla="*/ 2941 w 11176"/>
              <a:gd name="connsiteY23" fmla="*/ 5281 h 14586"/>
              <a:gd name="connsiteX24" fmla="*/ 1764 w 11176"/>
              <a:gd name="connsiteY24" fmla="*/ 5281 h 14586"/>
              <a:gd name="connsiteX25" fmla="*/ 1176 w 11176"/>
              <a:gd name="connsiteY25" fmla="*/ 3891 h 14586"/>
              <a:gd name="connsiteX26" fmla="*/ 882 w 11176"/>
              <a:gd name="connsiteY26" fmla="*/ 5976 h 14586"/>
              <a:gd name="connsiteX27" fmla="*/ 0 w 11176"/>
              <a:gd name="connsiteY27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022 w 11176"/>
              <a:gd name="connsiteY16" fmla="*/ 5697 h 14586"/>
              <a:gd name="connsiteX17" fmla="*/ 8218 w 11176"/>
              <a:gd name="connsiteY17" fmla="*/ 6808 h 14586"/>
              <a:gd name="connsiteX18" fmla="*/ 9117 w 11176"/>
              <a:gd name="connsiteY18" fmla="*/ 0 h 14586"/>
              <a:gd name="connsiteX19" fmla="*/ 6764 w 11176"/>
              <a:gd name="connsiteY19" fmla="*/ 1806 h 14586"/>
              <a:gd name="connsiteX20" fmla="*/ 4705 w 11176"/>
              <a:gd name="connsiteY20" fmla="*/ 1111 h 14586"/>
              <a:gd name="connsiteX21" fmla="*/ 3529 w 11176"/>
              <a:gd name="connsiteY21" fmla="*/ 1111 h 14586"/>
              <a:gd name="connsiteX22" fmla="*/ 2352 w 11176"/>
              <a:gd name="connsiteY22" fmla="*/ 0 h 14586"/>
              <a:gd name="connsiteX23" fmla="*/ 2941 w 11176"/>
              <a:gd name="connsiteY23" fmla="*/ 5281 h 14586"/>
              <a:gd name="connsiteX24" fmla="*/ 1764 w 11176"/>
              <a:gd name="connsiteY24" fmla="*/ 5281 h 14586"/>
              <a:gd name="connsiteX25" fmla="*/ 1176 w 11176"/>
              <a:gd name="connsiteY25" fmla="*/ 3891 h 14586"/>
              <a:gd name="connsiteX26" fmla="*/ 882 w 11176"/>
              <a:gd name="connsiteY26" fmla="*/ 5976 h 14586"/>
              <a:gd name="connsiteX27" fmla="*/ 0 w 11176"/>
              <a:gd name="connsiteY27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8218 w 11176"/>
              <a:gd name="connsiteY16" fmla="*/ 6808 h 14586"/>
              <a:gd name="connsiteX17" fmla="*/ 9117 w 11176"/>
              <a:gd name="connsiteY17" fmla="*/ 0 h 14586"/>
              <a:gd name="connsiteX18" fmla="*/ 6764 w 11176"/>
              <a:gd name="connsiteY18" fmla="*/ 1806 h 14586"/>
              <a:gd name="connsiteX19" fmla="*/ 4705 w 11176"/>
              <a:gd name="connsiteY19" fmla="*/ 1111 h 14586"/>
              <a:gd name="connsiteX20" fmla="*/ 3529 w 11176"/>
              <a:gd name="connsiteY20" fmla="*/ 1111 h 14586"/>
              <a:gd name="connsiteX21" fmla="*/ 2352 w 11176"/>
              <a:gd name="connsiteY21" fmla="*/ 0 h 14586"/>
              <a:gd name="connsiteX22" fmla="*/ 2941 w 11176"/>
              <a:gd name="connsiteY22" fmla="*/ 5281 h 14586"/>
              <a:gd name="connsiteX23" fmla="*/ 1764 w 11176"/>
              <a:gd name="connsiteY23" fmla="*/ 5281 h 14586"/>
              <a:gd name="connsiteX24" fmla="*/ 1176 w 11176"/>
              <a:gd name="connsiteY24" fmla="*/ 3891 h 14586"/>
              <a:gd name="connsiteX25" fmla="*/ 882 w 11176"/>
              <a:gd name="connsiteY25" fmla="*/ 5976 h 14586"/>
              <a:gd name="connsiteX26" fmla="*/ 0 w 11176"/>
              <a:gd name="connsiteY26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279 w 11176"/>
              <a:gd name="connsiteY15" fmla="*/ 7919 h 14586"/>
              <a:gd name="connsiteX16" fmla="*/ 9117 w 11176"/>
              <a:gd name="connsiteY16" fmla="*/ 0 h 14586"/>
              <a:gd name="connsiteX17" fmla="*/ 6764 w 11176"/>
              <a:gd name="connsiteY17" fmla="*/ 1806 h 14586"/>
              <a:gd name="connsiteX18" fmla="*/ 4705 w 11176"/>
              <a:gd name="connsiteY18" fmla="*/ 1111 h 14586"/>
              <a:gd name="connsiteX19" fmla="*/ 3529 w 11176"/>
              <a:gd name="connsiteY19" fmla="*/ 1111 h 14586"/>
              <a:gd name="connsiteX20" fmla="*/ 2352 w 11176"/>
              <a:gd name="connsiteY20" fmla="*/ 0 h 14586"/>
              <a:gd name="connsiteX21" fmla="*/ 2941 w 11176"/>
              <a:gd name="connsiteY21" fmla="*/ 5281 h 14586"/>
              <a:gd name="connsiteX22" fmla="*/ 1764 w 11176"/>
              <a:gd name="connsiteY22" fmla="*/ 5281 h 14586"/>
              <a:gd name="connsiteX23" fmla="*/ 1176 w 11176"/>
              <a:gd name="connsiteY23" fmla="*/ 3891 h 14586"/>
              <a:gd name="connsiteX24" fmla="*/ 882 w 11176"/>
              <a:gd name="connsiteY24" fmla="*/ 5976 h 14586"/>
              <a:gd name="connsiteX25" fmla="*/ 0 w 11176"/>
              <a:gd name="connsiteY25" fmla="*/ 5976 h 14586"/>
              <a:gd name="connsiteX0" fmla="*/ 0 w 11176"/>
              <a:gd name="connsiteY0" fmla="*/ 5976 h 14586"/>
              <a:gd name="connsiteX1" fmla="*/ 588 w 11176"/>
              <a:gd name="connsiteY1" fmla="*/ 12927 h 14586"/>
              <a:gd name="connsiteX2" fmla="*/ 2237 w 11176"/>
              <a:gd name="connsiteY2" fmla="*/ 13475 h 14586"/>
              <a:gd name="connsiteX3" fmla="*/ 3330 w 11176"/>
              <a:gd name="connsiteY3" fmla="*/ 13475 h 14586"/>
              <a:gd name="connsiteX4" fmla="*/ 5227 w 11176"/>
              <a:gd name="connsiteY4" fmla="*/ 12364 h 14586"/>
              <a:gd name="connsiteX5" fmla="*/ 5774 w 11176"/>
              <a:gd name="connsiteY5" fmla="*/ 12364 h 14586"/>
              <a:gd name="connsiteX6" fmla="*/ 5774 w 11176"/>
              <a:gd name="connsiteY6" fmla="*/ 14586 h 14586"/>
              <a:gd name="connsiteX7" fmla="*/ 7382 w 11176"/>
              <a:gd name="connsiteY7" fmla="*/ 14586 h 14586"/>
              <a:gd name="connsiteX8" fmla="*/ 8218 w 11176"/>
              <a:gd name="connsiteY8" fmla="*/ 12364 h 14586"/>
              <a:gd name="connsiteX9" fmla="*/ 9279 w 11176"/>
              <a:gd name="connsiteY9" fmla="*/ 12364 h 14586"/>
              <a:gd name="connsiteX10" fmla="*/ 10115 w 11176"/>
              <a:gd name="connsiteY10" fmla="*/ 10142 h 14586"/>
              <a:gd name="connsiteX11" fmla="*/ 11176 w 11176"/>
              <a:gd name="connsiteY11" fmla="*/ 9030 h 14586"/>
              <a:gd name="connsiteX12" fmla="*/ 11176 w 11176"/>
              <a:gd name="connsiteY12" fmla="*/ 4586 h 14586"/>
              <a:gd name="connsiteX13" fmla="*/ 10372 w 11176"/>
              <a:gd name="connsiteY13" fmla="*/ 6808 h 14586"/>
              <a:gd name="connsiteX14" fmla="*/ 9826 w 11176"/>
              <a:gd name="connsiteY14" fmla="*/ 7919 h 14586"/>
              <a:gd name="connsiteX15" fmla="*/ 9117 w 11176"/>
              <a:gd name="connsiteY15" fmla="*/ 0 h 14586"/>
              <a:gd name="connsiteX16" fmla="*/ 6764 w 11176"/>
              <a:gd name="connsiteY16" fmla="*/ 1806 h 14586"/>
              <a:gd name="connsiteX17" fmla="*/ 4705 w 11176"/>
              <a:gd name="connsiteY17" fmla="*/ 1111 h 14586"/>
              <a:gd name="connsiteX18" fmla="*/ 3529 w 11176"/>
              <a:gd name="connsiteY18" fmla="*/ 1111 h 14586"/>
              <a:gd name="connsiteX19" fmla="*/ 2352 w 11176"/>
              <a:gd name="connsiteY19" fmla="*/ 0 h 14586"/>
              <a:gd name="connsiteX20" fmla="*/ 2941 w 11176"/>
              <a:gd name="connsiteY20" fmla="*/ 5281 h 14586"/>
              <a:gd name="connsiteX21" fmla="*/ 1764 w 11176"/>
              <a:gd name="connsiteY21" fmla="*/ 5281 h 14586"/>
              <a:gd name="connsiteX22" fmla="*/ 1176 w 11176"/>
              <a:gd name="connsiteY22" fmla="*/ 3891 h 14586"/>
              <a:gd name="connsiteX23" fmla="*/ 882 w 11176"/>
              <a:gd name="connsiteY23" fmla="*/ 5976 h 14586"/>
              <a:gd name="connsiteX24" fmla="*/ 0 w 11176"/>
              <a:gd name="connsiteY24" fmla="*/ 5976 h 14586"/>
              <a:gd name="connsiteX0" fmla="*/ 0 w 13823"/>
              <a:gd name="connsiteY0" fmla="*/ 10981 h 19591"/>
              <a:gd name="connsiteX1" fmla="*/ 588 w 13823"/>
              <a:gd name="connsiteY1" fmla="*/ 17932 h 19591"/>
              <a:gd name="connsiteX2" fmla="*/ 2237 w 13823"/>
              <a:gd name="connsiteY2" fmla="*/ 18480 h 19591"/>
              <a:gd name="connsiteX3" fmla="*/ 3330 w 13823"/>
              <a:gd name="connsiteY3" fmla="*/ 18480 h 19591"/>
              <a:gd name="connsiteX4" fmla="*/ 5227 w 13823"/>
              <a:gd name="connsiteY4" fmla="*/ 17369 h 19591"/>
              <a:gd name="connsiteX5" fmla="*/ 5774 w 13823"/>
              <a:gd name="connsiteY5" fmla="*/ 17369 h 19591"/>
              <a:gd name="connsiteX6" fmla="*/ 5774 w 13823"/>
              <a:gd name="connsiteY6" fmla="*/ 19591 h 19591"/>
              <a:gd name="connsiteX7" fmla="*/ 7382 w 13823"/>
              <a:gd name="connsiteY7" fmla="*/ 19591 h 19591"/>
              <a:gd name="connsiteX8" fmla="*/ 8218 w 13823"/>
              <a:gd name="connsiteY8" fmla="*/ 17369 h 19591"/>
              <a:gd name="connsiteX9" fmla="*/ 9279 w 13823"/>
              <a:gd name="connsiteY9" fmla="*/ 17369 h 19591"/>
              <a:gd name="connsiteX10" fmla="*/ 10115 w 13823"/>
              <a:gd name="connsiteY10" fmla="*/ 15147 h 19591"/>
              <a:gd name="connsiteX11" fmla="*/ 11176 w 13823"/>
              <a:gd name="connsiteY11" fmla="*/ 14035 h 19591"/>
              <a:gd name="connsiteX12" fmla="*/ 11176 w 13823"/>
              <a:gd name="connsiteY12" fmla="*/ 9591 h 19591"/>
              <a:gd name="connsiteX13" fmla="*/ 10372 w 13823"/>
              <a:gd name="connsiteY13" fmla="*/ 11813 h 19591"/>
              <a:gd name="connsiteX14" fmla="*/ 13823 w 13823"/>
              <a:gd name="connsiteY14" fmla="*/ 2640 h 19591"/>
              <a:gd name="connsiteX15" fmla="*/ 9117 w 13823"/>
              <a:gd name="connsiteY15" fmla="*/ 5005 h 19591"/>
              <a:gd name="connsiteX16" fmla="*/ 6764 w 13823"/>
              <a:gd name="connsiteY16" fmla="*/ 6811 h 19591"/>
              <a:gd name="connsiteX17" fmla="*/ 4705 w 13823"/>
              <a:gd name="connsiteY17" fmla="*/ 6116 h 19591"/>
              <a:gd name="connsiteX18" fmla="*/ 3529 w 13823"/>
              <a:gd name="connsiteY18" fmla="*/ 6116 h 19591"/>
              <a:gd name="connsiteX19" fmla="*/ 2352 w 13823"/>
              <a:gd name="connsiteY19" fmla="*/ 5005 h 19591"/>
              <a:gd name="connsiteX20" fmla="*/ 2941 w 13823"/>
              <a:gd name="connsiteY20" fmla="*/ 10286 h 19591"/>
              <a:gd name="connsiteX21" fmla="*/ 1764 w 13823"/>
              <a:gd name="connsiteY21" fmla="*/ 10286 h 19591"/>
              <a:gd name="connsiteX22" fmla="*/ 1176 w 13823"/>
              <a:gd name="connsiteY22" fmla="*/ 8896 h 19591"/>
              <a:gd name="connsiteX23" fmla="*/ 882 w 13823"/>
              <a:gd name="connsiteY23" fmla="*/ 10981 h 19591"/>
              <a:gd name="connsiteX24" fmla="*/ 0 w 13823"/>
              <a:gd name="connsiteY24" fmla="*/ 10981 h 19591"/>
              <a:gd name="connsiteX0" fmla="*/ 0 w 14705"/>
              <a:gd name="connsiteY0" fmla="*/ 10981 h 19591"/>
              <a:gd name="connsiteX1" fmla="*/ 588 w 14705"/>
              <a:gd name="connsiteY1" fmla="*/ 17932 h 19591"/>
              <a:gd name="connsiteX2" fmla="*/ 2237 w 14705"/>
              <a:gd name="connsiteY2" fmla="*/ 18480 h 19591"/>
              <a:gd name="connsiteX3" fmla="*/ 3330 w 14705"/>
              <a:gd name="connsiteY3" fmla="*/ 18480 h 19591"/>
              <a:gd name="connsiteX4" fmla="*/ 5227 w 14705"/>
              <a:gd name="connsiteY4" fmla="*/ 17369 h 19591"/>
              <a:gd name="connsiteX5" fmla="*/ 5774 w 14705"/>
              <a:gd name="connsiteY5" fmla="*/ 17369 h 19591"/>
              <a:gd name="connsiteX6" fmla="*/ 5774 w 14705"/>
              <a:gd name="connsiteY6" fmla="*/ 19591 h 19591"/>
              <a:gd name="connsiteX7" fmla="*/ 7382 w 14705"/>
              <a:gd name="connsiteY7" fmla="*/ 19591 h 19591"/>
              <a:gd name="connsiteX8" fmla="*/ 8218 w 14705"/>
              <a:gd name="connsiteY8" fmla="*/ 17369 h 19591"/>
              <a:gd name="connsiteX9" fmla="*/ 9279 w 14705"/>
              <a:gd name="connsiteY9" fmla="*/ 17369 h 19591"/>
              <a:gd name="connsiteX10" fmla="*/ 10115 w 14705"/>
              <a:gd name="connsiteY10" fmla="*/ 15147 h 19591"/>
              <a:gd name="connsiteX11" fmla="*/ 11176 w 14705"/>
              <a:gd name="connsiteY11" fmla="*/ 14035 h 19591"/>
              <a:gd name="connsiteX12" fmla="*/ 11176 w 14705"/>
              <a:gd name="connsiteY12" fmla="*/ 9591 h 19591"/>
              <a:gd name="connsiteX13" fmla="*/ 14705 w 14705"/>
              <a:gd name="connsiteY13" fmla="*/ 1945 h 19591"/>
              <a:gd name="connsiteX14" fmla="*/ 13823 w 14705"/>
              <a:gd name="connsiteY14" fmla="*/ 2640 h 19591"/>
              <a:gd name="connsiteX15" fmla="*/ 9117 w 14705"/>
              <a:gd name="connsiteY15" fmla="*/ 5005 h 19591"/>
              <a:gd name="connsiteX16" fmla="*/ 6764 w 14705"/>
              <a:gd name="connsiteY16" fmla="*/ 6811 h 19591"/>
              <a:gd name="connsiteX17" fmla="*/ 4705 w 14705"/>
              <a:gd name="connsiteY17" fmla="*/ 6116 h 19591"/>
              <a:gd name="connsiteX18" fmla="*/ 3529 w 14705"/>
              <a:gd name="connsiteY18" fmla="*/ 6116 h 19591"/>
              <a:gd name="connsiteX19" fmla="*/ 2352 w 14705"/>
              <a:gd name="connsiteY19" fmla="*/ 5005 h 19591"/>
              <a:gd name="connsiteX20" fmla="*/ 2941 w 14705"/>
              <a:gd name="connsiteY20" fmla="*/ 10286 h 19591"/>
              <a:gd name="connsiteX21" fmla="*/ 1764 w 14705"/>
              <a:gd name="connsiteY21" fmla="*/ 10286 h 19591"/>
              <a:gd name="connsiteX22" fmla="*/ 1176 w 14705"/>
              <a:gd name="connsiteY22" fmla="*/ 8896 h 19591"/>
              <a:gd name="connsiteX23" fmla="*/ 882 w 14705"/>
              <a:gd name="connsiteY23" fmla="*/ 10981 h 19591"/>
              <a:gd name="connsiteX24" fmla="*/ 0 w 14705"/>
              <a:gd name="connsiteY24" fmla="*/ 10981 h 19591"/>
              <a:gd name="connsiteX0" fmla="*/ 0 w 14705"/>
              <a:gd name="connsiteY0" fmla="*/ 9036 h 17646"/>
              <a:gd name="connsiteX1" fmla="*/ 588 w 14705"/>
              <a:gd name="connsiteY1" fmla="*/ 15987 h 17646"/>
              <a:gd name="connsiteX2" fmla="*/ 2237 w 14705"/>
              <a:gd name="connsiteY2" fmla="*/ 16535 h 17646"/>
              <a:gd name="connsiteX3" fmla="*/ 3330 w 14705"/>
              <a:gd name="connsiteY3" fmla="*/ 16535 h 17646"/>
              <a:gd name="connsiteX4" fmla="*/ 5227 w 14705"/>
              <a:gd name="connsiteY4" fmla="*/ 15424 h 17646"/>
              <a:gd name="connsiteX5" fmla="*/ 5774 w 14705"/>
              <a:gd name="connsiteY5" fmla="*/ 15424 h 17646"/>
              <a:gd name="connsiteX6" fmla="*/ 5774 w 14705"/>
              <a:gd name="connsiteY6" fmla="*/ 17646 h 17646"/>
              <a:gd name="connsiteX7" fmla="*/ 7382 w 14705"/>
              <a:gd name="connsiteY7" fmla="*/ 17646 h 17646"/>
              <a:gd name="connsiteX8" fmla="*/ 8218 w 14705"/>
              <a:gd name="connsiteY8" fmla="*/ 15424 h 17646"/>
              <a:gd name="connsiteX9" fmla="*/ 9279 w 14705"/>
              <a:gd name="connsiteY9" fmla="*/ 15424 h 17646"/>
              <a:gd name="connsiteX10" fmla="*/ 10115 w 14705"/>
              <a:gd name="connsiteY10" fmla="*/ 13202 h 17646"/>
              <a:gd name="connsiteX11" fmla="*/ 11176 w 14705"/>
              <a:gd name="connsiteY11" fmla="*/ 12090 h 17646"/>
              <a:gd name="connsiteX12" fmla="*/ 11176 w 14705"/>
              <a:gd name="connsiteY12" fmla="*/ 7646 h 17646"/>
              <a:gd name="connsiteX13" fmla="*/ 14705 w 14705"/>
              <a:gd name="connsiteY13" fmla="*/ 0 h 17646"/>
              <a:gd name="connsiteX14" fmla="*/ 9117 w 14705"/>
              <a:gd name="connsiteY14" fmla="*/ 3060 h 17646"/>
              <a:gd name="connsiteX15" fmla="*/ 6764 w 14705"/>
              <a:gd name="connsiteY15" fmla="*/ 4866 h 17646"/>
              <a:gd name="connsiteX16" fmla="*/ 4705 w 14705"/>
              <a:gd name="connsiteY16" fmla="*/ 4171 h 17646"/>
              <a:gd name="connsiteX17" fmla="*/ 3529 w 14705"/>
              <a:gd name="connsiteY17" fmla="*/ 4171 h 17646"/>
              <a:gd name="connsiteX18" fmla="*/ 2352 w 14705"/>
              <a:gd name="connsiteY18" fmla="*/ 3060 h 17646"/>
              <a:gd name="connsiteX19" fmla="*/ 2941 w 14705"/>
              <a:gd name="connsiteY19" fmla="*/ 8341 h 17646"/>
              <a:gd name="connsiteX20" fmla="*/ 1764 w 14705"/>
              <a:gd name="connsiteY20" fmla="*/ 8341 h 17646"/>
              <a:gd name="connsiteX21" fmla="*/ 1176 w 14705"/>
              <a:gd name="connsiteY21" fmla="*/ 6951 h 17646"/>
              <a:gd name="connsiteX22" fmla="*/ 882 w 14705"/>
              <a:gd name="connsiteY22" fmla="*/ 9036 h 17646"/>
              <a:gd name="connsiteX23" fmla="*/ 0 w 14705"/>
              <a:gd name="connsiteY23" fmla="*/ 9036 h 17646"/>
              <a:gd name="connsiteX0" fmla="*/ 0 w 14705"/>
              <a:gd name="connsiteY0" fmla="*/ 9036 h 17646"/>
              <a:gd name="connsiteX1" fmla="*/ 588 w 14705"/>
              <a:gd name="connsiteY1" fmla="*/ 15987 h 17646"/>
              <a:gd name="connsiteX2" fmla="*/ 2237 w 14705"/>
              <a:gd name="connsiteY2" fmla="*/ 16535 h 17646"/>
              <a:gd name="connsiteX3" fmla="*/ 3330 w 14705"/>
              <a:gd name="connsiteY3" fmla="*/ 16535 h 17646"/>
              <a:gd name="connsiteX4" fmla="*/ 5227 w 14705"/>
              <a:gd name="connsiteY4" fmla="*/ 15424 h 17646"/>
              <a:gd name="connsiteX5" fmla="*/ 5774 w 14705"/>
              <a:gd name="connsiteY5" fmla="*/ 15424 h 17646"/>
              <a:gd name="connsiteX6" fmla="*/ 5774 w 14705"/>
              <a:gd name="connsiteY6" fmla="*/ 17646 h 17646"/>
              <a:gd name="connsiteX7" fmla="*/ 7382 w 14705"/>
              <a:gd name="connsiteY7" fmla="*/ 17646 h 17646"/>
              <a:gd name="connsiteX8" fmla="*/ 8218 w 14705"/>
              <a:gd name="connsiteY8" fmla="*/ 15424 h 17646"/>
              <a:gd name="connsiteX9" fmla="*/ 9279 w 14705"/>
              <a:gd name="connsiteY9" fmla="*/ 15424 h 17646"/>
              <a:gd name="connsiteX10" fmla="*/ 10115 w 14705"/>
              <a:gd name="connsiteY10" fmla="*/ 13202 h 17646"/>
              <a:gd name="connsiteX11" fmla="*/ 11176 w 14705"/>
              <a:gd name="connsiteY11" fmla="*/ 12090 h 17646"/>
              <a:gd name="connsiteX12" fmla="*/ 11176 w 14705"/>
              <a:gd name="connsiteY12" fmla="*/ 7646 h 17646"/>
              <a:gd name="connsiteX13" fmla="*/ 14705 w 14705"/>
              <a:gd name="connsiteY13" fmla="*/ 0 h 17646"/>
              <a:gd name="connsiteX14" fmla="*/ 9117 w 14705"/>
              <a:gd name="connsiteY14" fmla="*/ 3060 h 17646"/>
              <a:gd name="connsiteX15" fmla="*/ 6764 w 14705"/>
              <a:gd name="connsiteY15" fmla="*/ 4866 h 17646"/>
              <a:gd name="connsiteX16" fmla="*/ 4705 w 14705"/>
              <a:gd name="connsiteY16" fmla="*/ 4171 h 17646"/>
              <a:gd name="connsiteX17" fmla="*/ 3529 w 14705"/>
              <a:gd name="connsiteY17" fmla="*/ 4171 h 17646"/>
              <a:gd name="connsiteX18" fmla="*/ 2352 w 14705"/>
              <a:gd name="connsiteY18" fmla="*/ 3060 h 17646"/>
              <a:gd name="connsiteX19" fmla="*/ 2941 w 14705"/>
              <a:gd name="connsiteY19" fmla="*/ 8341 h 17646"/>
              <a:gd name="connsiteX20" fmla="*/ 1764 w 14705"/>
              <a:gd name="connsiteY20" fmla="*/ 8341 h 17646"/>
              <a:gd name="connsiteX21" fmla="*/ 1176 w 14705"/>
              <a:gd name="connsiteY21" fmla="*/ 6951 h 17646"/>
              <a:gd name="connsiteX22" fmla="*/ 882 w 14705"/>
              <a:gd name="connsiteY22" fmla="*/ 9036 h 17646"/>
              <a:gd name="connsiteX23" fmla="*/ 0 w 14705"/>
              <a:gd name="connsiteY23" fmla="*/ 9036 h 17646"/>
              <a:gd name="connsiteX0" fmla="*/ 0 w 14705"/>
              <a:gd name="connsiteY0" fmla="*/ 9036 h 17646"/>
              <a:gd name="connsiteX1" fmla="*/ 588 w 14705"/>
              <a:gd name="connsiteY1" fmla="*/ 15987 h 17646"/>
              <a:gd name="connsiteX2" fmla="*/ 2237 w 14705"/>
              <a:gd name="connsiteY2" fmla="*/ 16535 h 17646"/>
              <a:gd name="connsiteX3" fmla="*/ 3330 w 14705"/>
              <a:gd name="connsiteY3" fmla="*/ 16535 h 17646"/>
              <a:gd name="connsiteX4" fmla="*/ 5227 w 14705"/>
              <a:gd name="connsiteY4" fmla="*/ 15424 h 17646"/>
              <a:gd name="connsiteX5" fmla="*/ 5774 w 14705"/>
              <a:gd name="connsiteY5" fmla="*/ 15424 h 17646"/>
              <a:gd name="connsiteX6" fmla="*/ 5774 w 14705"/>
              <a:gd name="connsiteY6" fmla="*/ 17646 h 17646"/>
              <a:gd name="connsiteX7" fmla="*/ 7382 w 14705"/>
              <a:gd name="connsiteY7" fmla="*/ 17646 h 17646"/>
              <a:gd name="connsiteX8" fmla="*/ 8218 w 14705"/>
              <a:gd name="connsiteY8" fmla="*/ 15424 h 17646"/>
              <a:gd name="connsiteX9" fmla="*/ 9279 w 14705"/>
              <a:gd name="connsiteY9" fmla="*/ 15424 h 17646"/>
              <a:gd name="connsiteX10" fmla="*/ 10115 w 14705"/>
              <a:gd name="connsiteY10" fmla="*/ 13202 h 17646"/>
              <a:gd name="connsiteX11" fmla="*/ 11176 w 14705"/>
              <a:gd name="connsiteY11" fmla="*/ 12090 h 17646"/>
              <a:gd name="connsiteX12" fmla="*/ 14705 w 14705"/>
              <a:gd name="connsiteY12" fmla="*/ 1390 h 17646"/>
              <a:gd name="connsiteX13" fmla="*/ 14705 w 14705"/>
              <a:gd name="connsiteY13" fmla="*/ 0 h 17646"/>
              <a:gd name="connsiteX14" fmla="*/ 9117 w 14705"/>
              <a:gd name="connsiteY14" fmla="*/ 3060 h 17646"/>
              <a:gd name="connsiteX15" fmla="*/ 6764 w 14705"/>
              <a:gd name="connsiteY15" fmla="*/ 4866 h 17646"/>
              <a:gd name="connsiteX16" fmla="*/ 4705 w 14705"/>
              <a:gd name="connsiteY16" fmla="*/ 4171 h 17646"/>
              <a:gd name="connsiteX17" fmla="*/ 3529 w 14705"/>
              <a:gd name="connsiteY17" fmla="*/ 4171 h 17646"/>
              <a:gd name="connsiteX18" fmla="*/ 2352 w 14705"/>
              <a:gd name="connsiteY18" fmla="*/ 3060 h 17646"/>
              <a:gd name="connsiteX19" fmla="*/ 2941 w 14705"/>
              <a:gd name="connsiteY19" fmla="*/ 8341 h 17646"/>
              <a:gd name="connsiteX20" fmla="*/ 1764 w 14705"/>
              <a:gd name="connsiteY20" fmla="*/ 8341 h 17646"/>
              <a:gd name="connsiteX21" fmla="*/ 1176 w 14705"/>
              <a:gd name="connsiteY21" fmla="*/ 6951 h 17646"/>
              <a:gd name="connsiteX22" fmla="*/ 882 w 14705"/>
              <a:gd name="connsiteY22" fmla="*/ 9036 h 17646"/>
              <a:gd name="connsiteX23" fmla="*/ 0 w 14705"/>
              <a:gd name="connsiteY23" fmla="*/ 9036 h 17646"/>
              <a:gd name="connsiteX0" fmla="*/ 0 w 14705"/>
              <a:gd name="connsiteY0" fmla="*/ 9036 h 17646"/>
              <a:gd name="connsiteX1" fmla="*/ 588 w 14705"/>
              <a:gd name="connsiteY1" fmla="*/ 15987 h 17646"/>
              <a:gd name="connsiteX2" fmla="*/ 2237 w 14705"/>
              <a:gd name="connsiteY2" fmla="*/ 16535 h 17646"/>
              <a:gd name="connsiteX3" fmla="*/ 3330 w 14705"/>
              <a:gd name="connsiteY3" fmla="*/ 16535 h 17646"/>
              <a:gd name="connsiteX4" fmla="*/ 5227 w 14705"/>
              <a:gd name="connsiteY4" fmla="*/ 15424 h 17646"/>
              <a:gd name="connsiteX5" fmla="*/ 5774 w 14705"/>
              <a:gd name="connsiteY5" fmla="*/ 15424 h 17646"/>
              <a:gd name="connsiteX6" fmla="*/ 5774 w 14705"/>
              <a:gd name="connsiteY6" fmla="*/ 17646 h 17646"/>
              <a:gd name="connsiteX7" fmla="*/ 7382 w 14705"/>
              <a:gd name="connsiteY7" fmla="*/ 17646 h 17646"/>
              <a:gd name="connsiteX8" fmla="*/ 8218 w 14705"/>
              <a:gd name="connsiteY8" fmla="*/ 15424 h 17646"/>
              <a:gd name="connsiteX9" fmla="*/ 9279 w 14705"/>
              <a:gd name="connsiteY9" fmla="*/ 15424 h 17646"/>
              <a:gd name="connsiteX10" fmla="*/ 10115 w 14705"/>
              <a:gd name="connsiteY10" fmla="*/ 13202 h 17646"/>
              <a:gd name="connsiteX11" fmla="*/ 9411 w 14705"/>
              <a:gd name="connsiteY11" fmla="*/ 6256 h 17646"/>
              <a:gd name="connsiteX12" fmla="*/ 14705 w 14705"/>
              <a:gd name="connsiteY12" fmla="*/ 1390 h 17646"/>
              <a:gd name="connsiteX13" fmla="*/ 14705 w 14705"/>
              <a:gd name="connsiteY13" fmla="*/ 0 h 17646"/>
              <a:gd name="connsiteX14" fmla="*/ 9117 w 14705"/>
              <a:gd name="connsiteY14" fmla="*/ 3060 h 17646"/>
              <a:gd name="connsiteX15" fmla="*/ 6764 w 14705"/>
              <a:gd name="connsiteY15" fmla="*/ 4866 h 17646"/>
              <a:gd name="connsiteX16" fmla="*/ 4705 w 14705"/>
              <a:gd name="connsiteY16" fmla="*/ 4171 h 17646"/>
              <a:gd name="connsiteX17" fmla="*/ 3529 w 14705"/>
              <a:gd name="connsiteY17" fmla="*/ 4171 h 17646"/>
              <a:gd name="connsiteX18" fmla="*/ 2352 w 14705"/>
              <a:gd name="connsiteY18" fmla="*/ 3060 h 17646"/>
              <a:gd name="connsiteX19" fmla="*/ 2941 w 14705"/>
              <a:gd name="connsiteY19" fmla="*/ 8341 h 17646"/>
              <a:gd name="connsiteX20" fmla="*/ 1764 w 14705"/>
              <a:gd name="connsiteY20" fmla="*/ 8341 h 17646"/>
              <a:gd name="connsiteX21" fmla="*/ 1176 w 14705"/>
              <a:gd name="connsiteY21" fmla="*/ 6951 h 17646"/>
              <a:gd name="connsiteX22" fmla="*/ 882 w 14705"/>
              <a:gd name="connsiteY22" fmla="*/ 9036 h 17646"/>
              <a:gd name="connsiteX23" fmla="*/ 0 w 14705"/>
              <a:gd name="connsiteY23" fmla="*/ 9036 h 17646"/>
              <a:gd name="connsiteX0" fmla="*/ 0 w 14705"/>
              <a:gd name="connsiteY0" fmla="*/ 9036 h 17646"/>
              <a:gd name="connsiteX1" fmla="*/ 588 w 14705"/>
              <a:gd name="connsiteY1" fmla="*/ 15987 h 17646"/>
              <a:gd name="connsiteX2" fmla="*/ 2237 w 14705"/>
              <a:gd name="connsiteY2" fmla="*/ 16535 h 17646"/>
              <a:gd name="connsiteX3" fmla="*/ 3330 w 14705"/>
              <a:gd name="connsiteY3" fmla="*/ 16535 h 17646"/>
              <a:gd name="connsiteX4" fmla="*/ 5227 w 14705"/>
              <a:gd name="connsiteY4" fmla="*/ 15424 h 17646"/>
              <a:gd name="connsiteX5" fmla="*/ 5774 w 14705"/>
              <a:gd name="connsiteY5" fmla="*/ 15424 h 17646"/>
              <a:gd name="connsiteX6" fmla="*/ 5774 w 14705"/>
              <a:gd name="connsiteY6" fmla="*/ 17646 h 17646"/>
              <a:gd name="connsiteX7" fmla="*/ 7382 w 14705"/>
              <a:gd name="connsiteY7" fmla="*/ 17646 h 17646"/>
              <a:gd name="connsiteX8" fmla="*/ 7058 w 14705"/>
              <a:gd name="connsiteY8" fmla="*/ 14680 h 17646"/>
              <a:gd name="connsiteX9" fmla="*/ 9279 w 14705"/>
              <a:gd name="connsiteY9" fmla="*/ 15424 h 17646"/>
              <a:gd name="connsiteX10" fmla="*/ 10115 w 14705"/>
              <a:gd name="connsiteY10" fmla="*/ 13202 h 17646"/>
              <a:gd name="connsiteX11" fmla="*/ 9411 w 14705"/>
              <a:gd name="connsiteY11" fmla="*/ 6256 h 17646"/>
              <a:gd name="connsiteX12" fmla="*/ 14705 w 14705"/>
              <a:gd name="connsiteY12" fmla="*/ 1390 h 17646"/>
              <a:gd name="connsiteX13" fmla="*/ 14705 w 14705"/>
              <a:gd name="connsiteY13" fmla="*/ 0 h 17646"/>
              <a:gd name="connsiteX14" fmla="*/ 9117 w 14705"/>
              <a:gd name="connsiteY14" fmla="*/ 3060 h 17646"/>
              <a:gd name="connsiteX15" fmla="*/ 6764 w 14705"/>
              <a:gd name="connsiteY15" fmla="*/ 4866 h 17646"/>
              <a:gd name="connsiteX16" fmla="*/ 4705 w 14705"/>
              <a:gd name="connsiteY16" fmla="*/ 4171 h 17646"/>
              <a:gd name="connsiteX17" fmla="*/ 3529 w 14705"/>
              <a:gd name="connsiteY17" fmla="*/ 4171 h 17646"/>
              <a:gd name="connsiteX18" fmla="*/ 2352 w 14705"/>
              <a:gd name="connsiteY18" fmla="*/ 3060 h 17646"/>
              <a:gd name="connsiteX19" fmla="*/ 2941 w 14705"/>
              <a:gd name="connsiteY19" fmla="*/ 8341 h 17646"/>
              <a:gd name="connsiteX20" fmla="*/ 1764 w 14705"/>
              <a:gd name="connsiteY20" fmla="*/ 8341 h 17646"/>
              <a:gd name="connsiteX21" fmla="*/ 1176 w 14705"/>
              <a:gd name="connsiteY21" fmla="*/ 6951 h 17646"/>
              <a:gd name="connsiteX22" fmla="*/ 882 w 14705"/>
              <a:gd name="connsiteY22" fmla="*/ 9036 h 17646"/>
              <a:gd name="connsiteX23" fmla="*/ 0 w 14705"/>
              <a:gd name="connsiteY23" fmla="*/ 9036 h 17646"/>
              <a:gd name="connsiteX0" fmla="*/ 0 w 14705"/>
              <a:gd name="connsiteY0" fmla="*/ 9036 h 18767"/>
              <a:gd name="connsiteX1" fmla="*/ 588 w 14705"/>
              <a:gd name="connsiteY1" fmla="*/ 15987 h 18767"/>
              <a:gd name="connsiteX2" fmla="*/ 2237 w 14705"/>
              <a:gd name="connsiteY2" fmla="*/ 16535 h 18767"/>
              <a:gd name="connsiteX3" fmla="*/ 2058 w 14705"/>
              <a:gd name="connsiteY3" fmla="*/ 18767 h 18767"/>
              <a:gd name="connsiteX4" fmla="*/ 5227 w 14705"/>
              <a:gd name="connsiteY4" fmla="*/ 15424 h 18767"/>
              <a:gd name="connsiteX5" fmla="*/ 5774 w 14705"/>
              <a:gd name="connsiteY5" fmla="*/ 15424 h 18767"/>
              <a:gd name="connsiteX6" fmla="*/ 5774 w 14705"/>
              <a:gd name="connsiteY6" fmla="*/ 17646 h 18767"/>
              <a:gd name="connsiteX7" fmla="*/ 7382 w 14705"/>
              <a:gd name="connsiteY7" fmla="*/ 17646 h 18767"/>
              <a:gd name="connsiteX8" fmla="*/ 7058 w 14705"/>
              <a:gd name="connsiteY8" fmla="*/ 14680 h 18767"/>
              <a:gd name="connsiteX9" fmla="*/ 9279 w 14705"/>
              <a:gd name="connsiteY9" fmla="*/ 15424 h 18767"/>
              <a:gd name="connsiteX10" fmla="*/ 10115 w 14705"/>
              <a:gd name="connsiteY10" fmla="*/ 13202 h 18767"/>
              <a:gd name="connsiteX11" fmla="*/ 9411 w 14705"/>
              <a:gd name="connsiteY11" fmla="*/ 6256 h 18767"/>
              <a:gd name="connsiteX12" fmla="*/ 14705 w 14705"/>
              <a:gd name="connsiteY12" fmla="*/ 1390 h 18767"/>
              <a:gd name="connsiteX13" fmla="*/ 14705 w 14705"/>
              <a:gd name="connsiteY13" fmla="*/ 0 h 18767"/>
              <a:gd name="connsiteX14" fmla="*/ 9117 w 14705"/>
              <a:gd name="connsiteY14" fmla="*/ 3060 h 18767"/>
              <a:gd name="connsiteX15" fmla="*/ 6764 w 14705"/>
              <a:gd name="connsiteY15" fmla="*/ 4866 h 18767"/>
              <a:gd name="connsiteX16" fmla="*/ 4705 w 14705"/>
              <a:gd name="connsiteY16" fmla="*/ 4171 h 18767"/>
              <a:gd name="connsiteX17" fmla="*/ 3529 w 14705"/>
              <a:gd name="connsiteY17" fmla="*/ 4171 h 18767"/>
              <a:gd name="connsiteX18" fmla="*/ 2352 w 14705"/>
              <a:gd name="connsiteY18" fmla="*/ 3060 h 18767"/>
              <a:gd name="connsiteX19" fmla="*/ 2941 w 14705"/>
              <a:gd name="connsiteY19" fmla="*/ 8341 h 18767"/>
              <a:gd name="connsiteX20" fmla="*/ 1764 w 14705"/>
              <a:gd name="connsiteY20" fmla="*/ 8341 h 18767"/>
              <a:gd name="connsiteX21" fmla="*/ 1176 w 14705"/>
              <a:gd name="connsiteY21" fmla="*/ 6951 h 18767"/>
              <a:gd name="connsiteX22" fmla="*/ 882 w 14705"/>
              <a:gd name="connsiteY22" fmla="*/ 9036 h 18767"/>
              <a:gd name="connsiteX23" fmla="*/ 0 w 14705"/>
              <a:gd name="connsiteY23" fmla="*/ 9036 h 18767"/>
              <a:gd name="connsiteX0" fmla="*/ 0 w 14705"/>
              <a:gd name="connsiteY0" fmla="*/ 9036 h 18767"/>
              <a:gd name="connsiteX1" fmla="*/ 588 w 14705"/>
              <a:gd name="connsiteY1" fmla="*/ 15987 h 18767"/>
              <a:gd name="connsiteX2" fmla="*/ 2237 w 14705"/>
              <a:gd name="connsiteY2" fmla="*/ 16535 h 18767"/>
              <a:gd name="connsiteX3" fmla="*/ 2058 w 14705"/>
              <a:gd name="connsiteY3" fmla="*/ 18767 h 18767"/>
              <a:gd name="connsiteX4" fmla="*/ 3529 w 14705"/>
              <a:gd name="connsiteY4" fmla="*/ 18767 h 18767"/>
              <a:gd name="connsiteX5" fmla="*/ 5774 w 14705"/>
              <a:gd name="connsiteY5" fmla="*/ 15424 h 18767"/>
              <a:gd name="connsiteX6" fmla="*/ 5774 w 14705"/>
              <a:gd name="connsiteY6" fmla="*/ 17646 h 18767"/>
              <a:gd name="connsiteX7" fmla="*/ 7382 w 14705"/>
              <a:gd name="connsiteY7" fmla="*/ 17646 h 18767"/>
              <a:gd name="connsiteX8" fmla="*/ 7058 w 14705"/>
              <a:gd name="connsiteY8" fmla="*/ 14680 h 18767"/>
              <a:gd name="connsiteX9" fmla="*/ 9279 w 14705"/>
              <a:gd name="connsiteY9" fmla="*/ 15424 h 18767"/>
              <a:gd name="connsiteX10" fmla="*/ 10115 w 14705"/>
              <a:gd name="connsiteY10" fmla="*/ 13202 h 18767"/>
              <a:gd name="connsiteX11" fmla="*/ 9411 w 14705"/>
              <a:gd name="connsiteY11" fmla="*/ 6256 h 18767"/>
              <a:gd name="connsiteX12" fmla="*/ 14705 w 14705"/>
              <a:gd name="connsiteY12" fmla="*/ 1390 h 18767"/>
              <a:gd name="connsiteX13" fmla="*/ 14705 w 14705"/>
              <a:gd name="connsiteY13" fmla="*/ 0 h 18767"/>
              <a:gd name="connsiteX14" fmla="*/ 9117 w 14705"/>
              <a:gd name="connsiteY14" fmla="*/ 3060 h 18767"/>
              <a:gd name="connsiteX15" fmla="*/ 6764 w 14705"/>
              <a:gd name="connsiteY15" fmla="*/ 4866 h 18767"/>
              <a:gd name="connsiteX16" fmla="*/ 4705 w 14705"/>
              <a:gd name="connsiteY16" fmla="*/ 4171 h 18767"/>
              <a:gd name="connsiteX17" fmla="*/ 3529 w 14705"/>
              <a:gd name="connsiteY17" fmla="*/ 4171 h 18767"/>
              <a:gd name="connsiteX18" fmla="*/ 2352 w 14705"/>
              <a:gd name="connsiteY18" fmla="*/ 3060 h 18767"/>
              <a:gd name="connsiteX19" fmla="*/ 2941 w 14705"/>
              <a:gd name="connsiteY19" fmla="*/ 8341 h 18767"/>
              <a:gd name="connsiteX20" fmla="*/ 1764 w 14705"/>
              <a:gd name="connsiteY20" fmla="*/ 8341 h 18767"/>
              <a:gd name="connsiteX21" fmla="*/ 1176 w 14705"/>
              <a:gd name="connsiteY21" fmla="*/ 6951 h 18767"/>
              <a:gd name="connsiteX22" fmla="*/ 882 w 14705"/>
              <a:gd name="connsiteY22" fmla="*/ 9036 h 18767"/>
              <a:gd name="connsiteX23" fmla="*/ 0 w 14705"/>
              <a:gd name="connsiteY23" fmla="*/ 9036 h 18767"/>
              <a:gd name="connsiteX0" fmla="*/ 0 w 14705"/>
              <a:gd name="connsiteY0" fmla="*/ 9036 h 18767"/>
              <a:gd name="connsiteX1" fmla="*/ 588 w 14705"/>
              <a:gd name="connsiteY1" fmla="*/ 15987 h 18767"/>
              <a:gd name="connsiteX2" fmla="*/ 2237 w 14705"/>
              <a:gd name="connsiteY2" fmla="*/ 16535 h 18767"/>
              <a:gd name="connsiteX3" fmla="*/ 2058 w 14705"/>
              <a:gd name="connsiteY3" fmla="*/ 18767 h 18767"/>
              <a:gd name="connsiteX4" fmla="*/ 3529 w 14705"/>
              <a:gd name="connsiteY4" fmla="*/ 18767 h 18767"/>
              <a:gd name="connsiteX5" fmla="*/ 3823 w 14705"/>
              <a:gd name="connsiteY5" fmla="*/ 15987 h 18767"/>
              <a:gd name="connsiteX6" fmla="*/ 5774 w 14705"/>
              <a:gd name="connsiteY6" fmla="*/ 17646 h 18767"/>
              <a:gd name="connsiteX7" fmla="*/ 7382 w 14705"/>
              <a:gd name="connsiteY7" fmla="*/ 17646 h 18767"/>
              <a:gd name="connsiteX8" fmla="*/ 7058 w 14705"/>
              <a:gd name="connsiteY8" fmla="*/ 14680 h 18767"/>
              <a:gd name="connsiteX9" fmla="*/ 9279 w 14705"/>
              <a:gd name="connsiteY9" fmla="*/ 15424 h 18767"/>
              <a:gd name="connsiteX10" fmla="*/ 10115 w 14705"/>
              <a:gd name="connsiteY10" fmla="*/ 13202 h 18767"/>
              <a:gd name="connsiteX11" fmla="*/ 9411 w 14705"/>
              <a:gd name="connsiteY11" fmla="*/ 6256 h 18767"/>
              <a:gd name="connsiteX12" fmla="*/ 14705 w 14705"/>
              <a:gd name="connsiteY12" fmla="*/ 1390 h 18767"/>
              <a:gd name="connsiteX13" fmla="*/ 14705 w 14705"/>
              <a:gd name="connsiteY13" fmla="*/ 0 h 18767"/>
              <a:gd name="connsiteX14" fmla="*/ 9117 w 14705"/>
              <a:gd name="connsiteY14" fmla="*/ 3060 h 18767"/>
              <a:gd name="connsiteX15" fmla="*/ 6764 w 14705"/>
              <a:gd name="connsiteY15" fmla="*/ 4866 h 18767"/>
              <a:gd name="connsiteX16" fmla="*/ 4705 w 14705"/>
              <a:gd name="connsiteY16" fmla="*/ 4171 h 18767"/>
              <a:gd name="connsiteX17" fmla="*/ 3529 w 14705"/>
              <a:gd name="connsiteY17" fmla="*/ 4171 h 18767"/>
              <a:gd name="connsiteX18" fmla="*/ 2352 w 14705"/>
              <a:gd name="connsiteY18" fmla="*/ 3060 h 18767"/>
              <a:gd name="connsiteX19" fmla="*/ 2941 w 14705"/>
              <a:gd name="connsiteY19" fmla="*/ 8341 h 18767"/>
              <a:gd name="connsiteX20" fmla="*/ 1764 w 14705"/>
              <a:gd name="connsiteY20" fmla="*/ 8341 h 18767"/>
              <a:gd name="connsiteX21" fmla="*/ 1176 w 14705"/>
              <a:gd name="connsiteY21" fmla="*/ 6951 h 18767"/>
              <a:gd name="connsiteX22" fmla="*/ 882 w 14705"/>
              <a:gd name="connsiteY22" fmla="*/ 9036 h 18767"/>
              <a:gd name="connsiteX23" fmla="*/ 0 w 14705"/>
              <a:gd name="connsiteY23" fmla="*/ 9036 h 18767"/>
              <a:gd name="connsiteX0" fmla="*/ 0 w 14705"/>
              <a:gd name="connsiteY0" fmla="*/ 9036 h 18767"/>
              <a:gd name="connsiteX1" fmla="*/ 588 w 14705"/>
              <a:gd name="connsiteY1" fmla="*/ 15987 h 18767"/>
              <a:gd name="connsiteX2" fmla="*/ 2237 w 14705"/>
              <a:gd name="connsiteY2" fmla="*/ 16535 h 18767"/>
              <a:gd name="connsiteX3" fmla="*/ 2058 w 14705"/>
              <a:gd name="connsiteY3" fmla="*/ 18767 h 18767"/>
              <a:gd name="connsiteX4" fmla="*/ 3529 w 14705"/>
              <a:gd name="connsiteY4" fmla="*/ 18767 h 18767"/>
              <a:gd name="connsiteX5" fmla="*/ 3823 w 14705"/>
              <a:gd name="connsiteY5" fmla="*/ 15987 h 18767"/>
              <a:gd name="connsiteX6" fmla="*/ 5588 w 14705"/>
              <a:gd name="connsiteY6" fmla="*/ 16682 h 18767"/>
              <a:gd name="connsiteX7" fmla="*/ 7382 w 14705"/>
              <a:gd name="connsiteY7" fmla="*/ 17646 h 18767"/>
              <a:gd name="connsiteX8" fmla="*/ 7058 w 14705"/>
              <a:gd name="connsiteY8" fmla="*/ 14680 h 18767"/>
              <a:gd name="connsiteX9" fmla="*/ 9279 w 14705"/>
              <a:gd name="connsiteY9" fmla="*/ 15424 h 18767"/>
              <a:gd name="connsiteX10" fmla="*/ 10115 w 14705"/>
              <a:gd name="connsiteY10" fmla="*/ 13202 h 18767"/>
              <a:gd name="connsiteX11" fmla="*/ 9411 w 14705"/>
              <a:gd name="connsiteY11" fmla="*/ 6256 h 18767"/>
              <a:gd name="connsiteX12" fmla="*/ 14705 w 14705"/>
              <a:gd name="connsiteY12" fmla="*/ 1390 h 18767"/>
              <a:gd name="connsiteX13" fmla="*/ 14705 w 14705"/>
              <a:gd name="connsiteY13" fmla="*/ 0 h 18767"/>
              <a:gd name="connsiteX14" fmla="*/ 9117 w 14705"/>
              <a:gd name="connsiteY14" fmla="*/ 3060 h 18767"/>
              <a:gd name="connsiteX15" fmla="*/ 6764 w 14705"/>
              <a:gd name="connsiteY15" fmla="*/ 4866 h 18767"/>
              <a:gd name="connsiteX16" fmla="*/ 4705 w 14705"/>
              <a:gd name="connsiteY16" fmla="*/ 4171 h 18767"/>
              <a:gd name="connsiteX17" fmla="*/ 3529 w 14705"/>
              <a:gd name="connsiteY17" fmla="*/ 4171 h 18767"/>
              <a:gd name="connsiteX18" fmla="*/ 2352 w 14705"/>
              <a:gd name="connsiteY18" fmla="*/ 3060 h 18767"/>
              <a:gd name="connsiteX19" fmla="*/ 2941 w 14705"/>
              <a:gd name="connsiteY19" fmla="*/ 8341 h 18767"/>
              <a:gd name="connsiteX20" fmla="*/ 1764 w 14705"/>
              <a:gd name="connsiteY20" fmla="*/ 8341 h 18767"/>
              <a:gd name="connsiteX21" fmla="*/ 1176 w 14705"/>
              <a:gd name="connsiteY21" fmla="*/ 6951 h 18767"/>
              <a:gd name="connsiteX22" fmla="*/ 882 w 14705"/>
              <a:gd name="connsiteY22" fmla="*/ 9036 h 18767"/>
              <a:gd name="connsiteX23" fmla="*/ 0 w 14705"/>
              <a:gd name="connsiteY23" fmla="*/ 9036 h 18767"/>
              <a:gd name="connsiteX0" fmla="*/ 0 w 14705"/>
              <a:gd name="connsiteY0" fmla="*/ 9036 h 18767"/>
              <a:gd name="connsiteX1" fmla="*/ 588 w 14705"/>
              <a:gd name="connsiteY1" fmla="*/ 15987 h 18767"/>
              <a:gd name="connsiteX2" fmla="*/ 2237 w 14705"/>
              <a:gd name="connsiteY2" fmla="*/ 16535 h 18767"/>
              <a:gd name="connsiteX3" fmla="*/ 2058 w 14705"/>
              <a:gd name="connsiteY3" fmla="*/ 18767 h 18767"/>
              <a:gd name="connsiteX4" fmla="*/ 3529 w 14705"/>
              <a:gd name="connsiteY4" fmla="*/ 18767 h 18767"/>
              <a:gd name="connsiteX5" fmla="*/ 3823 w 14705"/>
              <a:gd name="connsiteY5" fmla="*/ 15987 h 18767"/>
              <a:gd name="connsiteX6" fmla="*/ 5588 w 14705"/>
              <a:gd name="connsiteY6" fmla="*/ 16682 h 18767"/>
              <a:gd name="connsiteX7" fmla="*/ 6764 w 14705"/>
              <a:gd name="connsiteY7" fmla="*/ 15987 h 18767"/>
              <a:gd name="connsiteX8" fmla="*/ 7058 w 14705"/>
              <a:gd name="connsiteY8" fmla="*/ 14680 h 18767"/>
              <a:gd name="connsiteX9" fmla="*/ 9279 w 14705"/>
              <a:gd name="connsiteY9" fmla="*/ 15424 h 18767"/>
              <a:gd name="connsiteX10" fmla="*/ 10115 w 14705"/>
              <a:gd name="connsiteY10" fmla="*/ 13202 h 18767"/>
              <a:gd name="connsiteX11" fmla="*/ 9411 w 14705"/>
              <a:gd name="connsiteY11" fmla="*/ 6256 h 18767"/>
              <a:gd name="connsiteX12" fmla="*/ 14705 w 14705"/>
              <a:gd name="connsiteY12" fmla="*/ 1390 h 18767"/>
              <a:gd name="connsiteX13" fmla="*/ 14705 w 14705"/>
              <a:gd name="connsiteY13" fmla="*/ 0 h 18767"/>
              <a:gd name="connsiteX14" fmla="*/ 9117 w 14705"/>
              <a:gd name="connsiteY14" fmla="*/ 3060 h 18767"/>
              <a:gd name="connsiteX15" fmla="*/ 6764 w 14705"/>
              <a:gd name="connsiteY15" fmla="*/ 4866 h 18767"/>
              <a:gd name="connsiteX16" fmla="*/ 4705 w 14705"/>
              <a:gd name="connsiteY16" fmla="*/ 4171 h 18767"/>
              <a:gd name="connsiteX17" fmla="*/ 3529 w 14705"/>
              <a:gd name="connsiteY17" fmla="*/ 4171 h 18767"/>
              <a:gd name="connsiteX18" fmla="*/ 2352 w 14705"/>
              <a:gd name="connsiteY18" fmla="*/ 3060 h 18767"/>
              <a:gd name="connsiteX19" fmla="*/ 2941 w 14705"/>
              <a:gd name="connsiteY19" fmla="*/ 8341 h 18767"/>
              <a:gd name="connsiteX20" fmla="*/ 1764 w 14705"/>
              <a:gd name="connsiteY20" fmla="*/ 8341 h 18767"/>
              <a:gd name="connsiteX21" fmla="*/ 1176 w 14705"/>
              <a:gd name="connsiteY21" fmla="*/ 6951 h 18767"/>
              <a:gd name="connsiteX22" fmla="*/ 882 w 14705"/>
              <a:gd name="connsiteY22" fmla="*/ 9036 h 18767"/>
              <a:gd name="connsiteX23" fmla="*/ 0 w 14705"/>
              <a:gd name="connsiteY23" fmla="*/ 9036 h 18767"/>
              <a:gd name="connsiteX0" fmla="*/ 0 w 14705"/>
              <a:gd name="connsiteY0" fmla="*/ 9036 h 18767"/>
              <a:gd name="connsiteX1" fmla="*/ 588 w 14705"/>
              <a:gd name="connsiteY1" fmla="*/ 15987 h 18767"/>
              <a:gd name="connsiteX2" fmla="*/ 2237 w 14705"/>
              <a:gd name="connsiteY2" fmla="*/ 16535 h 18767"/>
              <a:gd name="connsiteX3" fmla="*/ 2058 w 14705"/>
              <a:gd name="connsiteY3" fmla="*/ 18767 h 18767"/>
              <a:gd name="connsiteX4" fmla="*/ 3529 w 14705"/>
              <a:gd name="connsiteY4" fmla="*/ 18767 h 18767"/>
              <a:gd name="connsiteX5" fmla="*/ 3823 w 14705"/>
              <a:gd name="connsiteY5" fmla="*/ 15987 h 18767"/>
              <a:gd name="connsiteX6" fmla="*/ 5588 w 14705"/>
              <a:gd name="connsiteY6" fmla="*/ 16682 h 18767"/>
              <a:gd name="connsiteX7" fmla="*/ 6764 w 14705"/>
              <a:gd name="connsiteY7" fmla="*/ 15987 h 18767"/>
              <a:gd name="connsiteX8" fmla="*/ 7647 w 14705"/>
              <a:gd name="connsiteY8" fmla="*/ 13207 h 18767"/>
              <a:gd name="connsiteX9" fmla="*/ 9279 w 14705"/>
              <a:gd name="connsiteY9" fmla="*/ 15424 h 18767"/>
              <a:gd name="connsiteX10" fmla="*/ 10115 w 14705"/>
              <a:gd name="connsiteY10" fmla="*/ 13202 h 18767"/>
              <a:gd name="connsiteX11" fmla="*/ 9411 w 14705"/>
              <a:gd name="connsiteY11" fmla="*/ 6256 h 18767"/>
              <a:gd name="connsiteX12" fmla="*/ 14705 w 14705"/>
              <a:gd name="connsiteY12" fmla="*/ 1390 h 18767"/>
              <a:gd name="connsiteX13" fmla="*/ 14705 w 14705"/>
              <a:gd name="connsiteY13" fmla="*/ 0 h 18767"/>
              <a:gd name="connsiteX14" fmla="*/ 9117 w 14705"/>
              <a:gd name="connsiteY14" fmla="*/ 3060 h 18767"/>
              <a:gd name="connsiteX15" fmla="*/ 6764 w 14705"/>
              <a:gd name="connsiteY15" fmla="*/ 4866 h 18767"/>
              <a:gd name="connsiteX16" fmla="*/ 4705 w 14705"/>
              <a:gd name="connsiteY16" fmla="*/ 4171 h 18767"/>
              <a:gd name="connsiteX17" fmla="*/ 3529 w 14705"/>
              <a:gd name="connsiteY17" fmla="*/ 4171 h 18767"/>
              <a:gd name="connsiteX18" fmla="*/ 2352 w 14705"/>
              <a:gd name="connsiteY18" fmla="*/ 3060 h 18767"/>
              <a:gd name="connsiteX19" fmla="*/ 2941 w 14705"/>
              <a:gd name="connsiteY19" fmla="*/ 8341 h 18767"/>
              <a:gd name="connsiteX20" fmla="*/ 1764 w 14705"/>
              <a:gd name="connsiteY20" fmla="*/ 8341 h 18767"/>
              <a:gd name="connsiteX21" fmla="*/ 1176 w 14705"/>
              <a:gd name="connsiteY21" fmla="*/ 6951 h 18767"/>
              <a:gd name="connsiteX22" fmla="*/ 882 w 14705"/>
              <a:gd name="connsiteY22" fmla="*/ 9036 h 18767"/>
              <a:gd name="connsiteX23" fmla="*/ 0 w 14705"/>
              <a:gd name="connsiteY23" fmla="*/ 9036 h 18767"/>
              <a:gd name="connsiteX0" fmla="*/ 0 w 14705"/>
              <a:gd name="connsiteY0" fmla="*/ 7646 h 17377"/>
              <a:gd name="connsiteX1" fmla="*/ 588 w 14705"/>
              <a:gd name="connsiteY1" fmla="*/ 14597 h 17377"/>
              <a:gd name="connsiteX2" fmla="*/ 2237 w 14705"/>
              <a:gd name="connsiteY2" fmla="*/ 15145 h 17377"/>
              <a:gd name="connsiteX3" fmla="*/ 2058 w 14705"/>
              <a:gd name="connsiteY3" fmla="*/ 17377 h 17377"/>
              <a:gd name="connsiteX4" fmla="*/ 3529 w 14705"/>
              <a:gd name="connsiteY4" fmla="*/ 17377 h 17377"/>
              <a:gd name="connsiteX5" fmla="*/ 3823 w 14705"/>
              <a:gd name="connsiteY5" fmla="*/ 14597 h 17377"/>
              <a:gd name="connsiteX6" fmla="*/ 5588 w 14705"/>
              <a:gd name="connsiteY6" fmla="*/ 15292 h 17377"/>
              <a:gd name="connsiteX7" fmla="*/ 6764 w 14705"/>
              <a:gd name="connsiteY7" fmla="*/ 14597 h 17377"/>
              <a:gd name="connsiteX8" fmla="*/ 7647 w 14705"/>
              <a:gd name="connsiteY8" fmla="*/ 11817 h 17377"/>
              <a:gd name="connsiteX9" fmla="*/ 9279 w 14705"/>
              <a:gd name="connsiteY9" fmla="*/ 14034 h 17377"/>
              <a:gd name="connsiteX10" fmla="*/ 10115 w 14705"/>
              <a:gd name="connsiteY10" fmla="*/ 11812 h 17377"/>
              <a:gd name="connsiteX11" fmla="*/ 9411 w 14705"/>
              <a:gd name="connsiteY11" fmla="*/ 4866 h 17377"/>
              <a:gd name="connsiteX12" fmla="*/ 14705 w 14705"/>
              <a:gd name="connsiteY12" fmla="*/ 0 h 17377"/>
              <a:gd name="connsiteX13" fmla="*/ 7865 w 14705"/>
              <a:gd name="connsiteY13" fmla="*/ 9989 h 17377"/>
              <a:gd name="connsiteX14" fmla="*/ 9117 w 14705"/>
              <a:gd name="connsiteY14" fmla="*/ 1670 h 17377"/>
              <a:gd name="connsiteX15" fmla="*/ 6764 w 14705"/>
              <a:gd name="connsiteY15" fmla="*/ 3476 h 17377"/>
              <a:gd name="connsiteX16" fmla="*/ 4705 w 14705"/>
              <a:gd name="connsiteY16" fmla="*/ 2781 h 17377"/>
              <a:gd name="connsiteX17" fmla="*/ 3529 w 14705"/>
              <a:gd name="connsiteY17" fmla="*/ 2781 h 17377"/>
              <a:gd name="connsiteX18" fmla="*/ 2352 w 14705"/>
              <a:gd name="connsiteY18" fmla="*/ 1670 h 17377"/>
              <a:gd name="connsiteX19" fmla="*/ 2941 w 14705"/>
              <a:gd name="connsiteY19" fmla="*/ 6951 h 17377"/>
              <a:gd name="connsiteX20" fmla="*/ 1764 w 14705"/>
              <a:gd name="connsiteY20" fmla="*/ 6951 h 17377"/>
              <a:gd name="connsiteX21" fmla="*/ 1176 w 14705"/>
              <a:gd name="connsiteY21" fmla="*/ 5561 h 17377"/>
              <a:gd name="connsiteX22" fmla="*/ 882 w 14705"/>
              <a:gd name="connsiteY22" fmla="*/ 7646 h 17377"/>
              <a:gd name="connsiteX23" fmla="*/ 0 w 14705"/>
              <a:gd name="connsiteY23" fmla="*/ 7646 h 17377"/>
              <a:gd name="connsiteX0" fmla="*/ 0 w 10115"/>
              <a:gd name="connsiteY0" fmla="*/ 5976 h 15707"/>
              <a:gd name="connsiteX1" fmla="*/ 588 w 10115"/>
              <a:gd name="connsiteY1" fmla="*/ 12927 h 15707"/>
              <a:gd name="connsiteX2" fmla="*/ 2237 w 10115"/>
              <a:gd name="connsiteY2" fmla="*/ 13475 h 15707"/>
              <a:gd name="connsiteX3" fmla="*/ 2058 w 10115"/>
              <a:gd name="connsiteY3" fmla="*/ 15707 h 15707"/>
              <a:gd name="connsiteX4" fmla="*/ 3529 w 10115"/>
              <a:gd name="connsiteY4" fmla="*/ 15707 h 15707"/>
              <a:gd name="connsiteX5" fmla="*/ 3823 w 10115"/>
              <a:gd name="connsiteY5" fmla="*/ 12927 h 15707"/>
              <a:gd name="connsiteX6" fmla="*/ 5588 w 10115"/>
              <a:gd name="connsiteY6" fmla="*/ 13622 h 15707"/>
              <a:gd name="connsiteX7" fmla="*/ 6764 w 10115"/>
              <a:gd name="connsiteY7" fmla="*/ 12927 h 15707"/>
              <a:gd name="connsiteX8" fmla="*/ 7647 w 10115"/>
              <a:gd name="connsiteY8" fmla="*/ 10147 h 15707"/>
              <a:gd name="connsiteX9" fmla="*/ 9279 w 10115"/>
              <a:gd name="connsiteY9" fmla="*/ 12364 h 15707"/>
              <a:gd name="connsiteX10" fmla="*/ 10115 w 10115"/>
              <a:gd name="connsiteY10" fmla="*/ 10142 h 15707"/>
              <a:gd name="connsiteX11" fmla="*/ 9411 w 10115"/>
              <a:gd name="connsiteY11" fmla="*/ 3196 h 15707"/>
              <a:gd name="connsiteX12" fmla="*/ 7512 w 10115"/>
              <a:gd name="connsiteY12" fmla="*/ 7519 h 15707"/>
              <a:gd name="connsiteX13" fmla="*/ 7865 w 10115"/>
              <a:gd name="connsiteY13" fmla="*/ 8319 h 15707"/>
              <a:gd name="connsiteX14" fmla="*/ 9117 w 10115"/>
              <a:gd name="connsiteY14" fmla="*/ 0 h 15707"/>
              <a:gd name="connsiteX15" fmla="*/ 6764 w 10115"/>
              <a:gd name="connsiteY15" fmla="*/ 1806 h 15707"/>
              <a:gd name="connsiteX16" fmla="*/ 4705 w 10115"/>
              <a:gd name="connsiteY16" fmla="*/ 1111 h 15707"/>
              <a:gd name="connsiteX17" fmla="*/ 3529 w 10115"/>
              <a:gd name="connsiteY17" fmla="*/ 1111 h 15707"/>
              <a:gd name="connsiteX18" fmla="*/ 2352 w 10115"/>
              <a:gd name="connsiteY18" fmla="*/ 0 h 15707"/>
              <a:gd name="connsiteX19" fmla="*/ 2941 w 10115"/>
              <a:gd name="connsiteY19" fmla="*/ 5281 h 15707"/>
              <a:gd name="connsiteX20" fmla="*/ 1764 w 10115"/>
              <a:gd name="connsiteY20" fmla="*/ 5281 h 15707"/>
              <a:gd name="connsiteX21" fmla="*/ 1176 w 10115"/>
              <a:gd name="connsiteY21" fmla="*/ 3891 h 15707"/>
              <a:gd name="connsiteX22" fmla="*/ 882 w 10115"/>
              <a:gd name="connsiteY22" fmla="*/ 5976 h 15707"/>
              <a:gd name="connsiteX23" fmla="*/ 0 w 10115"/>
              <a:gd name="connsiteY23" fmla="*/ 5976 h 15707"/>
              <a:gd name="connsiteX0" fmla="*/ 0 w 10115"/>
              <a:gd name="connsiteY0" fmla="*/ 5976 h 15707"/>
              <a:gd name="connsiteX1" fmla="*/ 588 w 10115"/>
              <a:gd name="connsiteY1" fmla="*/ 12927 h 15707"/>
              <a:gd name="connsiteX2" fmla="*/ 2237 w 10115"/>
              <a:gd name="connsiteY2" fmla="*/ 13475 h 15707"/>
              <a:gd name="connsiteX3" fmla="*/ 2058 w 10115"/>
              <a:gd name="connsiteY3" fmla="*/ 15707 h 15707"/>
              <a:gd name="connsiteX4" fmla="*/ 3529 w 10115"/>
              <a:gd name="connsiteY4" fmla="*/ 15707 h 15707"/>
              <a:gd name="connsiteX5" fmla="*/ 3823 w 10115"/>
              <a:gd name="connsiteY5" fmla="*/ 12927 h 15707"/>
              <a:gd name="connsiteX6" fmla="*/ 5588 w 10115"/>
              <a:gd name="connsiteY6" fmla="*/ 13622 h 15707"/>
              <a:gd name="connsiteX7" fmla="*/ 6764 w 10115"/>
              <a:gd name="connsiteY7" fmla="*/ 12927 h 15707"/>
              <a:gd name="connsiteX8" fmla="*/ 7647 w 10115"/>
              <a:gd name="connsiteY8" fmla="*/ 10147 h 15707"/>
              <a:gd name="connsiteX9" fmla="*/ 9279 w 10115"/>
              <a:gd name="connsiteY9" fmla="*/ 12364 h 15707"/>
              <a:gd name="connsiteX10" fmla="*/ 10115 w 10115"/>
              <a:gd name="connsiteY10" fmla="*/ 10142 h 15707"/>
              <a:gd name="connsiteX11" fmla="*/ 9411 w 10115"/>
              <a:gd name="connsiteY11" fmla="*/ 3196 h 15707"/>
              <a:gd name="connsiteX12" fmla="*/ 7512 w 10115"/>
              <a:gd name="connsiteY12" fmla="*/ 7519 h 15707"/>
              <a:gd name="connsiteX13" fmla="*/ 7865 w 10115"/>
              <a:gd name="connsiteY13" fmla="*/ 8319 h 15707"/>
              <a:gd name="connsiteX14" fmla="*/ 7141 w 10115"/>
              <a:gd name="connsiteY14" fmla="*/ 5261 h 15707"/>
              <a:gd name="connsiteX15" fmla="*/ 6764 w 10115"/>
              <a:gd name="connsiteY15" fmla="*/ 1806 h 15707"/>
              <a:gd name="connsiteX16" fmla="*/ 4705 w 10115"/>
              <a:gd name="connsiteY16" fmla="*/ 1111 h 15707"/>
              <a:gd name="connsiteX17" fmla="*/ 3529 w 10115"/>
              <a:gd name="connsiteY17" fmla="*/ 1111 h 15707"/>
              <a:gd name="connsiteX18" fmla="*/ 2352 w 10115"/>
              <a:gd name="connsiteY18" fmla="*/ 0 h 15707"/>
              <a:gd name="connsiteX19" fmla="*/ 2941 w 10115"/>
              <a:gd name="connsiteY19" fmla="*/ 5281 h 15707"/>
              <a:gd name="connsiteX20" fmla="*/ 1764 w 10115"/>
              <a:gd name="connsiteY20" fmla="*/ 5281 h 15707"/>
              <a:gd name="connsiteX21" fmla="*/ 1176 w 10115"/>
              <a:gd name="connsiteY21" fmla="*/ 3891 h 15707"/>
              <a:gd name="connsiteX22" fmla="*/ 882 w 10115"/>
              <a:gd name="connsiteY22" fmla="*/ 5976 h 15707"/>
              <a:gd name="connsiteX23" fmla="*/ 0 w 10115"/>
              <a:gd name="connsiteY23" fmla="*/ 5976 h 15707"/>
              <a:gd name="connsiteX0" fmla="*/ 0 w 10115"/>
              <a:gd name="connsiteY0" fmla="*/ 5976 h 15707"/>
              <a:gd name="connsiteX1" fmla="*/ 588 w 10115"/>
              <a:gd name="connsiteY1" fmla="*/ 12927 h 15707"/>
              <a:gd name="connsiteX2" fmla="*/ 2237 w 10115"/>
              <a:gd name="connsiteY2" fmla="*/ 13475 h 15707"/>
              <a:gd name="connsiteX3" fmla="*/ 2058 w 10115"/>
              <a:gd name="connsiteY3" fmla="*/ 15707 h 15707"/>
              <a:gd name="connsiteX4" fmla="*/ 3529 w 10115"/>
              <a:gd name="connsiteY4" fmla="*/ 15707 h 15707"/>
              <a:gd name="connsiteX5" fmla="*/ 3823 w 10115"/>
              <a:gd name="connsiteY5" fmla="*/ 12927 h 15707"/>
              <a:gd name="connsiteX6" fmla="*/ 5588 w 10115"/>
              <a:gd name="connsiteY6" fmla="*/ 13622 h 15707"/>
              <a:gd name="connsiteX7" fmla="*/ 6764 w 10115"/>
              <a:gd name="connsiteY7" fmla="*/ 12927 h 15707"/>
              <a:gd name="connsiteX8" fmla="*/ 7647 w 10115"/>
              <a:gd name="connsiteY8" fmla="*/ 10147 h 15707"/>
              <a:gd name="connsiteX9" fmla="*/ 9279 w 10115"/>
              <a:gd name="connsiteY9" fmla="*/ 12364 h 15707"/>
              <a:gd name="connsiteX10" fmla="*/ 10115 w 10115"/>
              <a:gd name="connsiteY10" fmla="*/ 10142 h 15707"/>
              <a:gd name="connsiteX11" fmla="*/ 9411 w 10115"/>
              <a:gd name="connsiteY11" fmla="*/ 3196 h 15707"/>
              <a:gd name="connsiteX12" fmla="*/ 7512 w 10115"/>
              <a:gd name="connsiteY12" fmla="*/ 7519 h 15707"/>
              <a:gd name="connsiteX13" fmla="*/ 7865 w 10115"/>
              <a:gd name="connsiteY13" fmla="*/ 8319 h 15707"/>
              <a:gd name="connsiteX14" fmla="*/ 7141 w 10115"/>
              <a:gd name="connsiteY14" fmla="*/ 5261 h 15707"/>
              <a:gd name="connsiteX15" fmla="*/ 6764 w 10115"/>
              <a:gd name="connsiteY15" fmla="*/ 1806 h 15707"/>
              <a:gd name="connsiteX16" fmla="*/ 5649 w 10115"/>
              <a:gd name="connsiteY16" fmla="*/ 4011 h 15707"/>
              <a:gd name="connsiteX17" fmla="*/ 4705 w 10115"/>
              <a:gd name="connsiteY17" fmla="*/ 1111 h 15707"/>
              <a:gd name="connsiteX18" fmla="*/ 3529 w 10115"/>
              <a:gd name="connsiteY18" fmla="*/ 1111 h 15707"/>
              <a:gd name="connsiteX19" fmla="*/ 2352 w 10115"/>
              <a:gd name="connsiteY19" fmla="*/ 0 h 15707"/>
              <a:gd name="connsiteX20" fmla="*/ 2941 w 10115"/>
              <a:gd name="connsiteY20" fmla="*/ 5281 h 15707"/>
              <a:gd name="connsiteX21" fmla="*/ 1764 w 10115"/>
              <a:gd name="connsiteY21" fmla="*/ 5281 h 15707"/>
              <a:gd name="connsiteX22" fmla="*/ 1176 w 10115"/>
              <a:gd name="connsiteY22" fmla="*/ 3891 h 15707"/>
              <a:gd name="connsiteX23" fmla="*/ 882 w 10115"/>
              <a:gd name="connsiteY23" fmla="*/ 5976 h 15707"/>
              <a:gd name="connsiteX24" fmla="*/ 0 w 10115"/>
              <a:gd name="connsiteY24" fmla="*/ 5976 h 15707"/>
              <a:gd name="connsiteX0" fmla="*/ 0 w 10115"/>
              <a:gd name="connsiteY0" fmla="*/ 5976 h 15707"/>
              <a:gd name="connsiteX1" fmla="*/ 2554 w 10115"/>
              <a:gd name="connsiteY1" fmla="*/ 13317 h 15707"/>
              <a:gd name="connsiteX2" fmla="*/ 2237 w 10115"/>
              <a:gd name="connsiteY2" fmla="*/ 13475 h 15707"/>
              <a:gd name="connsiteX3" fmla="*/ 2058 w 10115"/>
              <a:gd name="connsiteY3" fmla="*/ 15707 h 15707"/>
              <a:gd name="connsiteX4" fmla="*/ 3529 w 10115"/>
              <a:gd name="connsiteY4" fmla="*/ 15707 h 15707"/>
              <a:gd name="connsiteX5" fmla="*/ 3823 w 10115"/>
              <a:gd name="connsiteY5" fmla="*/ 12927 h 15707"/>
              <a:gd name="connsiteX6" fmla="*/ 5588 w 10115"/>
              <a:gd name="connsiteY6" fmla="*/ 13622 h 15707"/>
              <a:gd name="connsiteX7" fmla="*/ 6764 w 10115"/>
              <a:gd name="connsiteY7" fmla="*/ 12927 h 15707"/>
              <a:gd name="connsiteX8" fmla="*/ 7647 w 10115"/>
              <a:gd name="connsiteY8" fmla="*/ 10147 h 15707"/>
              <a:gd name="connsiteX9" fmla="*/ 9279 w 10115"/>
              <a:gd name="connsiteY9" fmla="*/ 12364 h 15707"/>
              <a:gd name="connsiteX10" fmla="*/ 10115 w 10115"/>
              <a:gd name="connsiteY10" fmla="*/ 10142 h 15707"/>
              <a:gd name="connsiteX11" fmla="*/ 9411 w 10115"/>
              <a:gd name="connsiteY11" fmla="*/ 3196 h 15707"/>
              <a:gd name="connsiteX12" fmla="*/ 7512 w 10115"/>
              <a:gd name="connsiteY12" fmla="*/ 7519 h 15707"/>
              <a:gd name="connsiteX13" fmla="*/ 7865 w 10115"/>
              <a:gd name="connsiteY13" fmla="*/ 8319 h 15707"/>
              <a:gd name="connsiteX14" fmla="*/ 7141 w 10115"/>
              <a:gd name="connsiteY14" fmla="*/ 5261 h 15707"/>
              <a:gd name="connsiteX15" fmla="*/ 6764 w 10115"/>
              <a:gd name="connsiteY15" fmla="*/ 1806 h 15707"/>
              <a:gd name="connsiteX16" fmla="*/ 5649 w 10115"/>
              <a:gd name="connsiteY16" fmla="*/ 4011 h 15707"/>
              <a:gd name="connsiteX17" fmla="*/ 4705 w 10115"/>
              <a:gd name="connsiteY17" fmla="*/ 1111 h 15707"/>
              <a:gd name="connsiteX18" fmla="*/ 3529 w 10115"/>
              <a:gd name="connsiteY18" fmla="*/ 1111 h 15707"/>
              <a:gd name="connsiteX19" fmla="*/ 2352 w 10115"/>
              <a:gd name="connsiteY19" fmla="*/ 0 h 15707"/>
              <a:gd name="connsiteX20" fmla="*/ 2941 w 10115"/>
              <a:gd name="connsiteY20" fmla="*/ 5281 h 15707"/>
              <a:gd name="connsiteX21" fmla="*/ 1764 w 10115"/>
              <a:gd name="connsiteY21" fmla="*/ 5281 h 15707"/>
              <a:gd name="connsiteX22" fmla="*/ 1176 w 10115"/>
              <a:gd name="connsiteY22" fmla="*/ 3891 h 15707"/>
              <a:gd name="connsiteX23" fmla="*/ 882 w 10115"/>
              <a:gd name="connsiteY23" fmla="*/ 5976 h 15707"/>
              <a:gd name="connsiteX24" fmla="*/ 0 w 10115"/>
              <a:gd name="connsiteY24" fmla="*/ 5976 h 15707"/>
              <a:gd name="connsiteX0" fmla="*/ 918 w 9233"/>
              <a:gd name="connsiteY0" fmla="*/ 8769 h 15707"/>
              <a:gd name="connsiteX1" fmla="*/ 1672 w 9233"/>
              <a:gd name="connsiteY1" fmla="*/ 13317 h 15707"/>
              <a:gd name="connsiteX2" fmla="*/ 1355 w 9233"/>
              <a:gd name="connsiteY2" fmla="*/ 13475 h 15707"/>
              <a:gd name="connsiteX3" fmla="*/ 1176 w 9233"/>
              <a:gd name="connsiteY3" fmla="*/ 15707 h 15707"/>
              <a:gd name="connsiteX4" fmla="*/ 2647 w 9233"/>
              <a:gd name="connsiteY4" fmla="*/ 15707 h 15707"/>
              <a:gd name="connsiteX5" fmla="*/ 2941 w 9233"/>
              <a:gd name="connsiteY5" fmla="*/ 12927 h 15707"/>
              <a:gd name="connsiteX6" fmla="*/ 4706 w 9233"/>
              <a:gd name="connsiteY6" fmla="*/ 13622 h 15707"/>
              <a:gd name="connsiteX7" fmla="*/ 5882 w 9233"/>
              <a:gd name="connsiteY7" fmla="*/ 12927 h 15707"/>
              <a:gd name="connsiteX8" fmla="*/ 6765 w 9233"/>
              <a:gd name="connsiteY8" fmla="*/ 10147 h 15707"/>
              <a:gd name="connsiteX9" fmla="*/ 8397 w 9233"/>
              <a:gd name="connsiteY9" fmla="*/ 12364 h 15707"/>
              <a:gd name="connsiteX10" fmla="*/ 9233 w 9233"/>
              <a:gd name="connsiteY10" fmla="*/ 10142 h 15707"/>
              <a:gd name="connsiteX11" fmla="*/ 8529 w 9233"/>
              <a:gd name="connsiteY11" fmla="*/ 3196 h 15707"/>
              <a:gd name="connsiteX12" fmla="*/ 6630 w 9233"/>
              <a:gd name="connsiteY12" fmla="*/ 7519 h 15707"/>
              <a:gd name="connsiteX13" fmla="*/ 6983 w 9233"/>
              <a:gd name="connsiteY13" fmla="*/ 8319 h 15707"/>
              <a:gd name="connsiteX14" fmla="*/ 6259 w 9233"/>
              <a:gd name="connsiteY14" fmla="*/ 5261 h 15707"/>
              <a:gd name="connsiteX15" fmla="*/ 5882 w 9233"/>
              <a:gd name="connsiteY15" fmla="*/ 1806 h 15707"/>
              <a:gd name="connsiteX16" fmla="*/ 4767 w 9233"/>
              <a:gd name="connsiteY16" fmla="*/ 4011 h 15707"/>
              <a:gd name="connsiteX17" fmla="*/ 3823 w 9233"/>
              <a:gd name="connsiteY17" fmla="*/ 1111 h 15707"/>
              <a:gd name="connsiteX18" fmla="*/ 2647 w 9233"/>
              <a:gd name="connsiteY18" fmla="*/ 1111 h 15707"/>
              <a:gd name="connsiteX19" fmla="*/ 1470 w 9233"/>
              <a:gd name="connsiteY19" fmla="*/ 0 h 15707"/>
              <a:gd name="connsiteX20" fmla="*/ 2059 w 9233"/>
              <a:gd name="connsiteY20" fmla="*/ 5281 h 15707"/>
              <a:gd name="connsiteX21" fmla="*/ 882 w 9233"/>
              <a:gd name="connsiteY21" fmla="*/ 5281 h 15707"/>
              <a:gd name="connsiteX22" fmla="*/ 294 w 9233"/>
              <a:gd name="connsiteY22" fmla="*/ 3891 h 15707"/>
              <a:gd name="connsiteX23" fmla="*/ 0 w 9233"/>
              <a:gd name="connsiteY23" fmla="*/ 5976 h 15707"/>
              <a:gd name="connsiteX24" fmla="*/ 918 w 9233"/>
              <a:gd name="connsiteY24" fmla="*/ 8769 h 15707"/>
              <a:gd name="connsiteX0" fmla="*/ 994 w 10000"/>
              <a:gd name="connsiteY0" fmla="*/ 5080 h 9497"/>
              <a:gd name="connsiteX1" fmla="*/ 1811 w 10000"/>
              <a:gd name="connsiteY1" fmla="*/ 7975 h 9497"/>
              <a:gd name="connsiteX2" fmla="*/ 1468 w 10000"/>
              <a:gd name="connsiteY2" fmla="*/ 8076 h 9497"/>
              <a:gd name="connsiteX3" fmla="*/ 1274 w 10000"/>
              <a:gd name="connsiteY3" fmla="*/ 9497 h 9497"/>
              <a:gd name="connsiteX4" fmla="*/ 2867 w 10000"/>
              <a:gd name="connsiteY4" fmla="*/ 9497 h 9497"/>
              <a:gd name="connsiteX5" fmla="*/ 3185 w 10000"/>
              <a:gd name="connsiteY5" fmla="*/ 7727 h 9497"/>
              <a:gd name="connsiteX6" fmla="*/ 5097 w 10000"/>
              <a:gd name="connsiteY6" fmla="*/ 8170 h 9497"/>
              <a:gd name="connsiteX7" fmla="*/ 6371 w 10000"/>
              <a:gd name="connsiteY7" fmla="*/ 7727 h 9497"/>
              <a:gd name="connsiteX8" fmla="*/ 7327 w 10000"/>
              <a:gd name="connsiteY8" fmla="*/ 5957 h 9497"/>
              <a:gd name="connsiteX9" fmla="*/ 9095 w 10000"/>
              <a:gd name="connsiteY9" fmla="*/ 7369 h 9497"/>
              <a:gd name="connsiteX10" fmla="*/ 10000 w 10000"/>
              <a:gd name="connsiteY10" fmla="*/ 5954 h 9497"/>
              <a:gd name="connsiteX11" fmla="*/ 9238 w 10000"/>
              <a:gd name="connsiteY11" fmla="*/ 1532 h 9497"/>
              <a:gd name="connsiteX12" fmla="*/ 7181 w 10000"/>
              <a:gd name="connsiteY12" fmla="*/ 4284 h 9497"/>
              <a:gd name="connsiteX13" fmla="*/ 7563 w 10000"/>
              <a:gd name="connsiteY13" fmla="*/ 4793 h 9497"/>
              <a:gd name="connsiteX14" fmla="*/ 6779 w 10000"/>
              <a:gd name="connsiteY14" fmla="*/ 2846 h 9497"/>
              <a:gd name="connsiteX15" fmla="*/ 6371 w 10000"/>
              <a:gd name="connsiteY15" fmla="*/ 647 h 9497"/>
              <a:gd name="connsiteX16" fmla="*/ 5163 w 10000"/>
              <a:gd name="connsiteY16" fmla="*/ 2051 h 9497"/>
              <a:gd name="connsiteX17" fmla="*/ 4141 w 10000"/>
              <a:gd name="connsiteY17" fmla="*/ 204 h 9497"/>
              <a:gd name="connsiteX18" fmla="*/ 2867 w 10000"/>
              <a:gd name="connsiteY18" fmla="*/ 204 h 9497"/>
              <a:gd name="connsiteX19" fmla="*/ 2347 w 10000"/>
              <a:gd name="connsiteY19" fmla="*/ 2200 h 9497"/>
              <a:gd name="connsiteX20" fmla="*/ 2230 w 10000"/>
              <a:gd name="connsiteY20" fmla="*/ 2859 h 9497"/>
              <a:gd name="connsiteX21" fmla="*/ 955 w 10000"/>
              <a:gd name="connsiteY21" fmla="*/ 2859 h 9497"/>
              <a:gd name="connsiteX22" fmla="*/ 318 w 10000"/>
              <a:gd name="connsiteY22" fmla="*/ 1974 h 9497"/>
              <a:gd name="connsiteX23" fmla="*/ 0 w 10000"/>
              <a:gd name="connsiteY23" fmla="*/ 3302 h 9497"/>
              <a:gd name="connsiteX24" fmla="*/ 994 w 10000"/>
              <a:gd name="connsiteY24" fmla="*/ 5080 h 9497"/>
              <a:gd name="connsiteX0" fmla="*/ 994 w 10000"/>
              <a:gd name="connsiteY0" fmla="*/ 5349 h 10000"/>
              <a:gd name="connsiteX1" fmla="*/ 1811 w 10000"/>
              <a:gd name="connsiteY1" fmla="*/ 8397 h 10000"/>
              <a:gd name="connsiteX2" fmla="*/ 1468 w 10000"/>
              <a:gd name="connsiteY2" fmla="*/ 8504 h 10000"/>
              <a:gd name="connsiteX3" fmla="*/ 1274 w 10000"/>
              <a:gd name="connsiteY3" fmla="*/ 10000 h 10000"/>
              <a:gd name="connsiteX4" fmla="*/ 2867 w 10000"/>
              <a:gd name="connsiteY4" fmla="*/ 10000 h 10000"/>
              <a:gd name="connsiteX5" fmla="*/ 3185 w 10000"/>
              <a:gd name="connsiteY5" fmla="*/ 8136 h 10000"/>
              <a:gd name="connsiteX6" fmla="*/ 5097 w 10000"/>
              <a:gd name="connsiteY6" fmla="*/ 8603 h 10000"/>
              <a:gd name="connsiteX7" fmla="*/ 6371 w 10000"/>
              <a:gd name="connsiteY7" fmla="*/ 8136 h 10000"/>
              <a:gd name="connsiteX8" fmla="*/ 7327 w 10000"/>
              <a:gd name="connsiteY8" fmla="*/ 6273 h 10000"/>
              <a:gd name="connsiteX9" fmla="*/ 9095 w 10000"/>
              <a:gd name="connsiteY9" fmla="*/ 7759 h 10000"/>
              <a:gd name="connsiteX10" fmla="*/ 10000 w 10000"/>
              <a:gd name="connsiteY10" fmla="*/ 6269 h 10000"/>
              <a:gd name="connsiteX11" fmla="*/ 9238 w 10000"/>
              <a:gd name="connsiteY11" fmla="*/ 1613 h 10000"/>
              <a:gd name="connsiteX12" fmla="*/ 7181 w 10000"/>
              <a:gd name="connsiteY12" fmla="*/ 4511 h 10000"/>
              <a:gd name="connsiteX13" fmla="*/ 7563 w 10000"/>
              <a:gd name="connsiteY13" fmla="*/ 5047 h 10000"/>
              <a:gd name="connsiteX14" fmla="*/ 6779 w 10000"/>
              <a:gd name="connsiteY14" fmla="*/ 2997 h 10000"/>
              <a:gd name="connsiteX15" fmla="*/ 6371 w 10000"/>
              <a:gd name="connsiteY15" fmla="*/ 681 h 10000"/>
              <a:gd name="connsiteX16" fmla="*/ 5163 w 10000"/>
              <a:gd name="connsiteY16" fmla="*/ 2160 h 10000"/>
              <a:gd name="connsiteX17" fmla="*/ 4141 w 10000"/>
              <a:gd name="connsiteY17" fmla="*/ 215 h 10000"/>
              <a:gd name="connsiteX18" fmla="*/ 2867 w 10000"/>
              <a:gd name="connsiteY18" fmla="*/ 215 h 10000"/>
              <a:gd name="connsiteX19" fmla="*/ 2347 w 10000"/>
              <a:gd name="connsiteY19" fmla="*/ 2317 h 10000"/>
              <a:gd name="connsiteX20" fmla="*/ 2230 w 10000"/>
              <a:gd name="connsiteY20" fmla="*/ 3010 h 10000"/>
              <a:gd name="connsiteX21" fmla="*/ 955 w 10000"/>
              <a:gd name="connsiteY21" fmla="*/ 3010 h 10000"/>
              <a:gd name="connsiteX22" fmla="*/ 1237 w 10000"/>
              <a:gd name="connsiteY22" fmla="*/ 3729 h 10000"/>
              <a:gd name="connsiteX23" fmla="*/ 0 w 10000"/>
              <a:gd name="connsiteY23" fmla="*/ 3477 h 10000"/>
              <a:gd name="connsiteX24" fmla="*/ 994 w 10000"/>
              <a:gd name="connsiteY24" fmla="*/ 5349 h 10000"/>
              <a:gd name="connsiteX0" fmla="*/ 76 w 9082"/>
              <a:gd name="connsiteY0" fmla="*/ 5349 h 10000"/>
              <a:gd name="connsiteX1" fmla="*/ 893 w 9082"/>
              <a:gd name="connsiteY1" fmla="*/ 8397 h 10000"/>
              <a:gd name="connsiteX2" fmla="*/ 550 w 9082"/>
              <a:gd name="connsiteY2" fmla="*/ 8504 h 10000"/>
              <a:gd name="connsiteX3" fmla="*/ 356 w 9082"/>
              <a:gd name="connsiteY3" fmla="*/ 10000 h 10000"/>
              <a:gd name="connsiteX4" fmla="*/ 1949 w 9082"/>
              <a:gd name="connsiteY4" fmla="*/ 10000 h 10000"/>
              <a:gd name="connsiteX5" fmla="*/ 2267 w 9082"/>
              <a:gd name="connsiteY5" fmla="*/ 8136 h 10000"/>
              <a:gd name="connsiteX6" fmla="*/ 4179 w 9082"/>
              <a:gd name="connsiteY6" fmla="*/ 8603 h 10000"/>
              <a:gd name="connsiteX7" fmla="*/ 5453 w 9082"/>
              <a:gd name="connsiteY7" fmla="*/ 8136 h 10000"/>
              <a:gd name="connsiteX8" fmla="*/ 6409 w 9082"/>
              <a:gd name="connsiteY8" fmla="*/ 6273 h 10000"/>
              <a:gd name="connsiteX9" fmla="*/ 8177 w 9082"/>
              <a:gd name="connsiteY9" fmla="*/ 7759 h 10000"/>
              <a:gd name="connsiteX10" fmla="*/ 9082 w 9082"/>
              <a:gd name="connsiteY10" fmla="*/ 6269 h 10000"/>
              <a:gd name="connsiteX11" fmla="*/ 8320 w 9082"/>
              <a:gd name="connsiteY11" fmla="*/ 1613 h 10000"/>
              <a:gd name="connsiteX12" fmla="*/ 6263 w 9082"/>
              <a:gd name="connsiteY12" fmla="*/ 4511 h 10000"/>
              <a:gd name="connsiteX13" fmla="*/ 6645 w 9082"/>
              <a:gd name="connsiteY13" fmla="*/ 5047 h 10000"/>
              <a:gd name="connsiteX14" fmla="*/ 5861 w 9082"/>
              <a:gd name="connsiteY14" fmla="*/ 2997 h 10000"/>
              <a:gd name="connsiteX15" fmla="*/ 5453 w 9082"/>
              <a:gd name="connsiteY15" fmla="*/ 681 h 10000"/>
              <a:gd name="connsiteX16" fmla="*/ 4245 w 9082"/>
              <a:gd name="connsiteY16" fmla="*/ 2160 h 10000"/>
              <a:gd name="connsiteX17" fmla="*/ 3223 w 9082"/>
              <a:gd name="connsiteY17" fmla="*/ 215 h 10000"/>
              <a:gd name="connsiteX18" fmla="*/ 1949 w 9082"/>
              <a:gd name="connsiteY18" fmla="*/ 215 h 10000"/>
              <a:gd name="connsiteX19" fmla="*/ 1429 w 9082"/>
              <a:gd name="connsiteY19" fmla="*/ 2317 h 10000"/>
              <a:gd name="connsiteX20" fmla="*/ 1312 w 9082"/>
              <a:gd name="connsiteY20" fmla="*/ 3010 h 10000"/>
              <a:gd name="connsiteX21" fmla="*/ 37 w 9082"/>
              <a:gd name="connsiteY21" fmla="*/ 3010 h 10000"/>
              <a:gd name="connsiteX22" fmla="*/ 319 w 9082"/>
              <a:gd name="connsiteY22" fmla="*/ 3729 h 10000"/>
              <a:gd name="connsiteX23" fmla="*/ 310 w 9082"/>
              <a:gd name="connsiteY23" fmla="*/ 5046 h 10000"/>
              <a:gd name="connsiteX24" fmla="*/ 76 w 9082"/>
              <a:gd name="connsiteY24" fmla="*/ 5349 h 10000"/>
              <a:gd name="connsiteX0" fmla="*/ 84 w 10000"/>
              <a:gd name="connsiteY0" fmla="*/ 5349 h 10000"/>
              <a:gd name="connsiteX1" fmla="*/ 983 w 10000"/>
              <a:gd name="connsiteY1" fmla="*/ 8397 h 10000"/>
              <a:gd name="connsiteX2" fmla="*/ 606 w 10000"/>
              <a:gd name="connsiteY2" fmla="*/ 8504 h 10000"/>
              <a:gd name="connsiteX3" fmla="*/ 392 w 10000"/>
              <a:gd name="connsiteY3" fmla="*/ 10000 h 10000"/>
              <a:gd name="connsiteX4" fmla="*/ 2146 w 10000"/>
              <a:gd name="connsiteY4" fmla="*/ 10000 h 10000"/>
              <a:gd name="connsiteX5" fmla="*/ 2496 w 10000"/>
              <a:gd name="connsiteY5" fmla="*/ 8136 h 10000"/>
              <a:gd name="connsiteX6" fmla="*/ 4601 w 10000"/>
              <a:gd name="connsiteY6" fmla="*/ 8603 h 10000"/>
              <a:gd name="connsiteX7" fmla="*/ 6004 w 10000"/>
              <a:gd name="connsiteY7" fmla="*/ 8136 h 10000"/>
              <a:gd name="connsiteX8" fmla="*/ 7057 w 10000"/>
              <a:gd name="connsiteY8" fmla="*/ 6273 h 10000"/>
              <a:gd name="connsiteX9" fmla="*/ 9004 w 10000"/>
              <a:gd name="connsiteY9" fmla="*/ 7759 h 10000"/>
              <a:gd name="connsiteX10" fmla="*/ 10000 w 10000"/>
              <a:gd name="connsiteY10" fmla="*/ 6269 h 10000"/>
              <a:gd name="connsiteX11" fmla="*/ 9161 w 10000"/>
              <a:gd name="connsiteY11" fmla="*/ 1613 h 10000"/>
              <a:gd name="connsiteX12" fmla="*/ 6896 w 10000"/>
              <a:gd name="connsiteY12" fmla="*/ 4511 h 10000"/>
              <a:gd name="connsiteX13" fmla="*/ 7317 w 10000"/>
              <a:gd name="connsiteY13" fmla="*/ 5047 h 10000"/>
              <a:gd name="connsiteX14" fmla="*/ 5683 w 10000"/>
              <a:gd name="connsiteY14" fmla="*/ 3757 h 10000"/>
              <a:gd name="connsiteX15" fmla="*/ 6004 w 10000"/>
              <a:gd name="connsiteY15" fmla="*/ 681 h 10000"/>
              <a:gd name="connsiteX16" fmla="*/ 4674 w 10000"/>
              <a:gd name="connsiteY16" fmla="*/ 2160 h 10000"/>
              <a:gd name="connsiteX17" fmla="*/ 3549 w 10000"/>
              <a:gd name="connsiteY17" fmla="*/ 215 h 10000"/>
              <a:gd name="connsiteX18" fmla="*/ 2146 w 10000"/>
              <a:gd name="connsiteY18" fmla="*/ 215 h 10000"/>
              <a:gd name="connsiteX19" fmla="*/ 1573 w 10000"/>
              <a:gd name="connsiteY19" fmla="*/ 2317 h 10000"/>
              <a:gd name="connsiteX20" fmla="*/ 1445 w 10000"/>
              <a:gd name="connsiteY20" fmla="*/ 3010 h 10000"/>
              <a:gd name="connsiteX21" fmla="*/ 41 w 10000"/>
              <a:gd name="connsiteY21" fmla="*/ 3010 h 10000"/>
              <a:gd name="connsiteX22" fmla="*/ 351 w 10000"/>
              <a:gd name="connsiteY22" fmla="*/ 3729 h 10000"/>
              <a:gd name="connsiteX23" fmla="*/ 341 w 10000"/>
              <a:gd name="connsiteY23" fmla="*/ 5046 h 10000"/>
              <a:gd name="connsiteX24" fmla="*/ 84 w 10000"/>
              <a:gd name="connsiteY24" fmla="*/ 5349 h 10000"/>
              <a:gd name="connsiteX0" fmla="*/ 84 w 10000"/>
              <a:gd name="connsiteY0" fmla="*/ 5349 h 10000"/>
              <a:gd name="connsiteX1" fmla="*/ 983 w 10000"/>
              <a:gd name="connsiteY1" fmla="*/ 8397 h 10000"/>
              <a:gd name="connsiteX2" fmla="*/ 606 w 10000"/>
              <a:gd name="connsiteY2" fmla="*/ 8504 h 10000"/>
              <a:gd name="connsiteX3" fmla="*/ 392 w 10000"/>
              <a:gd name="connsiteY3" fmla="*/ 10000 h 10000"/>
              <a:gd name="connsiteX4" fmla="*/ 2146 w 10000"/>
              <a:gd name="connsiteY4" fmla="*/ 10000 h 10000"/>
              <a:gd name="connsiteX5" fmla="*/ 2496 w 10000"/>
              <a:gd name="connsiteY5" fmla="*/ 8136 h 10000"/>
              <a:gd name="connsiteX6" fmla="*/ 4601 w 10000"/>
              <a:gd name="connsiteY6" fmla="*/ 8603 h 10000"/>
              <a:gd name="connsiteX7" fmla="*/ 6004 w 10000"/>
              <a:gd name="connsiteY7" fmla="*/ 8136 h 10000"/>
              <a:gd name="connsiteX8" fmla="*/ 7057 w 10000"/>
              <a:gd name="connsiteY8" fmla="*/ 6273 h 10000"/>
              <a:gd name="connsiteX9" fmla="*/ 9004 w 10000"/>
              <a:gd name="connsiteY9" fmla="*/ 7759 h 10000"/>
              <a:gd name="connsiteX10" fmla="*/ 10000 w 10000"/>
              <a:gd name="connsiteY10" fmla="*/ 6269 h 10000"/>
              <a:gd name="connsiteX11" fmla="*/ 9161 w 10000"/>
              <a:gd name="connsiteY11" fmla="*/ 1613 h 10000"/>
              <a:gd name="connsiteX12" fmla="*/ 6896 w 10000"/>
              <a:gd name="connsiteY12" fmla="*/ 4511 h 10000"/>
              <a:gd name="connsiteX13" fmla="*/ 7317 w 10000"/>
              <a:gd name="connsiteY13" fmla="*/ 5047 h 10000"/>
              <a:gd name="connsiteX14" fmla="*/ 5683 w 10000"/>
              <a:gd name="connsiteY14" fmla="*/ 3757 h 10000"/>
              <a:gd name="connsiteX15" fmla="*/ 5128 w 10000"/>
              <a:gd name="connsiteY15" fmla="*/ 2454 h 10000"/>
              <a:gd name="connsiteX16" fmla="*/ 4674 w 10000"/>
              <a:gd name="connsiteY16" fmla="*/ 2160 h 10000"/>
              <a:gd name="connsiteX17" fmla="*/ 3549 w 10000"/>
              <a:gd name="connsiteY17" fmla="*/ 215 h 10000"/>
              <a:gd name="connsiteX18" fmla="*/ 2146 w 10000"/>
              <a:gd name="connsiteY18" fmla="*/ 215 h 10000"/>
              <a:gd name="connsiteX19" fmla="*/ 1573 w 10000"/>
              <a:gd name="connsiteY19" fmla="*/ 2317 h 10000"/>
              <a:gd name="connsiteX20" fmla="*/ 1445 w 10000"/>
              <a:gd name="connsiteY20" fmla="*/ 3010 h 10000"/>
              <a:gd name="connsiteX21" fmla="*/ 41 w 10000"/>
              <a:gd name="connsiteY21" fmla="*/ 3010 h 10000"/>
              <a:gd name="connsiteX22" fmla="*/ 351 w 10000"/>
              <a:gd name="connsiteY22" fmla="*/ 3729 h 10000"/>
              <a:gd name="connsiteX23" fmla="*/ 341 w 10000"/>
              <a:gd name="connsiteY23" fmla="*/ 5046 h 10000"/>
              <a:gd name="connsiteX24" fmla="*/ 84 w 10000"/>
              <a:gd name="connsiteY24" fmla="*/ 5349 h 10000"/>
              <a:gd name="connsiteX0" fmla="*/ 84 w 10000"/>
              <a:gd name="connsiteY0" fmla="*/ 5349 h 10000"/>
              <a:gd name="connsiteX1" fmla="*/ 983 w 10000"/>
              <a:gd name="connsiteY1" fmla="*/ 8397 h 10000"/>
              <a:gd name="connsiteX2" fmla="*/ 606 w 10000"/>
              <a:gd name="connsiteY2" fmla="*/ 8504 h 10000"/>
              <a:gd name="connsiteX3" fmla="*/ 392 w 10000"/>
              <a:gd name="connsiteY3" fmla="*/ 10000 h 10000"/>
              <a:gd name="connsiteX4" fmla="*/ 2146 w 10000"/>
              <a:gd name="connsiteY4" fmla="*/ 10000 h 10000"/>
              <a:gd name="connsiteX5" fmla="*/ 2496 w 10000"/>
              <a:gd name="connsiteY5" fmla="*/ 8136 h 10000"/>
              <a:gd name="connsiteX6" fmla="*/ 4601 w 10000"/>
              <a:gd name="connsiteY6" fmla="*/ 8603 h 10000"/>
              <a:gd name="connsiteX7" fmla="*/ 6004 w 10000"/>
              <a:gd name="connsiteY7" fmla="*/ 8136 h 10000"/>
              <a:gd name="connsiteX8" fmla="*/ 7057 w 10000"/>
              <a:gd name="connsiteY8" fmla="*/ 6273 h 10000"/>
              <a:gd name="connsiteX9" fmla="*/ 9004 w 10000"/>
              <a:gd name="connsiteY9" fmla="*/ 7759 h 10000"/>
              <a:gd name="connsiteX10" fmla="*/ 10000 w 10000"/>
              <a:gd name="connsiteY10" fmla="*/ 6269 h 10000"/>
              <a:gd name="connsiteX11" fmla="*/ 9161 w 10000"/>
              <a:gd name="connsiteY11" fmla="*/ 1613 h 10000"/>
              <a:gd name="connsiteX12" fmla="*/ 6896 w 10000"/>
              <a:gd name="connsiteY12" fmla="*/ 4511 h 10000"/>
              <a:gd name="connsiteX13" fmla="*/ 7317 w 10000"/>
              <a:gd name="connsiteY13" fmla="*/ 5047 h 10000"/>
              <a:gd name="connsiteX14" fmla="*/ 5683 w 10000"/>
              <a:gd name="connsiteY14" fmla="*/ 3757 h 10000"/>
              <a:gd name="connsiteX15" fmla="*/ 5128 w 10000"/>
              <a:gd name="connsiteY15" fmla="*/ 2454 h 10000"/>
              <a:gd name="connsiteX16" fmla="*/ 5062 w 10000"/>
              <a:gd name="connsiteY16" fmla="*/ 833 h 10000"/>
              <a:gd name="connsiteX17" fmla="*/ 3549 w 10000"/>
              <a:gd name="connsiteY17" fmla="*/ 215 h 10000"/>
              <a:gd name="connsiteX18" fmla="*/ 2146 w 10000"/>
              <a:gd name="connsiteY18" fmla="*/ 215 h 10000"/>
              <a:gd name="connsiteX19" fmla="*/ 1573 w 10000"/>
              <a:gd name="connsiteY19" fmla="*/ 2317 h 10000"/>
              <a:gd name="connsiteX20" fmla="*/ 1445 w 10000"/>
              <a:gd name="connsiteY20" fmla="*/ 3010 h 10000"/>
              <a:gd name="connsiteX21" fmla="*/ 41 w 10000"/>
              <a:gd name="connsiteY21" fmla="*/ 3010 h 10000"/>
              <a:gd name="connsiteX22" fmla="*/ 351 w 10000"/>
              <a:gd name="connsiteY22" fmla="*/ 3729 h 10000"/>
              <a:gd name="connsiteX23" fmla="*/ 341 w 10000"/>
              <a:gd name="connsiteY23" fmla="*/ 5046 h 10000"/>
              <a:gd name="connsiteX24" fmla="*/ 84 w 10000"/>
              <a:gd name="connsiteY24" fmla="*/ 5349 h 10000"/>
              <a:gd name="connsiteX0" fmla="*/ 84 w 10000"/>
              <a:gd name="connsiteY0" fmla="*/ 5349 h 10000"/>
              <a:gd name="connsiteX1" fmla="*/ 983 w 10000"/>
              <a:gd name="connsiteY1" fmla="*/ 8397 h 10000"/>
              <a:gd name="connsiteX2" fmla="*/ 606 w 10000"/>
              <a:gd name="connsiteY2" fmla="*/ 8504 h 10000"/>
              <a:gd name="connsiteX3" fmla="*/ 1061 w 10000"/>
              <a:gd name="connsiteY3" fmla="*/ 8358 h 10000"/>
              <a:gd name="connsiteX4" fmla="*/ 2146 w 10000"/>
              <a:gd name="connsiteY4" fmla="*/ 10000 h 10000"/>
              <a:gd name="connsiteX5" fmla="*/ 2496 w 10000"/>
              <a:gd name="connsiteY5" fmla="*/ 8136 h 10000"/>
              <a:gd name="connsiteX6" fmla="*/ 4601 w 10000"/>
              <a:gd name="connsiteY6" fmla="*/ 8603 h 10000"/>
              <a:gd name="connsiteX7" fmla="*/ 6004 w 10000"/>
              <a:gd name="connsiteY7" fmla="*/ 8136 h 10000"/>
              <a:gd name="connsiteX8" fmla="*/ 7057 w 10000"/>
              <a:gd name="connsiteY8" fmla="*/ 6273 h 10000"/>
              <a:gd name="connsiteX9" fmla="*/ 9004 w 10000"/>
              <a:gd name="connsiteY9" fmla="*/ 7759 h 10000"/>
              <a:gd name="connsiteX10" fmla="*/ 10000 w 10000"/>
              <a:gd name="connsiteY10" fmla="*/ 6269 h 10000"/>
              <a:gd name="connsiteX11" fmla="*/ 9161 w 10000"/>
              <a:gd name="connsiteY11" fmla="*/ 1613 h 10000"/>
              <a:gd name="connsiteX12" fmla="*/ 6896 w 10000"/>
              <a:gd name="connsiteY12" fmla="*/ 4511 h 10000"/>
              <a:gd name="connsiteX13" fmla="*/ 7317 w 10000"/>
              <a:gd name="connsiteY13" fmla="*/ 5047 h 10000"/>
              <a:gd name="connsiteX14" fmla="*/ 5683 w 10000"/>
              <a:gd name="connsiteY14" fmla="*/ 3757 h 10000"/>
              <a:gd name="connsiteX15" fmla="*/ 5128 w 10000"/>
              <a:gd name="connsiteY15" fmla="*/ 2454 h 10000"/>
              <a:gd name="connsiteX16" fmla="*/ 5062 w 10000"/>
              <a:gd name="connsiteY16" fmla="*/ 833 h 10000"/>
              <a:gd name="connsiteX17" fmla="*/ 3549 w 10000"/>
              <a:gd name="connsiteY17" fmla="*/ 215 h 10000"/>
              <a:gd name="connsiteX18" fmla="*/ 2146 w 10000"/>
              <a:gd name="connsiteY18" fmla="*/ 215 h 10000"/>
              <a:gd name="connsiteX19" fmla="*/ 1573 w 10000"/>
              <a:gd name="connsiteY19" fmla="*/ 2317 h 10000"/>
              <a:gd name="connsiteX20" fmla="*/ 1445 w 10000"/>
              <a:gd name="connsiteY20" fmla="*/ 3010 h 10000"/>
              <a:gd name="connsiteX21" fmla="*/ 41 w 10000"/>
              <a:gd name="connsiteY21" fmla="*/ 3010 h 10000"/>
              <a:gd name="connsiteX22" fmla="*/ 351 w 10000"/>
              <a:gd name="connsiteY22" fmla="*/ 3729 h 10000"/>
              <a:gd name="connsiteX23" fmla="*/ 341 w 10000"/>
              <a:gd name="connsiteY23" fmla="*/ 5046 h 10000"/>
              <a:gd name="connsiteX24" fmla="*/ 84 w 10000"/>
              <a:gd name="connsiteY24" fmla="*/ 5349 h 10000"/>
              <a:gd name="connsiteX0" fmla="*/ 84 w 10000"/>
              <a:gd name="connsiteY0" fmla="*/ 5349 h 8633"/>
              <a:gd name="connsiteX1" fmla="*/ 983 w 10000"/>
              <a:gd name="connsiteY1" fmla="*/ 8397 h 8633"/>
              <a:gd name="connsiteX2" fmla="*/ 606 w 10000"/>
              <a:gd name="connsiteY2" fmla="*/ 8504 h 8633"/>
              <a:gd name="connsiteX3" fmla="*/ 1061 w 10000"/>
              <a:gd name="connsiteY3" fmla="*/ 8358 h 8633"/>
              <a:gd name="connsiteX4" fmla="*/ 2401 w 10000"/>
              <a:gd name="connsiteY4" fmla="*/ 8622 h 8633"/>
              <a:gd name="connsiteX5" fmla="*/ 2496 w 10000"/>
              <a:gd name="connsiteY5" fmla="*/ 8136 h 8633"/>
              <a:gd name="connsiteX6" fmla="*/ 4601 w 10000"/>
              <a:gd name="connsiteY6" fmla="*/ 8603 h 8633"/>
              <a:gd name="connsiteX7" fmla="*/ 6004 w 10000"/>
              <a:gd name="connsiteY7" fmla="*/ 8136 h 8633"/>
              <a:gd name="connsiteX8" fmla="*/ 7057 w 10000"/>
              <a:gd name="connsiteY8" fmla="*/ 6273 h 8633"/>
              <a:gd name="connsiteX9" fmla="*/ 9004 w 10000"/>
              <a:gd name="connsiteY9" fmla="*/ 7759 h 8633"/>
              <a:gd name="connsiteX10" fmla="*/ 10000 w 10000"/>
              <a:gd name="connsiteY10" fmla="*/ 6269 h 8633"/>
              <a:gd name="connsiteX11" fmla="*/ 9161 w 10000"/>
              <a:gd name="connsiteY11" fmla="*/ 1613 h 8633"/>
              <a:gd name="connsiteX12" fmla="*/ 6896 w 10000"/>
              <a:gd name="connsiteY12" fmla="*/ 4511 h 8633"/>
              <a:gd name="connsiteX13" fmla="*/ 7317 w 10000"/>
              <a:gd name="connsiteY13" fmla="*/ 5047 h 8633"/>
              <a:gd name="connsiteX14" fmla="*/ 5683 w 10000"/>
              <a:gd name="connsiteY14" fmla="*/ 3757 h 8633"/>
              <a:gd name="connsiteX15" fmla="*/ 5128 w 10000"/>
              <a:gd name="connsiteY15" fmla="*/ 2454 h 8633"/>
              <a:gd name="connsiteX16" fmla="*/ 5062 w 10000"/>
              <a:gd name="connsiteY16" fmla="*/ 833 h 8633"/>
              <a:gd name="connsiteX17" fmla="*/ 3549 w 10000"/>
              <a:gd name="connsiteY17" fmla="*/ 215 h 8633"/>
              <a:gd name="connsiteX18" fmla="*/ 2146 w 10000"/>
              <a:gd name="connsiteY18" fmla="*/ 215 h 8633"/>
              <a:gd name="connsiteX19" fmla="*/ 1573 w 10000"/>
              <a:gd name="connsiteY19" fmla="*/ 2317 h 8633"/>
              <a:gd name="connsiteX20" fmla="*/ 1445 w 10000"/>
              <a:gd name="connsiteY20" fmla="*/ 3010 h 8633"/>
              <a:gd name="connsiteX21" fmla="*/ 41 w 10000"/>
              <a:gd name="connsiteY21" fmla="*/ 3010 h 8633"/>
              <a:gd name="connsiteX22" fmla="*/ 351 w 10000"/>
              <a:gd name="connsiteY22" fmla="*/ 3729 h 8633"/>
              <a:gd name="connsiteX23" fmla="*/ 341 w 10000"/>
              <a:gd name="connsiteY23" fmla="*/ 5046 h 8633"/>
              <a:gd name="connsiteX24" fmla="*/ 84 w 10000"/>
              <a:gd name="connsiteY24" fmla="*/ 5349 h 8633"/>
              <a:gd name="connsiteX0" fmla="*/ 59 w 9975"/>
              <a:gd name="connsiteY0" fmla="*/ 6196 h 10000"/>
              <a:gd name="connsiteX1" fmla="*/ 958 w 9975"/>
              <a:gd name="connsiteY1" fmla="*/ 9727 h 10000"/>
              <a:gd name="connsiteX2" fmla="*/ 581 w 9975"/>
              <a:gd name="connsiteY2" fmla="*/ 9851 h 10000"/>
              <a:gd name="connsiteX3" fmla="*/ 1036 w 9975"/>
              <a:gd name="connsiteY3" fmla="*/ 9681 h 10000"/>
              <a:gd name="connsiteX4" fmla="*/ 2376 w 9975"/>
              <a:gd name="connsiteY4" fmla="*/ 9987 h 10000"/>
              <a:gd name="connsiteX5" fmla="*/ 2471 w 9975"/>
              <a:gd name="connsiteY5" fmla="*/ 9424 h 10000"/>
              <a:gd name="connsiteX6" fmla="*/ 4576 w 9975"/>
              <a:gd name="connsiteY6" fmla="*/ 9965 h 10000"/>
              <a:gd name="connsiteX7" fmla="*/ 5979 w 9975"/>
              <a:gd name="connsiteY7" fmla="*/ 9424 h 10000"/>
              <a:gd name="connsiteX8" fmla="*/ 7032 w 9975"/>
              <a:gd name="connsiteY8" fmla="*/ 7266 h 10000"/>
              <a:gd name="connsiteX9" fmla="*/ 8979 w 9975"/>
              <a:gd name="connsiteY9" fmla="*/ 8988 h 10000"/>
              <a:gd name="connsiteX10" fmla="*/ 9975 w 9975"/>
              <a:gd name="connsiteY10" fmla="*/ 7262 h 10000"/>
              <a:gd name="connsiteX11" fmla="*/ 9136 w 9975"/>
              <a:gd name="connsiteY11" fmla="*/ 1868 h 10000"/>
              <a:gd name="connsiteX12" fmla="*/ 6871 w 9975"/>
              <a:gd name="connsiteY12" fmla="*/ 5225 h 10000"/>
              <a:gd name="connsiteX13" fmla="*/ 7292 w 9975"/>
              <a:gd name="connsiteY13" fmla="*/ 5846 h 10000"/>
              <a:gd name="connsiteX14" fmla="*/ 5658 w 9975"/>
              <a:gd name="connsiteY14" fmla="*/ 4352 h 10000"/>
              <a:gd name="connsiteX15" fmla="*/ 5103 w 9975"/>
              <a:gd name="connsiteY15" fmla="*/ 2843 h 10000"/>
              <a:gd name="connsiteX16" fmla="*/ 5037 w 9975"/>
              <a:gd name="connsiteY16" fmla="*/ 965 h 10000"/>
              <a:gd name="connsiteX17" fmla="*/ 3524 w 9975"/>
              <a:gd name="connsiteY17" fmla="*/ 249 h 10000"/>
              <a:gd name="connsiteX18" fmla="*/ 2121 w 9975"/>
              <a:gd name="connsiteY18" fmla="*/ 249 h 10000"/>
              <a:gd name="connsiteX19" fmla="*/ 1548 w 9975"/>
              <a:gd name="connsiteY19" fmla="*/ 2684 h 10000"/>
              <a:gd name="connsiteX20" fmla="*/ 1420 w 9975"/>
              <a:gd name="connsiteY20" fmla="*/ 3487 h 10000"/>
              <a:gd name="connsiteX21" fmla="*/ 16 w 9975"/>
              <a:gd name="connsiteY21" fmla="*/ 3487 h 10000"/>
              <a:gd name="connsiteX22" fmla="*/ 1668 w 9975"/>
              <a:gd name="connsiteY22" fmla="*/ 4423 h 10000"/>
              <a:gd name="connsiteX23" fmla="*/ 316 w 9975"/>
              <a:gd name="connsiteY23" fmla="*/ 5845 h 10000"/>
              <a:gd name="connsiteX24" fmla="*/ 59 w 9975"/>
              <a:gd name="connsiteY24" fmla="*/ 6196 h 10000"/>
              <a:gd name="connsiteX0" fmla="*/ 1197 w 10000"/>
              <a:gd name="connsiteY0" fmla="*/ 6453 h 10000"/>
              <a:gd name="connsiteX1" fmla="*/ 960 w 10000"/>
              <a:gd name="connsiteY1" fmla="*/ 9727 h 10000"/>
              <a:gd name="connsiteX2" fmla="*/ 582 w 10000"/>
              <a:gd name="connsiteY2" fmla="*/ 9851 h 10000"/>
              <a:gd name="connsiteX3" fmla="*/ 1039 w 10000"/>
              <a:gd name="connsiteY3" fmla="*/ 9681 h 10000"/>
              <a:gd name="connsiteX4" fmla="*/ 2382 w 10000"/>
              <a:gd name="connsiteY4" fmla="*/ 9987 h 10000"/>
              <a:gd name="connsiteX5" fmla="*/ 2477 w 10000"/>
              <a:gd name="connsiteY5" fmla="*/ 9424 h 10000"/>
              <a:gd name="connsiteX6" fmla="*/ 4587 w 10000"/>
              <a:gd name="connsiteY6" fmla="*/ 9965 h 10000"/>
              <a:gd name="connsiteX7" fmla="*/ 5994 w 10000"/>
              <a:gd name="connsiteY7" fmla="*/ 9424 h 10000"/>
              <a:gd name="connsiteX8" fmla="*/ 7050 w 10000"/>
              <a:gd name="connsiteY8" fmla="*/ 7266 h 10000"/>
              <a:gd name="connsiteX9" fmla="*/ 9002 w 10000"/>
              <a:gd name="connsiteY9" fmla="*/ 8988 h 10000"/>
              <a:gd name="connsiteX10" fmla="*/ 10000 w 10000"/>
              <a:gd name="connsiteY10" fmla="*/ 7262 h 10000"/>
              <a:gd name="connsiteX11" fmla="*/ 9159 w 10000"/>
              <a:gd name="connsiteY11" fmla="*/ 1868 h 10000"/>
              <a:gd name="connsiteX12" fmla="*/ 6888 w 10000"/>
              <a:gd name="connsiteY12" fmla="*/ 5225 h 10000"/>
              <a:gd name="connsiteX13" fmla="*/ 7310 w 10000"/>
              <a:gd name="connsiteY13" fmla="*/ 5846 h 10000"/>
              <a:gd name="connsiteX14" fmla="*/ 5672 w 10000"/>
              <a:gd name="connsiteY14" fmla="*/ 4352 h 10000"/>
              <a:gd name="connsiteX15" fmla="*/ 5116 w 10000"/>
              <a:gd name="connsiteY15" fmla="*/ 2843 h 10000"/>
              <a:gd name="connsiteX16" fmla="*/ 5050 w 10000"/>
              <a:gd name="connsiteY16" fmla="*/ 965 h 10000"/>
              <a:gd name="connsiteX17" fmla="*/ 3533 w 10000"/>
              <a:gd name="connsiteY17" fmla="*/ 249 h 10000"/>
              <a:gd name="connsiteX18" fmla="*/ 2126 w 10000"/>
              <a:gd name="connsiteY18" fmla="*/ 249 h 10000"/>
              <a:gd name="connsiteX19" fmla="*/ 1552 w 10000"/>
              <a:gd name="connsiteY19" fmla="*/ 2684 h 10000"/>
              <a:gd name="connsiteX20" fmla="*/ 1424 w 10000"/>
              <a:gd name="connsiteY20" fmla="*/ 3487 h 10000"/>
              <a:gd name="connsiteX21" fmla="*/ 16 w 10000"/>
              <a:gd name="connsiteY21" fmla="*/ 3487 h 10000"/>
              <a:gd name="connsiteX22" fmla="*/ 1672 w 10000"/>
              <a:gd name="connsiteY22" fmla="*/ 4423 h 10000"/>
              <a:gd name="connsiteX23" fmla="*/ 317 w 10000"/>
              <a:gd name="connsiteY23" fmla="*/ 5845 h 10000"/>
              <a:gd name="connsiteX24" fmla="*/ 1197 w 10000"/>
              <a:gd name="connsiteY24" fmla="*/ 6453 h 10000"/>
              <a:gd name="connsiteX0" fmla="*/ 880 w 9683"/>
              <a:gd name="connsiteY0" fmla="*/ 6453 h 10000"/>
              <a:gd name="connsiteX1" fmla="*/ 643 w 9683"/>
              <a:gd name="connsiteY1" fmla="*/ 9727 h 10000"/>
              <a:gd name="connsiteX2" fmla="*/ 265 w 9683"/>
              <a:gd name="connsiteY2" fmla="*/ 9851 h 10000"/>
              <a:gd name="connsiteX3" fmla="*/ 722 w 9683"/>
              <a:gd name="connsiteY3" fmla="*/ 9681 h 10000"/>
              <a:gd name="connsiteX4" fmla="*/ 2065 w 9683"/>
              <a:gd name="connsiteY4" fmla="*/ 9987 h 10000"/>
              <a:gd name="connsiteX5" fmla="*/ 2160 w 9683"/>
              <a:gd name="connsiteY5" fmla="*/ 9424 h 10000"/>
              <a:gd name="connsiteX6" fmla="*/ 4270 w 9683"/>
              <a:gd name="connsiteY6" fmla="*/ 9965 h 10000"/>
              <a:gd name="connsiteX7" fmla="*/ 5677 w 9683"/>
              <a:gd name="connsiteY7" fmla="*/ 9424 h 10000"/>
              <a:gd name="connsiteX8" fmla="*/ 6733 w 9683"/>
              <a:gd name="connsiteY8" fmla="*/ 7266 h 10000"/>
              <a:gd name="connsiteX9" fmla="*/ 8685 w 9683"/>
              <a:gd name="connsiteY9" fmla="*/ 8988 h 10000"/>
              <a:gd name="connsiteX10" fmla="*/ 9683 w 9683"/>
              <a:gd name="connsiteY10" fmla="*/ 7262 h 10000"/>
              <a:gd name="connsiteX11" fmla="*/ 8842 w 9683"/>
              <a:gd name="connsiteY11" fmla="*/ 1868 h 10000"/>
              <a:gd name="connsiteX12" fmla="*/ 6571 w 9683"/>
              <a:gd name="connsiteY12" fmla="*/ 5225 h 10000"/>
              <a:gd name="connsiteX13" fmla="*/ 6993 w 9683"/>
              <a:gd name="connsiteY13" fmla="*/ 5846 h 10000"/>
              <a:gd name="connsiteX14" fmla="*/ 5355 w 9683"/>
              <a:gd name="connsiteY14" fmla="*/ 4352 h 10000"/>
              <a:gd name="connsiteX15" fmla="*/ 4799 w 9683"/>
              <a:gd name="connsiteY15" fmla="*/ 2843 h 10000"/>
              <a:gd name="connsiteX16" fmla="*/ 4733 w 9683"/>
              <a:gd name="connsiteY16" fmla="*/ 965 h 10000"/>
              <a:gd name="connsiteX17" fmla="*/ 3216 w 9683"/>
              <a:gd name="connsiteY17" fmla="*/ 249 h 10000"/>
              <a:gd name="connsiteX18" fmla="*/ 1809 w 9683"/>
              <a:gd name="connsiteY18" fmla="*/ 249 h 10000"/>
              <a:gd name="connsiteX19" fmla="*/ 1235 w 9683"/>
              <a:gd name="connsiteY19" fmla="*/ 2684 h 10000"/>
              <a:gd name="connsiteX20" fmla="*/ 1107 w 9683"/>
              <a:gd name="connsiteY20" fmla="*/ 3487 h 10000"/>
              <a:gd name="connsiteX21" fmla="*/ 954 w 9683"/>
              <a:gd name="connsiteY21" fmla="*/ 4284 h 10000"/>
              <a:gd name="connsiteX22" fmla="*/ 1355 w 9683"/>
              <a:gd name="connsiteY22" fmla="*/ 4423 h 10000"/>
              <a:gd name="connsiteX23" fmla="*/ 0 w 9683"/>
              <a:gd name="connsiteY23" fmla="*/ 5845 h 10000"/>
              <a:gd name="connsiteX24" fmla="*/ 880 w 9683"/>
              <a:gd name="connsiteY24" fmla="*/ 6453 h 10000"/>
              <a:gd name="connsiteX0" fmla="*/ 909 w 10000"/>
              <a:gd name="connsiteY0" fmla="*/ 6453 h 10000"/>
              <a:gd name="connsiteX1" fmla="*/ 664 w 10000"/>
              <a:gd name="connsiteY1" fmla="*/ 9727 h 10000"/>
              <a:gd name="connsiteX2" fmla="*/ 274 w 10000"/>
              <a:gd name="connsiteY2" fmla="*/ 9851 h 10000"/>
              <a:gd name="connsiteX3" fmla="*/ 746 w 10000"/>
              <a:gd name="connsiteY3" fmla="*/ 9681 h 10000"/>
              <a:gd name="connsiteX4" fmla="*/ 2133 w 10000"/>
              <a:gd name="connsiteY4" fmla="*/ 9987 h 10000"/>
              <a:gd name="connsiteX5" fmla="*/ 2231 w 10000"/>
              <a:gd name="connsiteY5" fmla="*/ 9424 h 10000"/>
              <a:gd name="connsiteX6" fmla="*/ 4410 w 10000"/>
              <a:gd name="connsiteY6" fmla="*/ 9965 h 10000"/>
              <a:gd name="connsiteX7" fmla="*/ 5863 w 10000"/>
              <a:gd name="connsiteY7" fmla="*/ 9424 h 10000"/>
              <a:gd name="connsiteX8" fmla="*/ 6953 w 10000"/>
              <a:gd name="connsiteY8" fmla="*/ 7266 h 10000"/>
              <a:gd name="connsiteX9" fmla="*/ 8612 w 10000"/>
              <a:gd name="connsiteY9" fmla="*/ 8836 h 10000"/>
              <a:gd name="connsiteX10" fmla="*/ 10000 w 10000"/>
              <a:gd name="connsiteY10" fmla="*/ 7262 h 10000"/>
              <a:gd name="connsiteX11" fmla="*/ 9131 w 10000"/>
              <a:gd name="connsiteY11" fmla="*/ 1868 h 10000"/>
              <a:gd name="connsiteX12" fmla="*/ 6786 w 10000"/>
              <a:gd name="connsiteY12" fmla="*/ 5225 h 10000"/>
              <a:gd name="connsiteX13" fmla="*/ 7222 w 10000"/>
              <a:gd name="connsiteY13" fmla="*/ 5846 h 10000"/>
              <a:gd name="connsiteX14" fmla="*/ 5530 w 10000"/>
              <a:gd name="connsiteY14" fmla="*/ 4352 h 10000"/>
              <a:gd name="connsiteX15" fmla="*/ 4956 w 10000"/>
              <a:gd name="connsiteY15" fmla="*/ 2843 h 10000"/>
              <a:gd name="connsiteX16" fmla="*/ 4888 w 10000"/>
              <a:gd name="connsiteY16" fmla="*/ 965 h 10000"/>
              <a:gd name="connsiteX17" fmla="*/ 3321 w 10000"/>
              <a:gd name="connsiteY17" fmla="*/ 249 h 10000"/>
              <a:gd name="connsiteX18" fmla="*/ 1868 w 10000"/>
              <a:gd name="connsiteY18" fmla="*/ 249 h 10000"/>
              <a:gd name="connsiteX19" fmla="*/ 1275 w 10000"/>
              <a:gd name="connsiteY19" fmla="*/ 2684 h 10000"/>
              <a:gd name="connsiteX20" fmla="*/ 1143 w 10000"/>
              <a:gd name="connsiteY20" fmla="*/ 3487 h 10000"/>
              <a:gd name="connsiteX21" fmla="*/ 985 w 10000"/>
              <a:gd name="connsiteY21" fmla="*/ 4284 h 10000"/>
              <a:gd name="connsiteX22" fmla="*/ 1399 w 10000"/>
              <a:gd name="connsiteY22" fmla="*/ 4423 h 10000"/>
              <a:gd name="connsiteX23" fmla="*/ 0 w 10000"/>
              <a:gd name="connsiteY23" fmla="*/ 5845 h 10000"/>
              <a:gd name="connsiteX24" fmla="*/ 909 w 10000"/>
              <a:gd name="connsiteY24" fmla="*/ 6453 h 10000"/>
              <a:gd name="connsiteX0" fmla="*/ 909 w 9202"/>
              <a:gd name="connsiteY0" fmla="*/ 6453 h 10000"/>
              <a:gd name="connsiteX1" fmla="*/ 664 w 9202"/>
              <a:gd name="connsiteY1" fmla="*/ 9727 h 10000"/>
              <a:gd name="connsiteX2" fmla="*/ 274 w 9202"/>
              <a:gd name="connsiteY2" fmla="*/ 9851 h 10000"/>
              <a:gd name="connsiteX3" fmla="*/ 746 w 9202"/>
              <a:gd name="connsiteY3" fmla="*/ 9681 h 10000"/>
              <a:gd name="connsiteX4" fmla="*/ 2133 w 9202"/>
              <a:gd name="connsiteY4" fmla="*/ 9987 h 10000"/>
              <a:gd name="connsiteX5" fmla="*/ 2231 w 9202"/>
              <a:gd name="connsiteY5" fmla="*/ 9424 h 10000"/>
              <a:gd name="connsiteX6" fmla="*/ 4410 w 9202"/>
              <a:gd name="connsiteY6" fmla="*/ 9965 h 10000"/>
              <a:gd name="connsiteX7" fmla="*/ 5863 w 9202"/>
              <a:gd name="connsiteY7" fmla="*/ 9424 h 10000"/>
              <a:gd name="connsiteX8" fmla="*/ 6953 w 9202"/>
              <a:gd name="connsiteY8" fmla="*/ 7266 h 10000"/>
              <a:gd name="connsiteX9" fmla="*/ 8612 w 9202"/>
              <a:gd name="connsiteY9" fmla="*/ 8836 h 10000"/>
              <a:gd name="connsiteX10" fmla="*/ 9003 w 9202"/>
              <a:gd name="connsiteY10" fmla="*/ 6266 h 10000"/>
              <a:gd name="connsiteX11" fmla="*/ 9131 w 9202"/>
              <a:gd name="connsiteY11" fmla="*/ 1868 h 10000"/>
              <a:gd name="connsiteX12" fmla="*/ 6786 w 9202"/>
              <a:gd name="connsiteY12" fmla="*/ 5225 h 10000"/>
              <a:gd name="connsiteX13" fmla="*/ 7222 w 9202"/>
              <a:gd name="connsiteY13" fmla="*/ 5846 h 10000"/>
              <a:gd name="connsiteX14" fmla="*/ 5530 w 9202"/>
              <a:gd name="connsiteY14" fmla="*/ 4352 h 10000"/>
              <a:gd name="connsiteX15" fmla="*/ 4956 w 9202"/>
              <a:gd name="connsiteY15" fmla="*/ 2843 h 10000"/>
              <a:gd name="connsiteX16" fmla="*/ 4888 w 9202"/>
              <a:gd name="connsiteY16" fmla="*/ 965 h 10000"/>
              <a:gd name="connsiteX17" fmla="*/ 3321 w 9202"/>
              <a:gd name="connsiteY17" fmla="*/ 249 h 10000"/>
              <a:gd name="connsiteX18" fmla="*/ 1868 w 9202"/>
              <a:gd name="connsiteY18" fmla="*/ 249 h 10000"/>
              <a:gd name="connsiteX19" fmla="*/ 1275 w 9202"/>
              <a:gd name="connsiteY19" fmla="*/ 2684 h 10000"/>
              <a:gd name="connsiteX20" fmla="*/ 1143 w 9202"/>
              <a:gd name="connsiteY20" fmla="*/ 3487 h 10000"/>
              <a:gd name="connsiteX21" fmla="*/ 985 w 9202"/>
              <a:gd name="connsiteY21" fmla="*/ 4284 h 10000"/>
              <a:gd name="connsiteX22" fmla="*/ 1399 w 9202"/>
              <a:gd name="connsiteY22" fmla="*/ 4423 h 10000"/>
              <a:gd name="connsiteX23" fmla="*/ 0 w 9202"/>
              <a:gd name="connsiteY23" fmla="*/ 5845 h 10000"/>
              <a:gd name="connsiteX24" fmla="*/ 909 w 9202"/>
              <a:gd name="connsiteY24" fmla="*/ 6453 h 10000"/>
              <a:gd name="connsiteX0" fmla="*/ 988 w 9784"/>
              <a:gd name="connsiteY0" fmla="*/ 6453 h 10000"/>
              <a:gd name="connsiteX1" fmla="*/ 722 w 9784"/>
              <a:gd name="connsiteY1" fmla="*/ 9727 h 10000"/>
              <a:gd name="connsiteX2" fmla="*/ 298 w 9784"/>
              <a:gd name="connsiteY2" fmla="*/ 9851 h 10000"/>
              <a:gd name="connsiteX3" fmla="*/ 811 w 9784"/>
              <a:gd name="connsiteY3" fmla="*/ 9681 h 10000"/>
              <a:gd name="connsiteX4" fmla="*/ 2318 w 9784"/>
              <a:gd name="connsiteY4" fmla="*/ 9987 h 10000"/>
              <a:gd name="connsiteX5" fmla="*/ 2424 w 9784"/>
              <a:gd name="connsiteY5" fmla="*/ 9424 h 10000"/>
              <a:gd name="connsiteX6" fmla="*/ 4792 w 9784"/>
              <a:gd name="connsiteY6" fmla="*/ 9965 h 10000"/>
              <a:gd name="connsiteX7" fmla="*/ 6371 w 9784"/>
              <a:gd name="connsiteY7" fmla="*/ 9424 h 10000"/>
              <a:gd name="connsiteX8" fmla="*/ 7556 w 9784"/>
              <a:gd name="connsiteY8" fmla="*/ 7266 h 10000"/>
              <a:gd name="connsiteX9" fmla="*/ 9359 w 9784"/>
              <a:gd name="connsiteY9" fmla="*/ 8836 h 10000"/>
              <a:gd name="connsiteX10" fmla="*/ 9784 w 9784"/>
              <a:gd name="connsiteY10" fmla="*/ 6266 h 10000"/>
              <a:gd name="connsiteX11" fmla="*/ 9092 w 9784"/>
              <a:gd name="connsiteY11" fmla="*/ 4080 h 10000"/>
              <a:gd name="connsiteX12" fmla="*/ 7374 w 9784"/>
              <a:gd name="connsiteY12" fmla="*/ 5225 h 10000"/>
              <a:gd name="connsiteX13" fmla="*/ 7848 w 9784"/>
              <a:gd name="connsiteY13" fmla="*/ 5846 h 10000"/>
              <a:gd name="connsiteX14" fmla="*/ 6010 w 9784"/>
              <a:gd name="connsiteY14" fmla="*/ 4352 h 10000"/>
              <a:gd name="connsiteX15" fmla="*/ 5386 w 9784"/>
              <a:gd name="connsiteY15" fmla="*/ 2843 h 10000"/>
              <a:gd name="connsiteX16" fmla="*/ 5312 w 9784"/>
              <a:gd name="connsiteY16" fmla="*/ 965 h 10000"/>
              <a:gd name="connsiteX17" fmla="*/ 3609 w 9784"/>
              <a:gd name="connsiteY17" fmla="*/ 249 h 10000"/>
              <a:gd name="connsiteX18" fmla="*/ 2030 w 9784"/>
              <a:gd name="connsiteY18" fmla="*/ 249 h 10000"/>
              <a:gd name="connsiteX19" fmla="*/ 1386 w 9784"/>
              <a:gd name="connsiteY19" fmla="*/ 2684 h 10000"/>
              <a:gd name="connsiteX20" fmla="*/ 1242 w 9784"/>
              <a:gd name="connsiteY20" fmla="*/ 3487 h 10000"/>
              <a:gd name="connsiteX21" fmla="*/ 1070 w 9784"/>
              <a:gd name="connsiteY21" fmla="*/ 4284 h 10000"/>
              <a:gd name="connsiteX22" fmla="*/ 1520 w 9784"/>
              <a:gd name="connsiteY22" fmla="*/ 4423 h 10000"/>
              <a:gd name="connsiteX23" fmla="*/ 0 w 9784"/>
              <a:gd name="connsiteY23" fmla="*/ 5845 h 10000"/>
              <a:gd name="connsiteX24" fmla="*/ 988 w 9784"/>
              <a:gd name="connsiteY24" fmla="*/ 6453 h 10000"/>
              <a:gd name="connsiteX0" fmla="*/ 1010 w 10000"/>
              <a:gd name="connsiteY0" fmla="*/ 6453 h 10000"/>
              <a:gd name="connsiteX1" fmla="*/ 738 w 10000"/>
              <a:gd name="connsiteY1" fmla="*/ 9727 h 10000"/>
              <a:gd name="connsiteX2" fmla="*/ 305 w 10000"/>
              <a:gd name="connsiteY2" fmla="*/ 9851 h 10000"/>
              <a:gd name="connsiteX3" fmla="*/ 829 w 10000"/>
              <a:gd name="connsiteY3" fmla="*/ 9681 h 10000"/>
              <a:gd name="connsiteX4" fmla="*/ 2369 w 10000"/>
              <a:gd name="connsiteY4" fmla="*/ 9987 h 10000"/>
              <a:gd name="connsiteX5" fmla="*/ 2478 w 10000"/>
              <a:gd name="connsiteY5" fmla="*/ 9424 h 10000"/>
              <a:gd name="connsiteX6" fmla="*/ 4898 w 10000"/>
              <a:gd name="connsiteY6" fmla="*/ 9965 h 10000"/>
              <a:gd name="connsiteX7" fmla="*/ 6512 w 10000"/>
              <a:gd name="connsiteY7" fmla="*/ 9424 h 10000"/>
              <a:gd name="connsiteX8" fmla="*/ 7723 w 10000"/>
              <a:gd name="connsiteY8" fmla="*/ 7266 h 10000"/>
              <a:gd name="connsiteX9" fmla="*/ 9566 w 10000"/>
              <a:gd name="connsiteY9" fmla="*/ 8836 h 10000"/>
              <a:gd name="connsiteX10" fmla="*/ 10000 w 10000"/>
              <a:gd name="connsiteY10" fmla="*/ 6266 h 10000"/>
              <a:gd name="connsiteX11" fmla="*/ 9293 w 10000"/>
              <a:gd name="connsiteY11" fmla="*/ 4080 h 10000"/>
              <a:gd name="connsiteX12" fmla="*/ 7273 w 10000"/>
              <a:gd name="connsiteY12" fmla="*/ 6329 h 10000"/>
              <a:gd name="connsiteX13" fmla="*/ 8021 w 10000"/>
              <a:gd name="connsiteY13" fmla="*/ 5846 h 10000"/>
              <a:gd name="connsiteX14" fmla="*/ 6143 w 10000"/>
              <a:gd name="connsiteY14" fmla="*/ 4352 h 10000"/>
              <a:gd name="connsiteX15" fmla="*/ 5505 w 10000"/>
              <a:gd name="connsiteY15" fmla="*/ 2843 h 10000"/>
              <a:gd name="connsiteX16" fmla="*/ 5429 w 10000"/>
              <a:gd name="connsiteY16" fmla="*/ 965 h 10000"/>
              <a:gd name="connsiteX17" fmla="*/ 3689 w 10000"/>
              <a:gd name="connsiteY17" fmla="*/ 249 h 10000"/>
              <a:gd name="connsiteX18" fmla="*/ 2075 w 10000"/>
              <a:gd name="connsiteY18" fmla="*/ 249 h 10000"/>
              <a:gd name="connsiteX19" fmla="*/ 1417 w 10000"/>
              <a:gd name="connsiteY19" fmla="*/ 2684 h 10000"/>
              <a:gd name="connsiteX20" fmla="*/ 1269 w 10000"/>
              <a:gd name="connsiteY20" fmla="*/ 3487 h 10000"/>
              <a:gd name="connsiteX21" fmla="*/ 1094 w 10000"/>
              <a:gd name="connsiteY21" fmla="*/ 4284 h 10000"/>
              <a:gd name="connsiteX22" fmla="*/ 1554 w 10000"/>
              <a:gd name="connsiteY22" fmla="*/ 4423 h 10000"/>
              <a:gd name="connsiteX23" fmla="*/ 0 w 10000"/>
              <a:gd name="connsiteY23" fmla="*/ 5845 h 10000"/>
              <a:gd name="connsiteX24" fmla="*/ 1010 w 10000"/>
              <a:gd name="connsiteY24" fmla="*/ 6453 h 10000"/>
              <a:gd name="connsiteX0" fmla="*/ 1010 w 10000"/>
              <a:gd name="connsiteY0" fmla="*/ 6453 h 10000"/>
              <a:gd name="connsiteX1" fmla="*/ 738 w 10000"/>
              <a:gd name="connsiteY1" fmla="*/ 9727 h 10000"/>
              <a:gd name="connsiteX2" fmla="*/ 305 w 10000"/>
              <a:gd name="connsiteY2" fmla="*/ 9851 h 10000"/>
              <a:gd name="connsiteX3" fmla="*/ 829 w 10000"/>
              <a:gd name="connsiteY3" fmla="*/ 9681 h 10000"/>
              <a:gd name="connsiteX4" fmla="*/ 2369 w 10000"/>
              <a:gd name="connsiteY4" fmla="*/ 9987 h 10000"/>
              <a:gd name="connsiteX5" fmla="*/ 2478 w 10000"/>
              <a:gd name="connsiteY5" fmla="*/ 9424 h 10000"/>
              <a:gd name="connsiteX6" fmla="*/ 4898 w 10000"/>
              <a:gd name="connsiteY6" fmla="*/ 9965 h 10000"/>
              <a:gd name="connsiteX7" fmla="*/ 6512 w 10000"/>
              <a:gd name="connsiteY7" fmla="*/ 9424 h 10000"/>
              <a:gd name="connsiteX8" fmla="*/ 7723 w 10000"/>
              <a:gd name="connsiteY8" fmla="*/ 7266 h 10000"/>
              <a:gd name="connsiteX9" fmla="*/ 9566 w 10000"/>
              <a:gd name="connsiteY9" fmla="*/ 8836 h 10000"/>
              <a:gd name="connsiteX10" fmla="*/ 10000 w 10000"/>
              <a:gd name="connsiteY10" fmla="*/ 6266 h 10000"/>
              <a:gd name="connsiteX11" fmla="*/ 9293 w 10000"/>
              <a:gd name="connsiteY11" fmla="*/ 4080 h 10000"/>
              <a:gd name="connsiteX12" fmla="*/ 7273 w 10000"/>
              <a:gd name="connsiteY12" fmla="*/ 6329 h 10000"/>
              <a:gd name="connsiteX13" fmla="*/ 8021 w 10000"/>
              <a:gd name="connsiteY13" fmla="*/ 5846 h 10000"/>
              <a:gd name="connsiteX14" fmla="*/ 6143 w 10000"/>
              <a:gd name="connsiteY14" fmla="*/ 4352 h 10000"/>
              <a:gd name="connsiteX15" fmla="*/ 5505 w 10000"/>
              <a:gd name="connsiteY15" fmla="*/ 2843 h 10000"/>
              <a:gd name="connsiteX16" fmla="*/ 5429 w 10000"/>
              <a:gd name="connsiteY16" fmla="*/ 965 h 10000"/>
              <a:gd name="connsiteX17" fmla="*/ 3689 w 10000"/>
              <a:gd name="connsiteY17" fmla="*/ 249 h 10000"/>
              <a:gd name="connsiteX18" fmla="*/ 2075 w 10000"/>
              <a:gd name="connsiteY18" fmla="*/ 249 h 10000"/>
              <a:gd name="connsiteX19" fmla="*/ 1417 w 10000"/>
              <a:gd name="connsiteY19" fmla="*/ 2684 h 10000"/>
              <a:gd name="connsiteX20" fmla="*/ 1269 w 10000"/>
              <a:gd name="connsiteY20" fmla="*/ 3487 h 10000"/>
              <a:gd name="connsiteX21" fmla="*/ 1094 w 10000"/>
              <a:gd name="connsiteY21" fmla="*/ 4284 h 10000"/>
              <a:gd name="connsiteX22" fmla="*/ 1554 w 10000"/>
              <a:gd name="connsiteY22" fmla="*/ 4423 h 10000"/>
              <a:gd name="connsiteX23" fmla="*/ 0 w 10000"/>
              <a:gd name="connsiteY23" fmla="*/ 5845 h 10000"/>
              <a:gd name="connsiteX24" fmla="*/ 1010 w 10000"/>
              <a:gd name="connsiteY24" fmla="*/ 6453 h 10000"/>
              <a:gd name="connsiteX0" fmla="*/ 1010 w 10000"/>
              <a:gd name="connsiteY0" fmla="*/ 6453 h 10000"/>
              <a:gd name="connsiteX1" fmla="*/ 738 w 10000"/>
              <a:gd name="connsiteY1" fmla="*/ 9727 h 10000"/>
              <a:gd name="connsiteX2" fmla="*/ 305 w 10000"/>
              <a:gd name="connsiteY2" fmla="*/ 9851 h 10000"/>
              <a:gd name="connsiteX3" fmla="*/ 829 w 10000"/>
              <a:gd name="connsiteY3" fmla="*/ 9681 h 10000"/>
              <a:gd name="connsiteX4" fmla="*/ 2369 w 10000"/>
              <a:gd name="connsiteY4" fmla="*/ 9987 h 10000"/>
              <a:gd name="connsiteX5" fmla="*/ 2478 w 10000"/>
              <a:gd name="connsiteY5" fmla="*/ 9424 h 10000"/>
              <a:gd name="connsiteX6" fmla="*/ 4898 w 10000"/>
              <a:gd name="connsiteY6" fmla="*/ 9965 h 10000"/>
              <a:gd name="connsiteX7" fmla="*/ 6512 w 10000"/>
              <a:gd name="connsiteY7" fmla="*/ 9424 h 10000"/>
              <a:gd name="connsiteX8" fmla="*/ 7723 w 10000"/>
              <a:gd name="connsiteY8" fmla="*/ 7266 h 10000"/>
              <a:gd name="connsiteX9" fmla="*/ 9566 w 10000"/>
              <a:gd name="connsiteY9" fmla="*/ 8836 h 10000"/>
              <a:gd name="connsiteX10" fmla="*/ 10000 w 10000"/>
              <a:gd name="connsiteY10" fmla="*/ 6266 h 10000"/>
              <a:gd name="connsiteX11" fmla="*/ 9293 w 10000"/>
              <a:gd name="connsiteY11" fmla="*/ 4080 h 10000"/>
              <a:gd name="connsiteX12" fmla="*/ 7273 w 10000"/>
              <a:gd name="connsiteY12" fmla="*/ 6329 h 10000"/>
              <a:gd name="connsiteX13" fmla="*/ 8021 w 10000"/>
              <a:gd name="connsiteY13" fmla="*/ 5846 h 10000"/>
              <a:gd name="connsiteX14" fmla="*/ 6143 w 10000"/>
              <a:gd name="connsiteY14" fmla="*/ 4352 h 10000"/>
              <a:gd name="connsiteX15" fmla="*/ 5505 w 10000"/>
              <a:gd name="connsiteY15" fmla="*/ 2843 h 10000"/>
              <a:gd name="connsiteX16" fmla="*/ 5260 w 10000"/>
              <a:gd name="connsiteY16" fmla="*/ 2740 h 10000"/>
              <a:gd name="connsiteX17" fmla="*/ 3689 w 10000"/>
              <a:gd name="connsiteY17" fmla="*/ 249 h 10000"/>
              <a:gd name="connsiteX18" fmla="*/ 2075 w 10000"/>
              <a:gd name="connsiteY18" fmla="*/ 249 h 10000"/>
              <a:gd name="connsiteX19" fmla="*/ 1417 w 10000"/>
              <a:gd name="connsiteY19" fmla="*/ 2684 h 10000"/>
              <a:gd name="connsiteX20" fmla="*/ 1269 w 10000"/>
              <a:gd name="connsiteY20" fmla="*/ 3487 h 10000"/>
              <a:gd name="connsiteX21" fmla="*/ 1094 w 10000"/>
              <a:gd name="connsiteY21" fmla="*/ 4284 h 10000"/>
              <a:gd name="connsiteX22" fmla="*/ 1554 w 10000"/>
              <a:gd name="connsiteY22" fmla="*/ 4423 h 10000"/>
              <a:gd name="connsiteX23" fmla="*/ 0 w 10000"/>
              <a:gd name="connsiteY23" fmla="*/ 5845 h 10000"/>
              <a:gd name="connsiteX24" fmla="*/ 1010 w 10000"/>
              <a:gd name="connsiteY24" fmla="*/ 6453 h 10000"/>
              <a:gd name="connsiteX0" fmla="*/ 1010 w 10000"/>
              <a:gd name="connsiteY0" fmla="*/ 6204 h 9751"/>
              <a:gd name="connsiteX1" fmla="*/ 738 w 10000"/>
              <a:gd name="connsiteY1" fmla="*/ 9478 h 9751"/>
              <a:gd name="connsiteX2" fmla="*/ 305 w 10000"/>
              <a:gd name="connsiteY2" fmla="*/ 9602 h 9751"/>
              <a:gd name="connsiteX3" fmla="*/ 829 w 10000"/>
              <a:gd name="connsiteY3" fmla="*/ 9432 h 9751"/>
              <a:gd name="connsiteX4" fmla="*/ 2369 w 10000"/>
              <a:gd name="connsiteY4" fmla="*/ 9738 h 9751"/>
              <a:gd name="connsiteX5" fmla="*/ 2478 w 10000"/>
              <a:gd name="connsiteY5" fmla="*/ 9175 h 9751"/>
              <a:gd name="connsiteX6" fmla="*/ 4898 w 10000"/>
              <a:gd name="connsiteY6" fmla="*/ 9716 h 9751"/>
              <a:gd name="connsiteX7" fmla="*/ 6512 w 10000"/>
              <a:gd name="connsiteY7" fmla="*/ 9175 h 9751"/>
              <a:gd name="connsiteX8" fmla="*/ 7723 w 10000"/>
              <a:gd name="connsiteY8" fmla="*/ 7017 h 9751"/>
              <a:gd name="connsiteX9" fmla="*/ 9566 w 10000"/>
              <a:gd name="connsiteY9" fmla="*/ 8587 h 9751"/>
              <a:gd name="connsiteX10" fmla="*/ 10000 w 10000"/>
              <a:gd name="connsiteY10" fmla="*/ 6017 h 9751"/>
              <a:gd name="connsiteX11" fmla="*/ 9293 w 10000"/>
              <a:gd name="connsiteY11" fmla="*/ 3831 h 9751"/>
              <a:gd name="connsiteX12" fmla="*/ 7273 w 10000"/>
              <a:gd name="connsiteY12" fmla="*/ 6080 h 9751"/>
              <a:gd name="connsiteX13" fmla="*/ 8021 w 10000"/>
              <a:gd name="connsiteY13" fmla="*/ 5597 h 9751"/>
              <a:gd name="connsiteX14" fmla="*/ 6143 w 10000"/>
              <a:gd name="connsiteY14" fmla="*/ 4103 h 9751"/>
              <a:gd name="connsiteX15" fmla="*/ 5505 w 10000"/>
              <a:gd name="connsiteY15" fmla="*/ 2594 h 9751"/>
              <a:gd name="connsiteX16" fmla="*/ 5260 w 10000"/>
              <a:gd name="connsiteY16" fmla="*/ 2491 h 9751"/>
              <a:gd name="connsiteX17" fmla="*/ 4325 w 10000"/>
              <a:gd name="connsiteY17" fmla="*/ 2274 h 9751"/>
              <a:gd name="connsiteX18" fmla="*/ 2075 w 10000"/>
              <a:gd name="connsiteY18" fmla="*/ 0 h 9751"/>
              <a:gd name="connsiteX19" fmla="*/ 1417 w 10000"/>
              <a:gd name="connsiteY19" fmla="*/ 2435 h 9751"/>
              <a:gd name="connsiteX20" fmla="*/ 1269 w 10000"/>
              <a:gd name="connsiteY20" fmla="*/ 3238 h 9751"/>
              <a:gd name="connsiteX21" fmla="*/ 1094 w 10000"/>
              <a:gd name="connsiteY21" fmla="*/ 4035 h 9751"/>
              <a:gd name="connsiteX22" fmla="*/ 1554 w 10000"/>
              <a:gd name="connsiteY22" fmla="*/ 4174 h 9751"/>
              <a:gd name="connsiteX23" fmla="*/ 0 w 10000"/>
              <a:gd name="connsiteY23" fmla="*/ 5596 h 9751"/>
              <a:gd name="connsiteX24" fmla="*/ 1010 w 10000"/>
              <a:gd name="connsiteY24" fmla="*/ 6204 h 9751"/>
              <a:gd name="connsiteX0" fmla="*/ 1010 w 10000"/>
              <a:gd name="connsiteY0" fmla="*/ 6362 h 10000"/>
              <a:gd name="connsiteX1" fmla="*/ 738 w 10000"/>
              <a:gd name="connsiteY1" fmla="*/ 9720 h 10000"/>
              <a:gd name="connsiteX2" fmla="*/ 305 w 10000"/>
              <a:gd name="connsiteY2" fmla="*/ 9847 h 10000"/>
              <a:gd name="connsiteX3" fmla="*/ 829 w 10000"/>
              <a:gd name="connsiteY3" fmla="*/ 9673 h 10000"/>
              <a:gd name="connsiteX4" fmla="*/ 2369 w 10000"/>
              <a:gd name="connsiteY4" fmla="*/ 9987 h 10000"/>
              <a:gd name="connsiteX5" fmla="*/ 2478 w 10000"/>
              <a:gd name="connsiteY5" fmla="*/ 9409 h 10000"/>
              <a:gd name="connsiteX6" fmla="*/ 4898 w 10000"/>
              <a:gd name="connsiteY6" fmla="*/ 9964 h 10000"/>
              <a:gd name="connsiteX7" fmla="*/ 6512 w 10000"/>
              <a:gd name="connsiteY7" fmla="*/ 9409 h 10000"/>
              <a:gd name="connsiteX8" fmla="*/ 7723 w 10000"/>
              <a:gd name="connsiteY8" fmla="*/ 7196 h 10000"/>
              <a:gd name="connsiteX9" fmla="*/ 9566 w 10000"/>
              <a:gd name="connsiteY9" fmla="*/ 8806 h 10000"/>
              <a:gd name="connsiteX10" fmla="*/ 10000 w 10000"/>
              <a:gd name="connsiteY10" fmla="*/ 6171 h 10000"/>
              <a:gd name="connsiteX11" fmla="*/ 9293 w 10000"/>
              <a:gd name="connsiteY11" fmla="*/ 3929 h 10000"/>
              <a:gd name="connsiteX12" fmla="*/ 7273 w 10000"/>
              <a:gd name="connsiteY12" fmla="*/ 6235 h 10000"/>
              <a:gd name="connsiteX13" fmla="*/ 8021 w 10000"/>
              <a:gd name="connsiteY13" fmla="*/ 5740 h 10000"/>
              <a:gd name="connsiteX14" fmla="*/ 6143 w 10000"/>
              <a:gd name="connsiteY14" fmla="*/ 4208 h 10000"/>
              <a:gd name="connsiteX15" fmla="*/ 5505 w 10000"/>
              <a:gd name="connsiteY15" fmla="*/ 2660 h 10000"/>
              <a:gd name="connsiteX16" fmla="*/ 5260 w 10000"/>
              <a:gd name="connsiteY16" fmla="*/ 2555 h 10000"/>
              <a:gd name="connsiteX17" fmla="*/ 4325 w 10000"/>
              <a:gd name="connsiteY17" fmla="*/ 2332 h 10000"/>
              <a:gd name="connsiteX18" fmla="*/ 2075 w 10000"/>
              <a:gd name="connsiteY18" fmla="*/ 0 h 10000"/>
              <a:gd name="connsiteX19" fmla="*/ 2472 w 10000"/>
              <a:gd name="connsiteY19" fmla="*/ 3303 h 10000"/>
              <a:gd name="connsiteX20" fmla="*/ 1269 w 10000"/>
              <a:gd name="connsiteY20" fmla="*/ 3321 h 10000"/>
              <a:gd name="connsiteX21" fmla="*/ 1094 w 10000"/>
              <a:gd name="connsiteY21" fmla="*/ 4138 h 10000"/>
              <a:gd name="connsiteX22" fmla="*/ 1554 w 10000"/>
              <a:gd name="connsiteY22" fmla="*/ 4281 h 10000"/>
              <a:gd name="connsiteX23" fmla="*/ 0 w 10000"/>
              <a:gd name="connsiteY23" fmla="*/ 5739 h 10000"/>
              <a:gd name="connsiteX24" fmla="*/ 1010 w 10000"/>
              <a:gd name="connsiteY24" fmla="*/ 6362 h 10000"/>
              <a:gd name="connsiteX0" fmla="*/ 1010 w 10000"/>
              <a:gd name="connsiteY0" fmla="*/ 4499 h 8137"/>
              <a:gd name="connsiteX1" fmla="*/ 738 w 10000"/>
              <a:gd name="connsiteY1" fmla="*/ 7857 h 8137"/>
              <a:gd name="connsiteX2" fmla="*/ 305 w 10000"/>
              <a:gd name="connsiteY2" fmla="*/ 7984 h 8137"/>
              <a:gd name="connsiteX3" fmla="*/ 829 w 10000"/>
              <a:gd name="connsiteY3" fmla="*/ 7810 h 8137"/>
              <a:gd name="connsiteX4" fmla="*/ 2369 w 10000"/>
              <a:gd name="connsiteY4" fmla="*/ 8124 h 8137"/>
              <a:gd name="connsiteX5" fmla="*/ 2478 w 10000"/>
              <a:gd name="connsiteY5" fmla="*/ 7546 h 8137"/>
              <a:gd name="connsiteX6" fmla="*/ 4898 w 10000"/>
              <a:gd name="connsiteY6" fmla="*/ 8101 h 8137"/>
              <a:gd name="connsiteX7" fmla="*/ 6512 w 10000"/>
              <a:gd name="connsiteY7" fmla="*/ 7546 h 8137"/>
              <a:gd name="connsiteX8" fmla="*/ 7723 w 10000"/>
              <a:gd name="connsiteY8" fmla="*/ 5333 h 8137"/>
              <a:gd name="connsiteX9" fmla="*/ 9566 w 10000"/>
              <a:gd name="connsiteY9" fmla="*/ 6943 h 8137"/>
              <a:gd name="connsiteX10" fmla="*/ 10000 w 10000"/>
              <a:gd name="connsiteY10" fmla="*/ 4308 h 8137"/>
              <a:gd name="connsiteX11" fmla="*/ 9293 w 10000"/>
              <a:gd name="connsiteY11" fmla="*/ 2066 h 8137"/>
              <a:gd name="connsiteX12" fmla="*/ 7273 w 10000"/>
              <a:gd name="connsiteY12" fmla="*/ 4372 h 8137"/>
              <a:gd name="connsiteX13" fmla="*/ 8021 w 10000"/>
              <a:gd name="connsiteY13" fmla="*/ 3877 h 8137"/>
              <a:gd name="connsiteX14" fmla="*/ 6143 w 10000"/>
              <a:gd name="connsiteY14" fmla="*/ 2345 h 8137"/>
              <a:gd name="connsiteX15" fmla="*/ 5505 w 10000"/>
              <a:gd name="connsiteY15" fmla="*/ 797 h 8137"/>
              <a:gd name="connsiteX16" fmla="*/ 5260 w 10000"/>
              <a:gd name="connsiteY16" fmla="*/ 692 h 8137"/>
              <a:gd name="connsiteX17" fmla="*/ 4325 w 10000"/>
              <a:gd name="connsiteY17" fmla="*/ 469 h 8137"/>
              <a:gd name="connsiteX18" fmla="*/ 3171 w 10000"/>
              <a:gd name="connsiteY18" fmla="*/ 0 h 8137"/>
              <a:gd name="connsiteX19" fmla="*/ 2472 w 10000"/>
              <a:gd name="connsiteY19" fmla="*/ 1440 h 8137"/>
              <a:gd name="connsiteX20" fmla="*/ 1269 w 10000"/>
              <a:gd name="connsiteY20" fmla="*/ 1458 h 8137"/>
              <a:gd name="connsiteX21" fmla="*/ 1094 w 10000"/>
              <a:gd name="connsiteY21" fmla="*/ 2275 h 8137"/>
              <a:gd name="connsiteX22" fmla="*/ 1554 w 10000"/>
              <a:gd name="connsiteY22" fmla="*/ 2418 h 8137"/>
              <a:gd name="connsiteX23" fmla="*/ 0 w 10000"/>
              <a:gd name="connsiteY23" fmla="*/ 3876 h 8137"/>
              <a:gd name="connsiteX24" fmla="*/ 1010 w 10000"/>
              <a:gd name="connsiteY24" fmla="*/ 4499 h 8137"/>
              <a:gd name="connsiteX0" fmla="*/ 1010 w 10000"/>
              <a:gd name="connsiteY0" fmla="*/ 5529 h 10000"/>
              <a:gd name="connsiteX1" fmla="*/ 738 w 10000"/>
              <a:gd name="connsiteY1" fmla="*/ 9656 h 10000"/>
              <a:gd name="connsiteX2" fmla="*/ 305 w 10000"/>
              <a:gd name="connsiteY2" fmla="*/ 9812 h 10000"/>
              <a:gd name="connsiteX3" fmla="*/ 829 w 10000"/>
              <a:gd name="connsiteY3" fmla="*/ 9598 h 10000"/>
              <a:gd name="connsiteX4" fmla="*/ 2369 w 10000"/>
              <a:gd name="connsiteY4" fmla="*/ 9984 h 10000"/>
              <a:gd name="connsiteX5" fmla="*/ 2478 w 10000"/>
              <a:gd name="connsiteY5" fmla="*/ 9274 h 10000"/>
              <a:gd name="connsiteX6" fmla="*/ 4898 w 10000"/>
              <a:gd name="connsiteY6" fmla="*/ 9956 h 10000"/>
              <a:gd name="connsiteX7" fmla="*/ 6512 w 10000"/>
              <a:gd name="connsiteY7" fmla="*/ 9274 h 10000"/>
              <a:gd name="connsiteX8" fmla="*/ 7723 w 10000"/>
              <a:gd name="connsiteY8" fmla="*/ 6554 h 10000"/>
              <a:gd name="connsiteX9" fmla="*/ 9566 w 10000"/>
              <a:gd name="connsiteY9" fmla="*/ 8533 h 10000"/>
              <a:gd name="connsiteX10" fmla="*/ 10000 w 10000"/>
              <a:gd name="connsiteY10" fmla="*/ 5294 h 10000"/>
              <a:gd name="connsiteX11" fmla="*/ 9293 w 10000"/>
              <a:gd name="connsiteY11" fmla="*/ 2539 h 10000"/>
              <a:gd name="connsiteX12" fmla="*/ 7273 w 10000"/>
              <a:gd name="connsiteY12" fmla="*/ 5373 h 10000"/>
              <a:gd name="connsiteX13" fmla="*/ 8021 w 10000"/>
              <a:gd name="connsiteY13" fmla="*/ 4765 h 10000"/>
              <a:gd name="connsiteX14" fmla="*/ 6143 w 10000"/>
              <a:gd name="connsiteY14" fmla="*/ 2882 h 10000"/>
              <a:gd name="connsiteX15" fmla="*/ 5505 w 10000"/>
              <a:gd name="connsiteY15" fmla="*/ 979 h 10000"/>
              <a:gd name="connsiteX16" fmla="*/ 5260 w 10000"/>
              <a:gd name="connsiteY16" fmla="*/ 850 h 10000"/>
              <a:gd name="connsiteX17" fmla="*/ 4325 w 10000"/>
              <a:gd name="connsiteY17" fmla="*/ 576 h 10000"/>
              <a:gd name="connsiteX18" fmla="*/ 3171 w 10000"/>
              <a:gd name="connsiteY18" fmla="*/ 0 h 10000"/>
              <a:gd name="connsiteX19" fmla="*/ 2472 w 10000"/>
              <a:gd name="connsiteY19" fmla="*/ 1770 h 10000"/>
              <a:gd name="connsiteX20" fmla="*/ 2243 w 10000"/>
              <a:gd name="connsiteY20" fmla="*/ 3463 h 10000"/>
              <a:gd name="connsiteX21" fmla="*/ 1094 w 10000"/>
              <a:gd name="connsiteY21" fmla="*/ 2796 h 10000"/>
              <a:gd name="connsiteX22" fmla="*/ 1554 w 10000"/>
              <a:gd name="connsiteY22" fmla="*/ 2972 h 10000"/>
              <a:gd name="connsiteX23" fmla="*/ 0 w 10000"/>
              <a:gd name="connsiteY23" fmla="*/ 4763 h 10000"/>
              <a:gd name="connsiteX24" fmla="*/ 1010 w 10000"/>
              <a:gd name="connsiteY24" fmla="*/ 5529 h 10000"/>
              <a:gd name="connsiteX0" fmla="*/ 1010 w 10000"/>
              <a:gd name="connsiteY0" fmla="*/ 5529 h 10000"/>
              <a:gd name="connsiteX1" fmla="*/ 738 w 10000"/>
              <a:gd name="connsiteY1" fmla="*/ 9656 h 10000"/>
              <a:gd name="connsiteX2" fmla="*/ 305 w 10000"/>
              <a:gd name="connsiteY2" fmla="*/ 9812 h 10000"/>
              <a:gd name="connsiteX3" fmla="*/ 829 w 10000"/>
              <a:gd name="connsiteY3" fmla="*/ 9598 h 10000"/>
              <a:gd name="connsiteX4" fmla="*/ 2369 w 10000"/>
              <a:gd name="connsiteY4" fmla="*/ 9984 h 10000"/>
              <a:gd name="connsiteX5" fmla="*/ 2478 w 10000"/>
              <a:gd name="connsiteY5" fmla="*/ 9274 h 10000"/>
              <a:gd name="connsiteX6" fmla="*/ 4898 w 10000"/>
              <a:gd name="connsiteY6" fmla="*/ 9956 h 10000"/>
              <a:gd name="connsiteX7" fmla="*/ 6512 w 10000"/>
              <a:gd name="connsiteY7" fmla="*/ 9274 h 10000"/>
              <a:gd name="connsiteX8" fmla="*/ 7723 w 10000"/>
              <a:gd name="connsiteY8" fmla="*/ 6554 h 10000"/>
              <a:gd name="connsiteX9" fmla="*/ 9566 w 10000"/>
              <a:gd name="connsiteY9" fmla="*/ 8533 h 10000"/>
              <a:gd name="connsiteX10" fmla="*/ 10000 w 10000"/>
              <a:gd name="connsiteY10" fmla="*/ 5294 h 10000"/>
              <a:gd name="connsiteX11" fmla="*/ 9293 w 10000"/>
              <a:gd name="connsiteY11" fmla="*/ 2539 h 10000"/>
              <a:gd name="connsiteX12" fmla="*/ 7273 w 10000"/>
              <a:gd name="connsiteY12" fmla="*/ 5373 h 10000"/>
              <a:gd name="connsiteX13" fmla="*/ 8021 w 10000"/>
              <a:gd name="connsiteY13" fmla="*/ 4765 h 10000"/>
              <a:gd name="connsiteX14" fmla="*/ 6143 w 10000"/>
              <a:gd name="connsiteY14" fmla="*/ 2882 h 10000"/>
              <a:gd name="connsiteX15" fmla="*/ 5505 w 10000"/>
              <a:gd name="connsiteY15" fmla="*/ 979 h 10000"/>
              <a:gd name="connsiteX16" fmla="*/ 5260 w 10000"/>
              <a:gd name="connsiteY16" fmla="*/ 850 h 10000"/>
              <a:gd name="connsiteX17" fmla="*/ 4325 w 10000"/>
              <a:gd name="connsiteY17" fmla="*/ 576 h 10000"/>
              <a:gd name="connsiteX18" fmla="*/ 3171 w 10000"/>
              <a:gd name="connsiteY18" fmla="*/ 0 h 10000"/>
              <a:gd name="connsiteX19" fmla="*/ 2472 w 10000"/>
              <a:gd name="connsiteY19" fmla="*/ 1770 h 10000"/>
              <a:gd name="connsiteX20" fmla="*/ 2243 w 10000"/>
              <a:gd name="connsiteY20" fmla="*/ 3463 h 10000"/>
              <a:gd name="connsiteX21" fmla="*/ 1094 w 10000"/>
              <a:gd name="connsiteY21" fmla="*/ 2796 h 10000"/>
              <a:gd name="connsiteX22" fmla="*/ 2331 w 10000"/>
              <a:gd name="connsiteY22" fmla="*/ 4409 h 10000"/>
              <a:gd name="connsiteX23" fmla="*/ 1554 w 10000"/>
              <a:gd name="connsiteY23" fmla="*/ 2972 h 10000"/>
              <a:gd name="connsiteX24" fmla="*/ 0 w 10000"/>
              <a:gd name="connsiteY24" fmla="*/ 4763 h 10000"/>
              <a:gd name="connsiteX25" fmla="*/ 1010 w 10000"/>
              <a:gd name="connsiteY25" fmla="*/ 5529 h 10000"/>
              <a:gd name="connsiteX0" fmla="*/ 1010 w 10000"/>
              <a:gd name="connsiteY0" fmla="*/ 5529 h 10000"/>
              <a:gd name="connsiteX1" fmla="*/ 738 w 10000"/>
              <a:gd name="connsiteY1" fmla="*/ 9656 h 10000"/>
              <a:gd name="connsiteX2" fmla="*/ 305 w 10000"/>
              <a:gd name="connsiteY2" fmla="*/ 9812 h 10000"/>
              <a:gd name="connsiteX3" fmla="*/ 829 w 10000"/>
              <a:gd name="connsiteY3" fmla="*/ 9598 h 10000"/>
              <a:gd name="connsiteX4" fmla="*/ 2369 w 10000"/>
              <a:gd name="connsiteY4" fmla="*/ 9984 h 10000"/>
              <a:gd name="connsiteX5" fmla="*/ 2478 w 10000"/>
              <a:gd name="connsiteY5" fmla="*/ 9274 h 10000"/>
              <a:gd name="connsiteX6" fmla="*/ 4898 w 10000"/>
              <a:gd name="connsiteY6" fmla="*/ 9956 h 10000"/>
              <a:gd name="connsiteX7" fmla="*/ 6512 w 10000"/>
              <a:gd name="connsiteY7" fmla="*/ 9274 h 10000"/>
              <a:gd name="connsiteX8" fmla="*/ 7723 w 10000"/>
              <a:gd name="connsiteY8" fmla="*/ 6554 h 10000"/>
              <a:gd name="connsiteX9" fmla="*/ 9566 w 10000"/>
              <a:gd name="connsiteY9" fmla="*/ 8533 h 10000"/>
              <a:gd name="connsiteX10" fmla="*/ 10000 w 10000"/>
              <a:gd name="connsiteY10" fmla="*/ 5294 h 10000"/>
              <a:gd name="connsiteX11" fmla="*/ 9293 w 10000"/>
              <a:gd name="connsiteY11" fmla="*/ 2539 h 10000"/>
              <a:gd name="connsiteX12" fmla="*/ 7273 w 10000"/>
              <a:gd name="connsiteY12" fmla="*/ 5373 h 10000"/>
              <a:gd name="connsiteX13" fmla="*/ 8021 w 10000"/>
              <a:gd name="connsiteY13" fmla="*/ 4765 h 10000"/>
              <a:gd name="connsiteX14" fmla="*/ 6143 w 10000"/>
              <a:gd name="connsiteY14" fmla="*/ 2882 h 10000"/>
              <a:gd name="connsiteX15" fmla="*/ 5505 w 10000"/>
              <a:gd name="connsiteY15" fmla="*/ 979 h 10000"/>
              <a:gd name="connsiteX16" fmla="*/ 5260 w 10000"/>
              <a:gd name="connsiteY16" fmla="*/ 850 h 10000"/>
              <a:gd name="connsiteX17" fmla="*/ 4325 w 10000"/>
              <a:gd name="connsiteY17" fmla="*/ 576 h 10000"/>
              <a:gd name="connsiteX18" fmla="*/ 3171 w 10000"/>
              <a:gd name="connsiteY18" fmla="*/ 0 h 10000"/>
              <a:gd name="connsiteX19" fmla="*/ 2472 w 10000"/>
              <a:gd name="connsiteY19" fmla="*/ 1770 h 10000"/>
              <a:gd name="connsiteX20" fmla="*/ 2243 w 10000"/>
              <a:gd name="connsiteY20" fmla="*/ 3463 h 10000"/>
              <a:gd name="connsiteX21" fmla="*/ 2267 w 10000"/>
              <a:gd name="connsiteY21" fmla="*/ 3898 h 10000"/>
              <a:gd name="connsiteX22" fmla="*/ 1094 w 10000"/>
              <a:gd name="connsiteY22" fmla="*/ 2796 h 10000"/>
              <a:gd name="connsiteX23" fmla="*/ 2331 w 10000"/>
              <a:gd name="connsiteY23" fmla="*/ 4409 h 10000"/>
              <a:gd name="connsiteX24" fmla="*/ 1554 w 10000"/>
              <a:gd name="connsiteY24" fmla="*/ 2972 h 10000"/>
              <a:gd name="connsiteX25" fmla="*/ 0 w 10000"/>
              <a:gd name="connsiteY25" fmla="*/ 4763 h 10000"/>
              <a:gd name="connsiteX26" fmla="*/ 1010 w 10000"/>
              <a:gd name="connsiteY26" fmla="*/ 5529 h 10000"/>
              <a:gd name="connsiteX0" fmla="*/ 1010 w 10000"/>
              <a:gd name="connsiteY0" fmla="*/ 5529 h 10000"/>
              <a:gd name="connsiteX1" fmla="*/ 738 w 10000"/>
              <a:gd name="connsiteY1" fmla="*/ 9656 h 10000"/>
              <a:gd name="connsiteX2" fmla="*/ 305 w 10000"/>
              <a:gd name="connsiteY2" fmla="*/ 9812 h 10000"/>
              <a:gd name="connsiteX3" fmla="*/ 829 w 10000"/>
              <a:gd name="connsiteY3" fmla="*/ 9598 h 10000"/>
              <a:gd name="connsiteX4" fmla="*/ 2369 w 10000"/>
              <a:gd name="connsiteY4" fmla="*/ 9984 h 10000"/>
              <a:gd name="connsiteX5" fmla="*/ 2478 w 10000"/>
              <a:gd name="connsiteY5" fmla="*/ 9274 h 10000"/>
              <a:gd name="connsiteX6" fmla="*/ 4898 w 10000"/>
              <a:gd name="connsiteY6" fmla="*/ 9956 h 10000"/>
              <a:gd name="connsiteX7" fmla="*/ 6512 w 10000"/>
              <a:gd name="connsiteY7" fmla="*/ 9274 h 10000"/>
              <a:gd name="connsiteX8" fmla="*/ 7723 w 10000"/>
              <a:gd name="connsiteY8" fmla="*/ 6554 h 10000"/>
              <a:gd name="connsiteX9" fmla="*/ 9566 w 10000"/>
              <a:gd name="connsiteY9" fmla="*/ 8533 h 10000"/>
              <a:gd name="connsiteX10" fmla="*/ 10000 w 10000"/>
              <a:gd name="connsiteY10" fmla="*/ 5294 h 10000"/>
              <a:gd name="connsiteX11" fmla="*/ 9293 w 10000"/>
              <a:gd name="connsiteY11" fmla="*/ 2539 h 10000"/>
              <a:gd name="connsiteX12" fmla="*/ 7273 w 10000"/>
              <a:gd name="connsiteY12" fmla="*/ 5373 h 10000"/>
              <a:gd name="connsiteX13" fmla="*/ 8021 w 10000"/>
              <a:gd name="connsiteY13" fmla="*/ 4765 h 10000"/>
              <a:gd name="connsiteX14" fmla="*/ 6143 w 10000"/>
              <a:gd name="connsiteY14" fmla="*/ 2882 h 10000"/>
              <a:gd name="connsiteX15" fmla="*/ 5505 w 10000"/>
              <a:gd name="connsiteY15" fmla="*/ 979 h 10000"/>
              <a:gd name="connsiteX16" fmla="*/ 5260 w 10000"/>
              <a:gd name="connsiteY16" fmla="*/ 850 h 10000"/>
              <a:gd name="connsiteX17" fmla="*/ 4325 w 10000"/>
              <a:gd name="connsiteY17" fmla="*/ 576 h 10000"/>
              <a:gd name="connsiteX18" fmla="*/ 3171 w 10000"/>
              <a:gd name="connsiteY18" fmla="*/ 0 h 10000"/>
              <a:gd name="connsiteX19" fmla="*/ 2472 w 10000"/>
              <a:gd name="connsiteY19" fmla="*/ 1770 h 10000"/>
              <a:gd name="connsiteX20" fmla="*/ 2243 w 10000"/>
              <a:gd name="connsiteY20" fmla="*/ 3463 h 10000"/>
              <a:gd name="connsiteX21" fmla="*/ 2267 w 10000"/>
              <a:gd name="connsiteY21" fmla="*/ 3898 h 10000"/>
              <a:gd name="connsiteX22" fmla="*/ 2454 w 10000"/>
              <a:gd name="connsiteY22" fmla="*/ 3694 h 10000"/>
              <a:gd name="connsiteX23" fmla="*/ 2331 w 10000"/>
              <a:gd name="connsiteY23" fmla="*/ 4409 h 10000"/>
              <a:gd name="connsiteX24" fmla="*/ 1554 w 10000"/>
              <a:gd name="connsiteY24" fmla="*/ 2972 h 10000"/>
              <a:gd name="connsiteX25" fmla="*/ 0 w 10000"/>
              <a:gd name="connsiteY25" fmla="*/ 4763 h 10000"/>
              <a:gd name="connsiteX26" fmla="*/ 1010 w 10000"/>
              <a:gd name="connsiteY26" fmla="*/ 5529 h 10000"/>
              <a:gd name="connsiteX0" fmla="*/ 1010 w 10000"/>
              <a:gd name="connsiteY0" fmla="*/ 5529 h 10000"/>
              <a:gd name="connsiteX1" fmla="*/ 738 w 10000"/>
              <a:gd name="connsiteY1" fmla="*/ 9656 h 10000"/>
              <a:gd name="connsiteX2" fmla="*/ 305 w 10000"/>
              <a:gd name="connsiteY2" fmla="*/ 9812 h 10000"/>
              <a:gd name="connsiteX3" fmla="*/ 829 w 10000"/>
              <a:gd name="connsiteY3" fmla="*/ 9598 h 10000"/>
              <a:gd name="connsiteX4" fmla="*/ 2369 w 10000"/>
              <a:gd name="connsiteY4" fmla="*/ 9984 h 10000"/>
              <a:gd name="connsiteX5" fmla="*/ 2478 w 10000"/>
              <a:gd name="connsiteY5" fmla="*/ 9274 h 10000"/>
              <a:gd name="connsiteX6" fmla="*/ 4898 w 10000"/>
              <a:gd name="connsiteY6" fmla="*/ 9956 h 10000"/>
              <a:gd name="connsiteX7" fmla="*/ 6512 w 10000"/>
              <a:gd name="connsiteY7" fmla="*/ 9274 h 10000"/>
              <a:gd name="connsiteX8" fmla="*/ 7723 w 10000"/>
              <a:gd name="connsiteY8" fmla="*/ 6554 h 10000"/>
              <a:gd name="connsiteX9" fmla="*/ 9566 w 10000"/>
              <a:gd name="connsiteY9" fmla="*/ 8533 h 10000"/>
              <a:gd name="connsiteX10" fmla="*/ 10000 w 10000"/>
              <a:gd name="connsiteY10" fmla="*/ 5294 h 10000"/>
              <a:gd name="connsiteX11" fmla="*/ 9293 w 10000"/>
              <a:gd name="connsiteY11" fmla="*/ 2539 h 10000"/>
              <a:gd name="connsiteX12" fmla="*/ 7273 w 10000"/>
              <a:gd name="connsiteY12" fmla="*/ 5373 h 10000"/>
              <a:gd name="connsiteX13" fmla="*/ 8021 w 10000"/>
              <a:gd name="connsiteY13" fmla="*/ 4765 h 10000"/>
              <a:gd name="connsiteX14" fmla="*/ 6143 w 10000"/>
              <a:gd name="connsiteY14" fmla="*/ 2882 h 10000"/>
              <a:gd name="connsiteX15" fmla="*/ 5505 w 10000"/>
              <a:gd name="connsiteY15" fmla="*/ 979 h 10000"/>
              <a:gd name="connsiteX16" fmla="*/ 5260 w 10000"/>
              <a:gd name="connsiteY16" fmla="*/ 850 h 10000"/>
              <a:gd name="connsiteX17" fmla="*/ 4325 w 10000"/>
              <a:gd name="connsiteY17" fmla="*/ 576 h 10000"/>
              <a:gd name="connsiteX18" fmla="*/ 3171 w 10000"/>
              <a:gd name="connsiteY18" fmla="*/ 0 h 10000"/>
              <a:gd name="connsiteX19" fmla="*/ 2472 w 10000"/>
              <a:gd name="connsiteY19" fmla="*/ 1770 h 10000"/>
              <a:gd name="connsiteX20" fmla="*/ 2243 w 10000"/>
              <a:gd name="connsiteY20" fmla="*/ 3463 h 10000"/>
              <a:gd name="connsiteX21" fmla="*/ 2267 w 10000"/>
              <a:gd name="connsiteY21" fmla="*/ 3898 h 10000"/>
              <a:gd name="connsiteX22" fmla="*/ 2454 w 10000"/>
              <a:gd name="connsiteY22" fmla="*/ 3694 h 10000"/>
              <a:gd name="connsiteX23" fmla="*/ 2331 w 10000"/>
              <a:gd name="connsiteY23" fmla="*/ 4409 h 10000"/>
              <a:gd name="connsiteX24" fmla="*/ 2156 w 10000"/>
              <a:gd name="connsiteY24" fmla="*/ 3663 h 10000"/>
              <a:gd name="connsiteX25" fmla="*/ 0 w 10000"/>
              <a:gd name="connsiteY25" fmla="*/ 4763 h 10000"/>
              <a:gd name="connsiteX26" fmla="*/ 1010 w 10000"/>
              <a:gd name="connsiteY26" fmla="*/ 5529 h 10000"/>
              <a:gd name="connsiteX0" fmla="*/ 713 w 9703"/>
              <a:gd name="connsiteY0" fmla="*/ 5529 h 10000"/>
              <a:gd name="connsiteX1" fmla="*/ 441 w 9703"/>
              <a:gd name="connsiteY1" fmla="*/ 9656 h 10000"/>
              <a:gd name="connsiteX2" fmla="*/ 8 w 9703"/>
              <a:gd name="connsiteY2" fmla="*/ 9812 h 10000"/>
              <a:gd name="connsiteX3" fmla="*/ 532 w 9703"/>
              <a:gd name="connsiteY3" fmla="*/ 9598 h 10000"/>
              <a:gd name="connsiteX4" fmla="*/ 2072 w 9703"/>
              <a:gd name="connsiteY4" fmla="*/ 9984 h 10000"/>
              <a:gd name="connsiteX5" fmla="*/ 2181 w 9703"/>
              <a:gd name="connsiteY5" fmla="*/ 9274 h 10000"/>
              <a:gd name="connsiteX6" fmla="*/ 4601 w 9703"/>
              <a:gd name="connsiteY6" fmla="*/ 9956 h 10000"/>
              <a:gd name="connsiteX7" fmla="*/ 6215 w 9703"/>
              <a:gd name="connsiteY7" fmla="*/ 9274 h 10000"/>
              <a:gd name="connsiteX8" fmla="*/ 7426 w 9703"/>
              <a:gd name="connsiteY8" fmla="*/ 6554 h 10000"/>
              <a:gd name="connsiteX9" fmla="*/ 9269 w 9703"/>
              <a:gd name="connsiteY9" fmla="*/ 8533 h 10000"/>
              <a:gd name="connsiteX10" fmla="*/ 9703 w 9703"/>
              <a:gd name="connsiteY10" fmla="*/ 5294 h 10000"/>
              <a:gd name="connsiteX11" fmla="*/ 8996 w 9703"/>
              <a:gd name="connsiteY11" fmla="*/ 2539 h 10000"/>
              <a:gd name="connsiteX12" fmla="*/ 6976 w 9703"/>
              <a:gd name="connsiteY12" fmla="*/ 5373 h 10000"/>
              <a:gd name="connsiteX13" fmla="*/ 7724 w 9703"/>
              <a:gd name="connsiteY13" fmla="*/ 4765 h 10000"/>
              <a:gd name="connsiteX14" fmla="*/ 5846 w 9703"/>
              <a:gd name="connsiteY14" fmla="*/ 2882 h 10000"/>
              <a:gd name="connsiteX15" fmla="*/ 5208 w 9703"/>
              <a:gd name="connsiteY15" fmla="*/ 979 h 10000"/>
              <a:gd name="connsiteX16" fmla="*/ 4963 w 9703"/>
              <a:gd name="connsiteY16" fmla="*/ 850 h 10000"/>
              <a:gd name="connsiteX17" fmla="*/ 4028 w 9703"/>
              <a:gd name="connsiteY17" fmla="*/ 576 h 10000"/>
              <a:gd name="connsiteX18" fmla="*/ 2874 w 9703"/>
              <a:gd name="connsiteY18" fmla="*/ 0 h 10000"/>
              <a:gd name="connsiteX19" fmla="*/ 2175 w 9703"/>
              <a:gd name="connsiteY19" fmla="*/ 1770 h 10000"/>
              <a:gd name="connsiteX20" fmla="*/ 1946 w 9703"/>
              <a:gd name="connsiteY20" fmla="*/ 3463 h 10000"/>
              <a:gd name="connsiteX21" fmla="*/ 1970 w 9703"/>
              <a:gd name="connsiteY21" fmla="*/ 3898 h 10000"/>
              <a:gd name="connsiteX22" fmla="*/ 2157 w 9703"/>
              <a:gd name="connsiteY22" fmla="*/ 3694 h 10000"/>
              <a:gd name="connsiteX23" fmla="*/ 2034 w 9703"/>
              <a:gd name="connsiteY23" fmla="*/ 4409 h 10000"/>
              <a:gd name="connsiteX24" fmla="*/ 1859 w 9703"/>
              <a:gd name="connsiteY24" fmla="*/ 3663 h 10000"/>
              <a:gd name="connsiteX25" fmla="*/ 2057 w 9703"/>
              <a:gd name="connsiteY25" fmla="*/ 4703 h 10000"/>
              <a:gd name="connsiteX26" fmla="*/ 713 w 9703"/>
              <a:gd name="connsiteY26" fmla="*/ 5529 h 10000"/>
              <a:gd name="connsiteX0" fmla="*/ 2050 w 10000"/>
              <a:gd name="connsiteY0" fmla="*/ 6546 h 10000"/>
              <a:gd name="connsiteX1" fmla="*/ 454 w 10000"/>
              <a:gd name="connsiteY1" fmla="*/ 9656 h 10000"/>
              <a:gd name="connsiteX2" fmla="*/ 8 w 10000"/>
              <a:gd name="connsiteY2" fmla="*/ 9812 h 10000"/>
              <a:gd name="connsiteX3" fmla="*/ 548 w 10000"/>
              <a:gd name="connsiteY3" fmla="*/ 9598 h 10000"/>
              <a:gd name="connsiteX4" fmla="*/ 2135 w 10000"/>
              <a:gd name="connsiteY4" fmla="*/ 9984 h 10000"/>
              <a:gd name="connsiteX5" fmla="*/ 2248 w 10000"/>
              <a:gd name="connsiteY5" fmla="*/ 9274 h 10000"/>
              <a:gd name="connsiteX6" fmla="*/ 4742 w 10000"/>
              <a:gd name="connsiteY6" fmla="*/ 9956 h 10000"/>
              <a:gd name="connsiteX7" fmla="*/ 6405 w 10000"/>
              <a:gd name="connsiteY7" fmla="*/ 9274 h 10000"/>
              <a:gd name="connsiteX8" fmla="*/ 7653 w 10000"/>
              <a:gd name="connsiteY8" fmla="*/ 6554 h 10000"/>
              <a:gd name="connsiteX9" fmla="*/ 9553 w 10000"/>
              <a:gd name="connsiteY9" fmla="*/ 8533 h 10000"/>
              <a:gd name="connsiteX10" fmla="*/ 10000 w 10000"/>
              <a:gd name="connsiteY10" fmla="*/ 5294 h 10000"/>
              <a:gd name="connsiteX11" fmla="*/ 9271 w 10000"/>
              <a:gd name="connsiteY11" fmla="*/ 2539 h 10000"/>
              <a:gd name="connsiteX12" fmla="*/ 7190 w 10000"/>
              <a:gd name="connsiteY12" fmla="*/ 5373 h 10000"/>
              <a:gd name="connsiteX13" fmla="*/ 7960 w 10000"/>
              <a:gd name="connsiteY13" fmla="*/ 4765 h 10000"/>
              <a:gd name="connsiteX14" fmla="*/ 6025 w 10000"/>
              <a:gd name="connsiteY14" fmla="*/ 2882 h 10000"/>
              <a:gd name="connsiteX15" fmla="*/ 5367 w 10000"/>
              <a:gd name="connsiteY15" fmla="*/ 979 h 10000"/>
              <a:gd name="connsiteX16" fmla="*/ 5115 w 10000"/>
              <a:gd name="connsiteY16" fmla="*/ 850 h 10000"/>
              <a:gd name="connsiteX17" fmla="*/ 4151 w 10000"/>
              <a:gd name="connsiteY17" fmla="*/ 576 h 10000"/>
              <a:gd name="connsiteX18" fmla="*/ 2962 w 10000"/>
              <a:gd name="connsiteY18" fmla="*/ 0 h 10000"/>
              <a:gd name="connsiteX19" fmla="*/ 2242 w 10000"/>
              <a:gd name="connsiteY19" fmla="*/ 1770 h 10000"/>
              <a:gd name="connsiteX20" fmla="*/ 2006 w 10000"/>
              <a:gd name="connsiteY20" fmla="*/ 3463 h 10000"/>
              <a:gd name="connsiteX21" fmla="*/ 2030 w 10000"/>
              <a:gd name="connsiteY21" fmla="*/ 3898 h 10000"/>
              <a:gd name="connsiteX22" fmla="*/ 2223 w 10000"/>
              <a:gd name="connsiteY22" fmla="*/ 3694 h 10000"/>
              <a:gd name="connsiteX23" fmla="*/ 2096 w 10000"/>
              <a:gd name="connsiteY23" fmla="*/ 4409 h 10000"/>
              <a:gd name="connsiteX24" fmla="*/ 1916 w 10000"/>
              <a:gd name="connsiteY24" fmla="*/ 3663 h 10000"/>
              <a:gd name="connsiteX25" fmla="*/ 2120 w 10000"/>
              <a:gd name="connsiteY25" fmla="*/ 4703 h 10000"/>
              <a:gd name="connsiteX26" fmla="*/ 2050 w 10000"/>
              <a:gd name="connsiteY26" fmla="*/ 6546 h 10000"/>
              <a:gd name="connsiteX0" fmla="*/ 2045 w 9995"/>
              <a:gd name="connsiteY0" fmla="*/ 6546 h 9984"/>
              <a:gd name="connsiteX1" fmla="*/ 449 w 9995"/>
              <a:gd name="connsiteY1" fmla="*/ 9656 h 9984"/>
              <a:gd name="connsiteX2" fmla="*/ 3 w 9995"/>
              <a:gd name="connsiteY2" fmla="*/ 9812 h 9984"/>
              <a:gd name="connsiteX3" fmla="*/ 2077 w 9995"/>
              <a:gd name="connsiteY3" fmla="*/ 6960 h 9984"/>
              <a:gd name="connsiteX4" fmla="*/ 2130 w 9995"/>
              <a:gd name="connsiteY4" fmla="*/ 9984 h 9984"/>
              <a:gd name="connsiteX5" fmla="*/ 2243 w 9995"/>
              <a:gd name="connsiteY5" fmla="*/ 9274 h 9984"/>
              <a:gd name="connsiteX6" fmla="*/ 4737 w 9995"/>
              <a:gd name="connsiteY6" fmla="*/ 9956 h 9984"/>
              <a:gd name="connsiteX7" fmla="*/ 6400 w 9995"/>
              <a:gd name="connsiteY7" fmla="*/ 9274 h 9984"/>
              <a:gd name="connsiteX8" fmla="*/ 7648 w 9995"/>
              <a:gd name="connsiteY8" fmla="*/ 6554 h 9984"/>
              <a:gd name="connsiteX9" fmla="*/ 9548 w 9995"/>
              <a:gd name="connsiteY9" fmla="*/ 8533 h 9984"/>
              <a:gd name="connsiteX10" fmla="*/ 9995 w 9995"/>
              <a:gd name="connsiteY10" fmla="*/ 5294 h 9984"/>
              <a:gd name="connsiteX11" fmla="*/ 9266 w 9995"/>
              <a:gd name="connsiteY11" fmla="*/ 2539 h 9984"/>
              <a:gd name="connsiteX12" fmla="*/ 7185 w 9995"/>
              <a:gd name="connsiteY12" fmla="*/ 5373 h 9984"/>
              <a:gd name="connsiteX13" fmla="*/ 7955 w 9995"/>
              <a:gd name="connsiteY13" fmla="*/ 4765 h 9984"/>
              <a:gd name="connsiteX14" fmla="*/ 6020 w 9995"/>
              <a:gd name="connsiteY14" fmla="*/ 2882 h 9984"/>
              <a:gd name="connsiteX15" fmla="*/ 5362 w 9995"/>
              <a:gd name="connsiteY15" fmla="*/ 979 h 9984"/>
              <a:gd name="connsiteX16" fmla="*/ 5110 w 9995"/>
              <a:gd name="connsiteY16" fmla="*/ 850 h 9984"/>
              <a:gd name="connsiteX17" fmla="*/ 4146 w 9995"/>
              <a:gd name="connsiteY17" fmla="*/ 576 h 9984"/>
              <a:gd name="connsiteX18" fmla="*/ 2957 w 9995"/>
              <a:gd name="connsiteY18" fmla="*/ 0 h 9984"/>
              <a:gd name="connsiteX19" fmla="*/ 2237 w 9995"/>
              <a:gd name="connsiteY19" fmla="*/ 1770 h 9984"/>
              <a:gd name="connsiteX20" fmla="*/ 2001 w 9995"/>
              <a:gd name="connsiteY20" fmla="*/ 3463 h 9984"/>
              <a:gd name="connsiteX21" fmla="*/ 2025 w 9995"/>
              <a:gd name="connsiteY21" fmla="*/ 3898 h 9984"/>
              <a:gd name="connsiteX22" fmla="*/ 2218 w 9995"/>
              <a:gd name="connsiteY22" fmla="*/ 3694 h 9984"/>
              <a:gd name="connsiteX23" fmla="*/ 2091 w 9995"/>
              <a:gd name="connsiteY23" fmla="*/ 4409 h 9984"/>
              <a:gd name="connsiteX24" fmla="*/ 1911 w 9995"/>
              <a:gd name="connsiteY24" fmla="*/ 3663 h 9984"/>
              <a:gd name="connsiteX25" fmla="*/ 2115 w 9995"/>
              <a:gd name="connsiteY25" fmla="*/ 4703 h 9984"/>
              <a:gd name="connsiteX26" fmla="*/ 2045 w 9995"/>
              <a:gd name="connsiteY26" fmla="*/ 6546 h 9984"/>
              <a:gd name="connsiteX0" fmla="*/ 1603 w 9557"/>
              <a:gd name="connsiteY0" fmla="*/ 6556 h 10000"/>
              <a:gd name="connsiteX1" fmla="*/ 6 w 9557"/>
              <a:gd name="connsiteY1" fmla="*/ 9671 h 10000"/>
              <a:gd name="connsiteX2" fmla="*/ 2233 w 9557"/>
              <a:gd name="connsiteY2" fmla="*/ 7881 h 10000"/>
              <a:gd name="connsiteX3" fmla="*/ 1635 w 9557"/>
              <a:gd name="connsiteY3" fmla="*/ 6971 h 10000"/>
              <a:gd name="connsiteX4" fmla="*/ 1688 w 9557"/>
              <a:gd name="connsiteY4" fmla="*/ 10000 h 10000"/>
              <a:gd name="connsiteX5" fmla="*/ 1801 w 9557"/>
              <a:gd name="connsiteY5" fmla="*/ 9289 h 10000"/>
              <a:gd name="connsiteX6" fmla="*/ 4296 w 9557"/>
              <a:gd name="connsiteY6" fmla="*/ 9972 h 10000"/>
              <a:gd name="connsiteX7" fmla="*/ 5960 w 9557"/>
              <a:gd name="connsiteY7" fmla="*/ 9289 h 10000"/>
              <a:gd name="connsiteX8" fmla="*/ 7209 w 9557"/>
              <a:gd name="connsiteY8" fmla="*/ 6565 h 10000"/>
              <a:gd name="connsiteX9" fmla="*/ 9110 w 9557"/>
              <a:gd name="connsiteY9" fmla="*/ 8547 h 10000"/>
              <a:gd name="connsiteX10" fmla="*/ 9557 w 9557"/>
              <a:gd name="connsiteY10" fmla="*/ 5302 h 10000"/>
              <a:gd name="connsiteX11" fmla="*/ 8828 w 9557"/>
              <a:gd name="connsiteY11" fmla="*/ 2543 h 10000"/>
              <a:gd name="connsiteX12" fmla="*/ 6746 w 9557"/>
              <a:gd name="connsiteY12" fmla="*/ 5382 h 10000"/>
              <a:gd name="connsiteX13" fmla="*/ 7516 w 9557"/>
              <a:gd name="connsiteY13" fmla="*/ 4773 h 10000"/>
              <a:gd name="connsiteX14" fmla="*/ 5580 w 9557"/>
              <a:gd name="connsiteY14" fmla="*/ 2887 h 10000"/>
              <a:gd name="connsiteX15" fmla="*/ 4922 w 9557"/>
              <a:gd name="connsiteY15" fmla="*/ 981 h 10000"/>
              <a:gd name="connsiteX16" fmla="*/ 4670 w 9557"/>
              <a:gd name="connsiteY16" fmla="*/ 851 h 10000"/>
              <a:gd name="connsiteX17" fmla="*/ 3705 w 9557"/>
              <a:gd name="connsiteY17" fmla="*/ 577 h 10000"/>
              <a:gd name="connsiteX18" fmla="*/ 2515 w 9557"/>
              <a:gd name="connsiteY18" fmla="*/ 0 h 10000"/>
              <a:gd name="connsiteX19" fmla="*/ 1795 w 9557"/>
              <a:gd name="connsiteY19" fmla="*/ 1773 h 10000"/>
              <a:gd name="connsiteX20" fmla="*/ 1559 w 9557"/>
              <a:gd name="connsiteY20" fmla="*/ 3469 h 10000"/>
              <a:gd name="connsiteX21" fmla="*/ 1583 w 9557"/>
              <a:gd name="connsiteY21" fmla="*/ 3904 h 10000"/>
              <a:gd name="connsiteX22" fmla="*/ 1776 w 9557"/>
              <a:gd name="connsiteY22" fmla="*/ 3700 h 10000"/>
              <a:gd name="connsiteX23" fmla="*/ 1649 w 9557"/>
              <a:gd name="connsiteY23" fmla="*/ 4416 h 10000"/>
              <a:gd name="connsiteX24" fmla="*/ 1469 w 9557"/>
              <a:gd name="connsiteY24" fmla="*/ 3669 h 10000"/>
              <a:gd name="connsiteX25" fmla="*/ 1673 w 9557"/>
              <a:gd name="connsiteY25" fmla="*/ 4711 h 10000"/>
              <a:gd name="connsiteX26" fmla="*/ 1603 w 9557"/>
              <a:gd name="connsiteY26" fmla="*/ 6556 h 10000"/>
              <a:gd name="connsiteX0" fmla="*/ 141 w 8464"/>
              <a:gd name="connsiteY0" fmla="*/ 6556 h 10000"/>
              <a:gd name="connsiteX1" fmla="*/ 373 w 8464"/>
              <a:gd name="connsiteY1" fmla="*/ 7883 h 10000"/>
              <a:gd name="connsiteX2" fmla="*/ 801 w 8464"/>
              <a:gd name="connsiteY2" fmla="*/ 7881 h 10000"/>
              <a:gd name="connsiteX3" fmla="*/ 175 w 8464"/>
              <a:gd name="connsiteY3" fmla="*/ 6971 h 10000"/>
              <a:gd name="connsiteX4" fmla="*/ 230 w 8464"/>
              <a:gd name="connsiteY4" fmla="*/ 10000 h 10000"/>
              <a:gd name="connsiteX5" fmla="*/ 348 w 8464"/>
              <a:gd name="connsiteY5" fmla="*/ 9289 h 10000"/>
              <a:gd name="connsiteX6" fmla="*/ 2959 w 8464"/>
              <a:gd name="connsiteY6" fmla="*/ 9972 h 10000"/>
              <a:gd name="connsiteX7" fmla="*/ 4700 w 8464"/>
              <a:gd name="connsiteY7" fmla="*/ 9289 h 10000"/>
              <a:gd name="connsiteX8" fmla="*/ 6007 w 8464"/>
              <a:gd name="connsiteY8" fmla="*/ 6565 h 10000"/>
              <a:gd name="connsiteX9" fmla="*/ 7996 w 8464"/>
              <a:gd name="connsiteY9" fmla="*/ 8547 h 10000"/>
              <a:gd name="connsiteX10" fmla="*/ 8464 w 8464"/>
              <a:gd name="connsiteY10" fmla="*/ 5302 h 10000"/>
              <a:gd name="connsiteX11" fmla="*/ 7701 w 8464"/>
              <a:gd name="connsiteY11" fmla="*/ 2543 h 10000"/>
              <a:gd name="connsiteX12" fmla="*/ 5523 w 8464"/>
              <a:gd name="connsiteY12" fmla="*/ 5382 h 10000"/>
              <a:gd name="connsiteX13" fmla="*/ 6328 w 8464"/>
              <a:gd name="connsiteY13" fmla="*/ 4773 h 10000"/>
              <a:gd name="connsiteX14" fmla="*/ 4303 w 8464"/>
              <a:gd name="connsiteY14" fmla="*/ 2887 h 10000"/>
              <a:gd name="connsiteX15" fmla="*/ 3614 w 8464"/>
              <a:gd name="connsiteY15" fmla="*/ 981 h 10000"/>
              <a:gd name="connsiteX16" fmla="*/ 3350 w 8464"/>
              <a:gd name="connsiteY16" fmla="*/ 851 h 10000"/>
              <a:gd name="connsiteX17" fmla="*/ 2341 w 8464"/>
              <a:gd name="connsiteY17" fmla="*/ 577 h 10000"/>
              <a:gd name="connsiteX18" fmla="*/ 1096 w 8464"/>
              <a:gd name="connsiteY18" fmla="*/ 0 h 10000"/>
              <a:gd name="connsiteX19" fmla="*/ 342 w 8464"/>
              <a:gd name="connsiteY19" fmla="*/ 1773 h 10000"/>
              <a:gd name="connsiteX20" fmla="*/ 95 w 8464"/>
              <a:gd name="connsiteY20" fmla="*/ 3469 h 10000"/>
              <a:gd name="connsiteX21" fmla="*/ 120 w 8464"/>
              <a:gd name="connsiteY21" fmla="*/ 3904 h 10000"/>
              <a:gd name="connsiteX22" fmla="*/ 322 w 8464"/>
              <a:gd name="connsiteY22" fmla="*/ 3700 h 10000"/>
              <a:gd name="connsiteX23" fmla="*/ 189 w 8464"/>
              <a:gd name="connsiteY23" fmla="*/ 4416 h 10000"/>
              <a:gd name="connsiteX24" fmla="*/ 1 w 8464"/>
              <a:gd name="connsiteY24" fmla="*/ 3669 h 10000"/>
              <a:gd name="connsiteX25" fmla="*/ 215 w 8464"/>
              <a:gd name="connsiteY25" fmla="*/ 4711 h 10000"/>
              <a:gd name="connsiteX26" fmla="*/ 141 w 8464"/>
              <a:gd name="connsiteY26" fmla="*/ 6556 h 10000"/>
              <a:gd name="connsiteX0" fmla="*/ 167 w 10000"/>
              <a:gd name="connsiteY0" fmla="*/ 6556 h 9972"/>
              <a:gd name="connsiteX1" fmla="*/ 441 w 10000"/>
              <a:gd name="connsiteY1" fmla="*/ 7883 h 9972"/>
              <a:gd name="connsiteX2" fmla="*/ 946 w 10000"/>
              <a:gd name="connsiteY2" fmla="*/ 7881 h 9972"/>
              <a:gd name="connsiteX3" fmla="*/ 207 w 10000"/>
              <a:gd name="connsiteY3" fmla="*/ 6971 h 9972"/>
              <a:gd name="connsiteX4" fmla="*/ 1069 w 10000"/>
              <a:gd name="connsiteY4" fmla="*/ 8621 h 9972"/>
              <a:gd name="connsiteX5" fmla="*/ 411 w 10000"/>
              <a:gd name="connsiteY5" fmla="*/ 9289 h 9972"/>
              <a:gd name="connsiteX6" fmla="*/ 3496 w 10000"/>
              <a:gd name="connsiteY6" fmla="*/ 9972 h 9972"/>
              <a:gd name="connsiteX7" fmla="*/ 5553 w 10000"/>
              <a:gd name="connsiteY7" fmla="*/ 9289 h 9972"/>
              <a:gd name="connsiteX8" fmla="*/ 7097 w 10000"/>
              <a:gd name="connsiteY8" fmla="*/ 6565 h 9972"/>
              <a:gd name="connsiteX9" fmla="*/ 9447 w 10000"/>
              <a:gd name="connsiteY9" fmla="*/ 8547 h 9972"/>
              <a:gd name="connsiteX10" fmla="*/ 10000 w 10000"/>
              <a:gd name="connsiteY10" fmla="*/ 5302 h 9972"/>
              <a:gd name="connsiteX11" fmla="*/ 9099 w 10000"/>
              <a:gd name="connsiteY11" fmla="*/ 2543 h 9972"/>
              <a:gd name="connsiteX12" fmla="*/ 6525 w 10000"/>
              <a:gd name="connsiteY12" fmla="*/ 5382 h 9972"/>
              <a:gd name="connsiteX13" fmla="*/ 7476 w 10000"/>
              <a:gd name="connsiteY13" fmla="*/ 4773 h 9972"/>
              <a:gd name="connsiteX14" fmla="*/ 5084 w 10000"/>
              <a:gd name="connsiteY14" fmla="*/ 2887 h 9972"/>
              <a:gd name="connsiteX15" fmla="*/ 4270 w 10000"/>
              <a:gd name="connsiteY15" fmla="*/ 981 h 9972"/>
              <a:gd name="connsiteX16" fmla="*/ 3958 w 10000"/>
              <a:gd name="connsiteY16" fmla="*/ 851 h 9972"/>
              <a:gd name="connsiteX17" fmla="*/ 2766 w 10000"/>
              <a:gd name="connsiteY17" fmla="*/ 577 h 9972"/>
              <a:gd name="connsiteX18" fmla="*/ 1295 w 10000"/>
              <a:gd name="connsiteY18" fmla="*/ 0 h 9972"/>
              <a:gd name="connsiteX19" fmla="*/ 404 w 10000"/>
              <a:gd name="connsiteY19" fmla="*/ 1773 h 9972"/>
              <a:gd name="connsiteX20" fmla="*/ 112 w 10000"/>
              <a:gd name="connsiteY20" fmla="*/ 3469 h 9972"/>
              <a:gd name="connsiteX21" fmla="*/ 142 w 10000"/>
              <a:gd name="connsiteY21" fmla="*/ 3904 h 9972"/>
              <a:gd name="connsiteX22" fmla="*/ 380 w 10000"/>
              <a:gd name="connsiteY22" fmla="*/ 3700 h 9972"/>
              <a:gd name="connsiteX23" fmla="*/ 223 w 10000"/>
              <a:gd name="connsiteY23" fmla="*/ 4416 h 9972"/>
              <a:gd name="connsiteX24" fmla="*/ 1 w 10000"/>
              <a:gd name="connsiteY24" fmla="*/ 3669 h 9972"/>
              <a:gd name="connsiteX25" fmla="*/ 254 w 10000"/>
              <a:gd name="connsiteY25" fmla="*/ 4711 h 9972"/>
              <a:gd name="connsiteX26" fmla="*/ 167 w 10000"/>
              <a:gd name="connsiteY26" fmla="*/ 6556 h 9972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411 w 10000"/>
              <a:gd name="connsiteY5" fmla="*/ 9315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6525 w 10000"/>
              <a:gd name="connsiteY12" fmla="*/ 5397 h 10000"/>
              <a:gd name="connsiteX13" fmla="*/ 7476 w 10000"/>
              <a:gd name="connsiteY13" fmla="*/ 4786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411 w 10000"/>
              <a:gd name="connsiteY5" fmla="*/ 9315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5665 w 10000"/>
              <a:gd name="connsiteY12" fmla="*/ 7077 h 10000"/>
              <a:gd name="connsiteX13" fmla="*/ 7476 w 10000"/>
              <a:gd name="connsiteY13" fmla="*/ 4786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411 w 10000"/>
              <a:gd name="connsiteY5" fmla="*/ 9315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5665 w 10000"/>
              <a:gd name="connsiteY12" fmla="*/ 7077 h 10000"/>
              <a:gd name="connsiteX13" fmla="*/ 6206 w 10000"/>
              <a:gd name="connsiteY13" fmla="*/ 6470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411 w 10000"/>
              <a:gd name="connsiteY5" fmla="*/ 9315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5665 w 10000"/>
              <a:gd name="connsiteY12" fmla="*/ 7077 h 10000"/>
              <a:gd name="connsiteX13" fmla="*/ 6206 w 10000"/>
              <a:gd name="connsiteY13" fmla="*/ 6470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411 w 10000"/>
              <a:gd name="connsiteY5" fmla="*/ 9315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5665 w 10000"/>
              <a:gd name="connsiteY12" fmla="*/ 7077 h 10000"/>
              <a:gd name="connsiteX13" fmla="*/ 6729 w 10000"/>
              <a:gd name="connsiteY13" fmla="*/ 6188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411 w 10000"/>
              <a:gd name="connsiteY5" fmla="*/ 9315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5665 w 10000"/>
              <a:gd name="connsiteY12" fmla="*/ 7077 h 10000"/>
              <a:gd name="connsiteX13" fmla="*/ 6313 w 10000"/>
              <a:gd name="connsiteY13" fmla="*/ 6350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411 w 10000"/>
              <a:gd name="connsiteY5" fmla="*/ 9315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6179 w 10000"/>
              <a:gd name="connsiteY12" fmla="*/ 6389 h 10000"/>
              <a:gd name="connsiteX13" fmla="*/ 6313 w 10000"/>
              <a:gd name="connsiteY13" fmla="*/ 6350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  <a:gd name="connsiteX0" fmla="*/ 167 w 10000"/>
              <a:gd name="connsiteY0" fmla="*/ 6574 h 10000"/>
              <a:gd name="connsiteX1" fmla="*/ 441 w 10000"/>
              <a:gd name="connsiteY1" fmla="*/ 7905 h 10000"/>
              <a:gd name="connsiteX2" fmla="*/ 946 w 10000"/>
              <a:gd name="connsiteY2" fmla="*/ 7903 h 10000"/>
              <a:gd name="connsiteX3" fmla="*/ 207 w 10000"/>
              <a:gd name="connsiteY3" fmla="*/ 6991 h 10000"/>
              <a:gd name="connsiteX4" fmla="*/ 1069 w 10000"/>
              <a:gd name="connsiteY4" fmla="*/ 8645 h 10000"/>
              <a:gd name="connsiteX5" fmla="*/ 1177 w 10000"/>
              <a:gd name="connsiteY5" fmla="*/ 8724 h 10000"/>
              <a:gd name="connsiteX6" fmla="*/ 3496 w 10000"/>
              <a:gd name="connsiteY6" fmla="*/ 10000 h 10000"/>
              <a:gd name="connsiteX7" fmla="*/ 5327 w 10000"/>
              <a:gd name="connsiteY7" fmla="*/ 7864 h 10000"/>
              <a:gd name="connsiteX8" fmla="*/ 7097 w 10000"/>
              <a:gd name="connsiteY8" fmla="*/ 6583 h 10000"/>
              <a:gd name="connsiteX9" fmla="*/ 9447 w 10000"/>
              <a:gd name="connsiteY9" fmla="*/ 8571 h 10000"/>
              <a:gd name="connsiteX10" fmla="*/ 10000 w 10000"/>
              <a:gd name="connsiteY10" fmla="*/ 5317 h 10000"/>
              <a:gd name="connsiteX11" fmla="*/ 9099 w 10000"/>
              <a:gd name="connsiteY11" fmla="*/ 2550 h 10000"/>
              <a:gd name="connsiteX12" fmla="*/ 6179 w 10000"/>
              <a:gd name="connsiteY12" fmla="*/ 6389 h 10000"/>
              <a:gd name="connsiteX13" fmla="*/ 6313 w 10000"/>
              <a:gd name="connsiteY13" fmla="*/ 6350 h 10000"/>
              <a:gd name="connsiteX14" fmla="*/ 5084 w 10000"/>
              <a:gd name="connsiteY14" fmla="*/ 2895 h 10000"/>
              <a:gd name="connsiteX15" fmla="*/ 4270 w 10000"/>
              <a:gd name="connsiteY15" fmla="*/ 984 h 10000"/>
              <a:gd name="connsiteX16" fmla="*/ 3958 w 10000"/>
              <a:gd name="connsiteY16" fmla="*/ 853 h 10000"/>
              <a:gd name="connsiteX17" fmla="*/ 2766 w 10000"/>
              <a:gd name="connsiteY17" fmla="*/ 579 h 10000"/>
              <a:gd name="connsiteX18" fmla="*/ 1295 w 10000"/>
              <a:gd name="connsiteY18" fmla="*/ 0 h 10000"/>
              <a:gd name="connsiteX19" fmla="*/ 404 w 10000"/>
              <a:gd name="connsiteY19" fmla="*/ 1778 h 10000"/>
              <a:gd name="connsiteX20" fmla="*/ 112 w 10000"/>
              <a:gd name="connsiteY20" fmla="*/ 3479 h 10000"/>
              <a:gd name="connsiteX21" fmla="*/ 142 w 10000"/>
              <a:gd name="connsiteY21" fmla="*/ 3915 h 10000"/>
              <a:gd name="connsiteX22" fmla="*/ 380 w 10000"/>
              <a:gd name="connsiteY22" fmla="*/ 3710 h 10000"/>
              <a:gd name="connsiteX23" fmla="*/ 223 w 10000"/>
              <a:gd name="connsiteY23" fmla="*/ 4428 h 10000"/>
              <a:gd name="connsiteX24" fmla="*/ 1 w 10000"/>
              <a:gd name="connsiteY24" fmla="*/ 3679 h 10000"/>
              <a:gd name="connsiteX25" fmla="*/ 254 w 10000"/>
              <a:gd name="connsiteY25" fmla="*/ 4724 h 10000"/>
              <a:gd name="connsiteX26" fmla="*/ 167 w 10000"/>
              <a:gd name="connsiteY26" fmla="*/ 657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000" h="10000">
                <a:moveTo>
                  <a:pt x="167" y="6574"/>
                </a:moveTo>
                <a:cubicBezTo>
                  <a:pt x="314" y="8031"/>
                  <a:pt x="292" y="6449"/>
                  <a:pt x="441" y="7905"/>
                </a:cubicBezTo>
                <a:lnTo>
                  <a:pt x="946" y="7903"/>
                </a:lnTo>
                <a:cubicBezTo>
                  <a:pt x="840" y="8635"/>
                  <a:pt x="312" y="6259"/>
                  <a:pt x="207" y="6991"/>
                </a:cubicBezTo>
                <a:cubicBezTo>
                  <a:pt x="229" y="8003"/>
                  <a:pt x="1046" y="7632"/>
                  <a:pt x="1069" y="8645"/>
                </a:cubicBezTo>
                <a:cubicBezTo>
                  <a:pt x="1239" y="7735"/>
                  <a:pt x="1007" y="9636"/>
                  <a:pt x="1177" y="8724"/>
                </a:cubicBezTo>
                <a:lnTo>
                  <a:pt x="3496" y="10000"/>
                </a:lnTo>
                <a:lnTo>
                  <a:pt x="5327" y="7864"/>
                </a:lnTo>
                <a:lnTo>
                  <a:pt x="7097" y="6583"/>
                </a:lnTo>
                <a:lnTo>
                  <a:pt x="9447" y="8571"/>
                </a:lnTo>
                <a:cubicBezTo>
                  <a:pt x="9630" y="7485"/>
                  <a:pt x="9816" y="6403"/>
                  <a:pt x="10000" y="5317"/>
                </a:cubicBezTo>
                <a:cubicBezTo>
                  <a:pt x="9589" y="3042"/>
                  <a:pt x="9511" y="4827"/>
                  <a:pt x="9099" y="2550"/>
                </a:cubicBezTo>
                <a:cubicBezTo>
                  <a:pt x="8241" y="3500"/>
                  <a:pt x="6012" y="6092"/>
                  <a:pt x="6179" y="6389"/>
                </a:cubicBezTo>
                <a:cubicBezTo>
                  <a:pt x="6359" y="6187"/>
                  <a:pt x="6430" y="6826"/>
                  <a:pt x="6313" y="6350"/>
                </a:cubicBezTo>
                <a:lnTo>
                  <a:pt x="5084" y="2895"/>
                </a:lnTo>
                <a:cubicBezTo>
                  <a:pt x="4863" y="1763"/>
                  <a:pt x="4490" y="2115"/>
                  <a:pt x="4270" y="984"/>
                </a:cubicBezTo>
                <a:cubicBezTo>
                  <a:pt x="4106" y="1068"/>
                  <a:pt x="4123" y="770"/>
                  <a:pt x="3958" y="853"/>
                </a:cubicBezTo>
                <a:lnTo>
                  <a:pt x="2766" y="579"/>
                </a:lnTo>
                <a:cubicBezTo>
                  <a:pt x="2598" y="-513"/>
                  <a:pt x="1465" y="1093"/>
                  <a:pt x="1295" y="0"/>
                </a:cubicBezTo>
                <a:cubicBezTo>
                  <a:pt x="1464" y="1359"/>
                  <a:pt x="236" y="419"/>
                  <a:pt x="404" y="1778"/>
                </a:cubicBezTo>
                <a:cubicBezTo>
                  <a:pt x="825" y="4373"/>
                  <a:pt x="-310" y="880"/>
                  <a:pt x="112" y="3479"/>
                </a:cubicBezTo>
                <a:cubicBezTo>
                  <a:pt x="-104" y="3661"/>
                  <a:pt x="388" y="4026"/>
                  <a:pt x="142" y="3915"/>
                </a:cubicBezTo>
                <a:cubicBezTo>
                  <a:pt x="-102" y="3804"/>
                  <a:pt x="195" y="3453"/>
                  <a:pt x="380" y="3710"/>
                </a:cubicBezTo>
                <a:cubicBezTo>
                  <a:pt x="175" y="3609"/>
                  <a:pt x="128" y="4399"/>
                  <a:pt x="223" y="4428"/>
                </a:cubicBezTo>
                <a:cubicBezTo>
                  <a:pt x="321" y="4457"/>
                  <a:pt x="271" y="3360"/>
                  <a:pt x="1" y="3679"/>
                </a:cubicBezTo>
                <a:cubicBezTo>
                  <a:pt x="-4" y="4323"/>
                  <a:pt x="258" y="4080"/>
                  <a:pt x="254" y="4724"/>
                </a:cubicBezTo>
                <a:cubicBezTo>
                  <a:pt x="224" y="5341"/>
                  <a:pt x="195" y="5959"/>
                  <a:pt x="167" y="6574"/>
                </a:cubicBezTo>
                <a:close/>
              </a:path>
            </a:pathLst>
          </a:custGeom>
          <a:solidFill>
            <a:srgbClr val="FAFAFA"/>
          </a:solidFill>
          <a:ln w="3175"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IE" sz="2400" b="1" dirty="0">
              <a:solidFill>
                <a:srgbClr val="000000"/>
              </a:solidFill>
            </a:endParaRPr>
          </a:p>
        </p:txBody>
      </p:sp>
      <p:cxnSp>
        <p:nvCxnSpPr>
          <p:cNvPr id="52" name="Connecteur droit 51"/>
          <p:cNvCxnSpPr>
            <a:stCxn id="97" idx="15"/>
            <a:endCxn id="103" idx="40"/>
          </p:cNvCxnSpPr>
          <p:nvPr/>
        </p:nvCxnSpPr>
        <p:spPr bwMode="auto">
          <a:xfrm>
            <a:off x="4578350" y="3584575"/>
            <a:ext cx="160338" cy="207963"/>
          </a:xfrm>
          <a:prstGeom prst="line">
            <a:avLst/>
          </a:prstGeom>
          <a:ln w="2540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/>
          <p:cNvCxnSpPr>
            <a:stCxn id="76" idx="8"/>
            <a:endCxn id="72" idx="5"/>
          </p:cNvCxnSpPr>
          <p:nvPr/>
        </p:nvCxnSpPr>
        <p:spPr>
          <a:xfrm>
            <a:off x="6650985" y="5490144"/>
            <a:ext cx="263633" cy="148359"/>
          </a:xfrm>
          <a:prstGeom prst="line">
            <a:avLst/>
          </a:prstGeom>
          <a:ln w="2540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/>
          <p:cNvCxnSpPr>
            <a:stCxn id="104" idx="17"/>
          </p:cNvCxnSpPr>
          <p:nvPr/>
        </p:nvCxnSpPr>
        <p:spPr bwMode="auto">
          <a:xfrm>
            <a:off x="4268360" y="3134602"/>
            <a:ext cx="132190" cy="138603"/>
          </a:xfrm>
          <a:prstGeom prst="line">
            <a:avLst/>
          </a:prstGeom>
          <a:ln w="2540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itre 1"/>
          <p:cNvSpPr>
            <a:spLocks noGrp="1"/>
          </p:cNvSpPr>
          <p:nvPr userDrawn="1">
            <p:ph type="title"/>
          </p:nvPr>
        </p:nvSpPr>
        <p:spPr>
          <a:xfrm>
            <a:off x="457200" y="274638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 userDrawn="1"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2ECADC-9CA4-4FA1-98E1-297E3B9BCDFA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 userDrawn="1"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 userDrawn="1"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A6A39B-2923-4814-8F57-BD84643AD2B4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324000" y="980728"/>
            <a:ext cx="8496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4" r:id="rId3"/>
    <p:sldLayoutId id="2147483654" r:id="rId4"/>
    <p:sldLayoutId id="2147483655" r:id="rId5"/>
    <p:sldLayoutId id="2147483663" r:id="rId6"/>
    <p:sldLayoutId id="2147483665" r:id="rId7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394A534-FE3C-4784-A40C-064FBC204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18FBDDA-2B52-457A-A808-D82D0C3687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D6C7006-3C82-4581-98F9-3A8C23A136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101903-EEB7-46AD-9CF2-2520EA3A19DC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31FBABF-E788-4FCF-93C8-929967CB7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1698D90-1DB5-4732-A1FA-33BE76FBF2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26A6F9-03C7-432C-A512-008236AA45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96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BB6A2AC-3DF5-4863-BFA7-6F0465EAA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3110EA9-47E8-4FE5-B23A-391B52623B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85C2D65-6693-4198-8416-8C9451129D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19D08A-E398-452A-873C-00F43250A6F8}" type="datetimeFigureOut">
              <a:rPr lang="en-GB" smtClean="0"/>
              <a:t>24/06/2019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E4AB32B-0E36-41F4-A060-91A5DF16EE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8084EC-439A-488A-A402-CBF38E9D2C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D30AF0-30DF-4DE4-90AA-A53A4F43D7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180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9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5" Type="http://schemas.openxmlformats.org/officeDocument/2006/relationships/image" Target="../media/image10.png"/><Relationship Id="rId10" Type="http://schemas.microsoft.com/office/2007/relationships/hdphoto" Target="../media/hdphoto1.wdp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microsoft.com/office/2007/relationships/hdphoto" Target="../media/hdphoto3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forsyningstilsynet.dk/fileadmin/Filer/0_-_Nyt_site/EL/Hoeringer/2018-12_-_Energinet_4/181218_07_ALL_TSOs_proposal_Pricing_proposal.pd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docstore.entsoe.eu/Documents/nc-tasks/EBGL/EBGL_A50.1_181218_ALL%20TSOs%20proposal_TSO-TSO_settlement_proposal_for%20submission.pdf?Web=0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51520" y="1526927"/>
            <a:ext cx="3428918" cy="1470025"/>
          </a:xfrm>
        </p:spPr>
        <p:txBody>
          <a:bodyPr>
            <a:normAutofit fontScale="90000"/>
          </a:bodyPr>
          <a:lstStyle/>
          <a:p>
            <a:pPr lvl="0" algn="ctr">
              <a:spcBef>
                <a:spcPts val="0"/>
              </a:spcBef>
            </a:pPr>
            <a:r>
              <a:rPr lang="en-US" sz="4400" dirty="0">
                <a:solidFill>
                  <a:srgbClr val="1F497D"/>
                </a:solidFill>
                <a:ea typeface="+mn-ea"/>
                <a:cs typeface="Arial" pitchFamily="34" charset="0"/>
              </a:rPr>
              <a:t>TERRE</a:t>
            </a:r>
            <a:r>
              <a:rPr lang="en-US" sz="4000" dirty="0">
                <a:solidFill>
                  <a:srgbClr val="1F497D"/>
                </a:solidFill>
                <a:ea typeface="+mn-ea"/>
                <a:cs typeface="Arial" pitchFamily="34" charset="0"/>
              </a:rPr>
              <a:t> </a:t>
            </a:r>
            <a:br>
              <a:rPr lang="en-US" sz="4000" dirty="0">
                <a:solidFill>
                  <a:srgbClr val="1F497D"/>
                </a:solidFill>
                <a:ea typeface="+mn-ea"/>
                <a:cs typeface="Arial" pitchFamily="34" charset="0"/>
              </a:rPr>
            </a:br>
            <a:r>
              <a:rPr lang="en-US" sz="310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T</a:t>
            </a:r>
            <a:r>
              <a:rPr lang="en-US" sz="3100" b="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rans </a:t>
            </a:r>
            <a:r>
              <a:rPr lang="en-US" sz="310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E</a:t>
            </a:r>
            <a:r>
              <a:rPr lang="en-US" sz="3100" b="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uropean </a:t>
            </a:r>
            <a:r>
              <a:rPr lang="en-US" sz="310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R</a:t>
            </a:r>
            <a:r>
              <a:rPr lang="en-US" sz="3100" b="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eplacement </a:t>
            </a:r>
            <a:r>
              <a:rPr lang="en-US" sz="310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R</a:t>
            </a:r>
            <a:r>
              <a:rPr lang="en-US" sz="3100" b="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eserves </a:t>
            </a:r>
            <a:r>
              <a:rPr lang="en-US" sz="310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E</a:t>
            </a:r>
            <a:r>
              <a:rPr lang="en-US" sz="3100" b="0" i="1" dirty="0">
                <a:solidFill>
                  <a:prstClr val="black">
                    <a:lumMod val="65000"/>
                    <a:lumOff val="35000"/>
                  </a:prstClr>
                </a:solidFill>
                <a:ea typeface="+mn-ea"/>
                <a:cs typeface="Arial" pitchFamily="34" charset="0"/>
              </a:rPr>
              <a:t>xchange</a:t>
            </a:r>
            <a:endParaRPr lang="en-US" i="1" dirty="0">
              <a:solidFill>
                <a:srgbClr val="F79646"/>
              </a:solidFill>
              <a:ea typeface="+mn-ea"/>
              <a:cs typeface="Arial" pitchFamily="34" charset="0"/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 bwMode="auto">
          <a:xfrm>
            <a:off x="477950" y="3018785"/>
            <a:ext cx="2797906" cy="3362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GB" sz="2000" b="1" i="1" dirty="0">
              <a:solidFill>
                <a:schemeClr val="accent6"/>
              </a:solidFill>
              <a:latin typeface="+mj-lt"/>
              <a:cs typeface="Arial" pitchFamily="34" charset="0"/>
            </a:endParaRPr>
          </a:p>
          <a:p>
            <a:pPr algn="ctr"/>
            <a:endParaRPr lang="en-GB" sz="2000" b="1" i="1" dirty="0">
              <a:solidFill>
                <a:schemeClr val="accent6"/>
              </a:solidFill>
              <a:latin typeface="+mj-lt"/>
              <a:cs typeface="Arial" pitchFamily="34" charset="0"/>
            </a:endParaRPr>
          </a:p>
          <a:p>
            <a:pPr algn="ctr"/>
            <a:r>
              <a:rPr lang="en-US" sz="2000" b="1" dirty="0">
                <a:solidFill>
                  <a:schemeClr val="accent6"/>
                </a:solidFill>
                <a:latin typeface="+mj-lt"/>
                <a:cs typeface="Arial" pitchFamily="34" charset="0"/>
              </a:rPr>
              <a:t>EBSG meeting</a:t>
            </a:r>
            <a:endParaRPr lang="en-GB" sz="2000" b="1" dirty="0">
              <a:solidFill>
                <a:schemeClr val="accent6"/>
              </a:solidFill>
              <a:latin typeface="+mj-lt"/>
              <a:cs typeface="Arial" pitchFamily="34" charset="0"/>
            </a:endParaRPr>
          </a:p>
          <a:p>
            <a:pPr algn="ctr"/>
            <a:endParaRPr lang="en-GB" sz="2000" i="1" dirty="0">
              <a:cs typeface="Arial" pitchFamily="34" charset="0"/>
            </a:endParaRPr>
          </a:p>
          <a:p>
            <a:pPr algn="ctr"/>
            <a:r>
              <a:rPr lang="en-GB" sz="1600" i="1" dirty="0">
                <a:latin typeface="+mj-lt"/>
                <a:cs typeface="Arial" pitchFamily="34" charset="0"/>
              </a:rPr>
              <a:t>01</a:t>
            </a:r>
            <a:r>
              <a:rPr lang="en-GB" sz="1600" i="1" baseline="30000" dirty="0">
                <a:latin typeface="+mj-lt"/>
                <a:cs typeface="Arial" pitchFamily="34" charset="0"/>
              </a:rPr>
              <a:t>st</a:t>
            </a:r>
            <a:r>
              <a:rPr lang="en-GB" sz="1600" i="1" dirty="0">
                <a:latin typeface="+mj-lt"/>
                <a:cs typeface="Arial" pitchFamily="34" charset="0"/>
              </a:rPr>
              <a:t> July 2019 </a:t>
            </a:r>
          </a:p>
        </p:txBody>
      </p:sp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35895" y="4756755"/>
            <a:ext cx="687155" cy="420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24125" y="5067738"/>
            <a:ext cx="794727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1641" t="7138" r="5736" b="7138"/>
          <a:stretch/>
        </p:blipFill>
        <p:spPr bwMode="auto">
          <a:xfrm>
            <a:off x="4218434" y="3124026"/>
            <a:ext cx="792088" cy="182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287318" y="4221087"/>
            <a:ext cx="519704" cy="288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88368" y="3933056"/>
            <a:ext cx="514810" cy="506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964821" y="4859125"/>
            <a:ext cx="715617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9A207DA-7B2B-4BB7-99DE-57697A409B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99338">
                        <a14:foregroundMark x1="30464" y1="72868" x2="30464" y2="72868"/>
                        <a14:foregroundMark x1="68874" y1="93798" x2="68874" y2="93798"/>
                        <a14:foregroundMark x1="60927" y1="96124" x2="60927" y2="9612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08304" y="4455985"/>
            <a:ext cx="217741" cy="1860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CCCAD4-7CFD-42D6-8DC1-06C0EB1FAA0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94595" l="0" r="32734">
                        <a14:foregroundMark x1="8633" y1="32432" x2="8633" y2="32432"/>
                        <a14:foregroundMark x1="22302" y1="43243" x2="22302" y2="43243"/>
                        <a14:foregroundMark x1="24820" y1="56757" x2="24820" y2="56757"/>
                        <a14:foregroundMark x1="29137" y1="32432" x2="29137" y2="32432"/>
                        <a14:foregroundMark x1="26978" y1="8108" x2="26978" y2="8108"/>
                        <a14:foregroundMark x1="20863" y1="83784" x2="20863" y2="83784"/>
                      </a14:backgroundRemoval>
                    </a14:imgEffect>
                  </a14:imgLayer>
                </a14:imgProps>
              </a:ext>
            </a:extLst>
          </a:blip>
          <a:srcRect t="-11295" r="66316" b="-1"/>
          <a:stretch/>
        </p:blipFill>
        <p:spPr>
          <a:xfrm>
            <a:off x="6588224" y="3573016"/>
            <a:ext cx="369565" cy="1625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EDCB41-C90E-45ED-9EC1-6ED588B3145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95122" l="893" r="98214">
                        <a14:foregroundMark x1="70536" y1="25610" x2="70536" y2="25610"/>
                        <a14:foregroundMark x1="30357" y1="76829" x2="30357" y2="76829"/>
                        <a14:foregroundMark x1="34821" y1="82927" x2="34821" y2="82927"/>
                        <a14:foregroundMark x1="46429" y1="80488" x2="46429" y2="80488"/>
                        <a14:foregroundMark x1="55357" y1="84146" x2="55357" y2="84146"/>
                        <a14:foregroundMark x1="64286" y1="79268" x2="64286" y2="79268"/>
                        <a14:foregroundMark x1="70536" y1="80488" x2="70536" y2="80488"/>
                        <a14:foregroundMark x1="21429" y1="80488" x2="21429" y2="80488"/>
                        <a14:foregroundMark x1="86607" y1="51220" x2="86607" y2="51220"/>
                        <a14:foregroundMark x1="33036" y1="69512" x2="33036" y2="6951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27826" y="4332983"/>
            <a:ext cx="290360" cy="21258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E44823C-1C8D-4035-AF74-150F8CC0B2D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1488" y="3933056"/>
            <a:ext cx="470015" cy="28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02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23528" y="1052414"/>
            <a:ext cx="8496944" cy="360362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Example (1/2)</a:t>
            </a:r>
          </a:p>
        </p:txBody>
      </p:sp>
      <p:pic>
        <p:nvPicPr>
          <p:cNvPr id="9" name="Image 2"/>
          <p:cNvPicPr>
            <a:picLocks noGrp="1"/>
          </p:cNvPicPr>
          <p:nvPr>
            <p:ph idx="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37" y="1905497"/>
            <a:ext cx="7488839" cy="4187799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/>
        </p:nvSpPr>
        <p:spPr>
          <a:xfrm>
            <a:off x="395536" y="1484784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prstClr val="black"/>
                </a:solidFill>
              </a:rPr>
              <a:t>Inputs: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644008" y="2123564"/>
            <a:ext cx="3034933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/>
              <a:t>ATC does not affect the results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DFECEB28-839F-4A50-9647-65029D08B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70334"/>
            <a:ext cx="8496944" cy="492471"/>
          </a:xfrm>
        </p:spPr>
        <p:txBody>
          <a:bodyPr/>
          <a:lstStyle/>
          <a:p>
            <a:r>
              <a:rPr lang="en-GB" dirty="0"/>
              <a:t>3. Algorithm Optimisation Function description-part 2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70C3441A-3463-4976-9EC3-ABCFCC89D525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ptimization Algorithm – Counter-activations’ treatment</a:t>
            </a:r>
          </a:p>
        </p:txBody>
      </p:sp>
    </p:spTree>
    <p:extLst>
      <p:ext uri="{BB962C8B-B14F-4D97-AF65-F5344CB8AC3E}">
        <p14:creationId xmlns:p14="http://schemas.microsoft.com/office/powerpoint/2010/main" val="2612499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23528" y="1052414"/>
            <a:ext cx="8496944" cy="360362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Example (2/2)</a:t>
            </a:r>
          </a:p>
        </p:txBody>
      </p:sp>
      <p:pic>
        <p:nvPicPr>
          <p:cNvPr id="10" name="Image 1"/>
          <p:cNvPicPr/>
          <p:nvPr/>
        </p:nvPicPr>
        <p:blipFill>
          <a:blip r:embed="rId7"/>
          <a:stretch>
            <a:fillRect/>
          </a:stretch>
        </p:blipFill>
        <p:spPr>
          <a:xfrm>
            <a:off x="395536" y="1844824"/>
            <a:ext cx="7848872" cy="4464496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395536" y="1484784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prstClr val="black"/>
                </a:solidFill>
              </a:rPr>
              <a:t>Outputs: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969CDA5F-D1DB-41F1-97F2-056AEE7C0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70334"/>
            <a:ext cx="8496944" cy="492471"/>
          </a:xfrm>
        </p:spPr>
        <p:txBody>
          <a:bodyPr/>
          <a:lstStyle/>
          <a:p>
            <a:r>
              <a:rPr lang="en-GB" dirty="0"/>
              <a:t>3. Algorithm Optimisation Function description-part 2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BA089B30-4F5C-4F30-8A83-F99261C40C40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ptimization Algorithm – Counter-activations’ treatment</a:t>
            </a:r>
          </a:p>
        </p:txBody>
      </p:sp>
    </p:spTree>
    <p:extLst>
      <p:ext uri="{BB962C8B-B14F-4D97-AF65-F5344CB8AC3E}">
        <p14:creationId xmlns:p14="http://schemas.microsoft.com/office/powerpoint/2010/main" val="1769567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pic 4: RR process timing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3514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RR process timing 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607506DA-C6B0-4E6F-8422-49A21BF37662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imeline </a:t>
            </a:r>
          </a:p>
        </p:txBody>
      </p:sp>
      <p:grpSp>
        <p:nvGrpSpPr>
          <p:cNvPr id="10" name="Group 2">
            <a:extLst>
              <a:ext uri="{FF2B5EF4-FFF2-40B4-BE49-F238E27FC236}">
                <a16:creationId xmlns:a16="http://schemas.microsoft.com/office/drawing/2014/main" id="{EAD2A271-804B-434C-BC5E-BDA5F5E74D22}"/>
              </a:ext>
            </a:extLst>
          </p:cNvPr>
          <p:cNvGrpSpPr/>
          <p:nvPr/>
        </p:nvGrpSpPr>
        <p:grpSpPr>
          <a:xfrm>
            <a:off x="35496" y="1124744"/>
            <a:ext cx="8975998" cy="3514171"/>
            <a:chOff x="84440" y="857205"/>
            <a:chExt cx="8975998" cy="3514171"/>
          </a:xfrm>
        </p:grpSpPr>
        <p:cxnSp>
          <p:nvCxnSpPr>
            <p:cNvPr id="12" name="Connecteur droit avec flèche 4">
              <a:extLst>
                <a:ext uri="{FF2B5EF4-FFF2-40B4-BE49-F238E27FC236}">
                  <a16:creationId xmlns:a16="http://schemas.microsoft.com/office/drawing/2014/main" id="{9BBF444F-D68C-4724-915B-55A85092993C}"/>
                </a:ext>
              </a:extLst>
            </p:cNvPr>
            <p:cNvCxnSpPr/>
            <p:nvPr/>
          </p:nvCxnSpPr>
          <p:spPr>
            <a:xfrm>
              <a:off x="210783" y="2384499"/>
              <a:ext cx="8849655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6">
              <a:extLst>
                <a:ext uri="{FF2B5EF4-FFF2-40B4-BE49-F238E27FC236}">
                  <a16:creationId xmlns:a16="http://schemas.microsoft.com/office/drawing/2014/main" id="{E2AF5DE4-588F-489F-AE7C-AE7E911C5772}"/>
                </a:ext>
              </a:extLst>
            </p:cNvPr>
            <p:cNvCxnSpPr/>
            <p:nvPr/>
          </p:nvCxnSpPr>
          <p:spPr>
            <a:xfrm>
              <a:off x="330351" y="2168475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ZoneTexte 7">
              <a:extLst>
                <a:ext uri="{FF2B5EF4-FFF2-40B4-BE49-F238E27FC236}">
                  <a16:creationId xmlns:a16="http://schemas.microsoft.com/office/drawing/2014/main" id="{03D459BC-CF07-49A6-9DB4-E3EDC7A9C361}"/>
                </a:ext>
              </a:extLst>
            </p:cNvPr>
            <p:cNvSpPr txBox="1"/>
            <p:nvPr/>
          </p:nvSpPr>
          <p:spPr>
            <a:xfrm>
              <a:off x="84440" y="1831176"/>
              <a:ext cx="86280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b="1" dirty="0"/>
                <a:t>H-70min</a:t>
              </a:r>
            </a:p>
          </p:txBody>
        </p:sp>
        <p:cxnSp>
          <p:nvCxnSpPr>
            <p:cNvPr id="15" name="Connecteur droit 8">
              <a:extLst>
                <a:ext uri="{FF2B5EF4-FFF2-40B4-BE49-F238E27FC236}">
                  <a16:creationId xmlns:a16="http://schemas.microsoft.com/office/drawing/2014/main" id="{A3B76056-3335-41F9-86D5-AEF68C2809D5}"/>
                </a:ext>
              </a:extLst>
            </p:cNvPr>
            <p:cNvCxnSpPr/>
            <p:nvPr/>
          </p:nvCxnSpPr>
          <p:spPr>
            <a:xfrm>
              <a:off x="8023968" y="2183879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ZoneTexte 9">
              <a:extLst>
                <a:ext uri="{FF2B5EF4-FFF2-40B4-BE49-F238E27FC236}">
                  <a16:creationId xmlns:a16="http://schemas.microsoft.com/office/drawing/2014/main" id="{E3225D48-3721-4739-B695-E296DAE30C30}"/>
                </a:ext>
              </a:extLst>
            </p:cNvPr>
            <p:cNvSpPr txBox="1"/>
            <p:nvPr/>
          </p:nvSpPr>
          <p:spPr>
            <a:xfrm>
              <a:off x="7522786" y="1861850"/>
              <a:ext cx="9679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b="1" dirty="0"/>
                <a:t>H+60 min</a:t>
              </a:r>
            </a:p>
          </p:txBody>
        </p:sp>
        <p:cxnSp>
          <p:nvCxnSpPr>
            <p:cNvPr id="17" name="Connecteur droit 10">
              <a:extLst>
                <a:ext uri="{FF2B5EF4-FFF2-40B4-BE49-F238E27FC236}">
                  <a16:creationId xmlns:a16="http://schemas.microsoft.com/office/drawing/2014/main" id="{94F746CF-8F7E-49F4-BEAF-7A91F76FFA04}"/>
                </a:ext>
              </a:extLst>
            </p:cNvPr>
            <p:cNvCxnSpPr/>
            <p:nvPr/>
          </p:nvCxnSpPr>
          <p:spPr>
            <a:xfrm>
              <a:off x="7023439" y="2213447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ZoneTexte 11">
              <a:extLst>
                <a:ext uri="{FF2B5EF4-FFF2-40B4-BE49-F238E27FC236}">
                  <a16:creationId xmlns:a16="http://schemas.microsoft.com/office/drawing/2014/main" id="{DFD87E95-CD30-4A98-8103-13974B95AD74}"/>
                </a:ext>
              </a:extLst>
            </p:cNvPr>
            <p:cNvSpPr txBox="1"/>
            <p:nvPr/>
          </p:nvSpPr>
          <p:spPr>
            <a:xfrm>
              <a:off x="6888301" y="1859519"/>
              <a:ext cx="3899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b="1" dirty="0"/>
                <a:t>H</a:t>
              </a:r>
            </a:p>
          </p:txBody>
        </p:sp>
        <p:cxnSp>
          <p:nvCxnSpPr>
            <p:cNvPr id="19" name="Connecteur droit 12">
              <a:extLst>
                <a:ext uri="{FF2B5EF4-FFF2-40B4-BE49-F238E27FC236}">
                  <a16:creationId xmlns:a16="http://schemas.microsoft.com/office/drawing/2014/main" id="{D8D9C918-6F4E-407C-8C72-300EC0791015}"/>
                </a:ext>
              </a:extLst>
            </p:cNvPr>
            <p:cNvCxnSpPr/>
            <p:nvPr/>
          </p:nvCxnSpPr>
          <p:spPr>
            <a:xfrm>
              <a:off x="5773072" y="2187907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14">
              <a:extLst>
                <a:ext uri="{FF2B5EF4-FFF2-40B4-BE49-F238E27FC236}">
                  <a16:creationId xmlns:a16="http://schemas.microsoft.com/office/drawing/2014/main" id="{9C4D4F99-05CB-4248-A868-75DA879C6C7C}"/>
                </a:ext>
              </a:extLst>
            </p:cNvPr>
            <p:cNvCxnSpPr/>
            <p:nvPr/>
          </p:nvCxnSpPr>
          <p:spPr>
            <a:xfrm>
              <a:off x="4404920" y="2176015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ZoneTexte 15">
              <a:extLst>
                <a:ext uri="{FF2B5EF4-FFF2-40B4-BE49-F238E27FC236}">
                  <a16:creationId xmlns:a16="http://schemas.microsoft.com/office/drawing/2014/main" id="{2D92C4DA-9C2F-4F2A-9E9B-F7BD165EA92F}"/>
                </a:ext>
              </a:extLst>
            </p:cNvPr>
            <p:cNvSpPr txBox="1"/>
            <p:nvPr/>
          </p:nvSpPr>
          <p:spPr>
            <a:xfrm>
              <a:off x="4141859" y="1822087"/>
              <a:ext cx="11137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b="1" dirty="0"/>
                <a:t>H-35min</a:t>
              </a:r>
            </a:p>
          </p:txBody>
        </p:sp>
        <p:cxnSp>
          <p:nvCxnSpPr>
            <p:cNvPr id="23" name="Connecteur droit 16">
              <a:extLst>
                <a:ext uri="{FF2B5EF4-FFF2-40B4-BE49-F238E27FC236}">
                  <a16:creationId xmlns:a16="http://schemas.microsoft.com/office/drawing/2014/main" id="{64C13109-9017-45B6-BC18-0F582959F010}"/>
                </a:ext>
              </a:extLst>
            </p:cNvPr>
            <p:cNvCxnSpPr/>
            <p:nvPr/>
          </p:nvCxnSpPr>
          <p:spPr>
            <a:xfrm>
              <a:off x="3059579" y="2187552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ZoneTexte 17">
              <a:extLst>
                <a:ext uri="{FF2B5EF4-FFF2-40B4-BE49-F238E27FC236}">
                  <a16:creationId xmlns:a16="http://schemas.microsoft.com/office/drawing/2014/main" id="{EB1B12C7-B4B4-40DE-ADD9-5F15DB51C26B}"/>
                </a:ext>
              </a:extLst>
            </p:cNvPr>
            <p:cNvSpPr txBox="1"/>
            <p:nvPr/>
          </p:nvSpPr>
          <p:spPr>
            <a:xfrm>
              <a:off x="2659055" y="1833624"/>
              <a:ext cx="11137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b="1" dirty="0"/>
                <a:t>H-40min</a:t>
              </a:r>
            </a:p>
          </p:txBody>
        </p:sp>
        <p:cxnSp>
          <p:nvCxnSpPr>
            <p:cNvPr id="25" name="Connecteur droit 18">
              <a:extLst>
                <a:ext uri="{FF2B5EF4-FFF2-40B4-BE49-F238E27FC236}">
                  <a16:creationId xmlns:a16="http://schemas.microsoft.com/office/drawing/2014/main" id="{A690D421-17AC-464F-935A-2ECBA6ADCF8A}"/>
                </a:ext>
              </a:extLst>
            </p:cNvPr>
            <p:cNvCxnSpPr/>
            <p:nvPr/>
          </p:nvCxnSpPr>
          <p:spPr>
            <a:xfrm>
              <a:off x="1500565" y="2176015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ZoneTexte 19">
              <a:extLst>
                <a:ext uri="{FF2B5EF4-FFF2-40B4-BE49-F238E27FC236}">
                  <a16:creationId xmlns:a16="http://schemas.microsoft.com/office/drawing/2014/main" id="{CBBEAB51-4F40-48CE-AAEA-09B9EEFC5E25}"/>
                </a:ext>
              </a:extLst>
            </p:cNvPr>
            <p:cNvSpPr txBox="1"/>
            <p:nvPr/>
          </p:nvSpPr>
          <p:spPr>
            <a:xfrm>
              <a:off x="1049935" y="1822087"/>
              <a:ext cx="11137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b="1" dirty="0"/>
                <a:t>H-60min</a:t>
              </a:r>
            </a:p>
          </p:txBody>
        </p:sp>
        <p:sp>
          <p:nvSpPr>
            <p:cNvPr id="27" name="Rectangle à coins arrondis 20">
              <a:extLst>
                <a:ext uri="{FF2B5EF4-FFF2-40B4-BE49-F238E27FC236}">
                  <a16:creationId xmlns:a16="http://schemas.microsoft.com/office/drawing/2014/main" id="{37E90B40-B27E-4C40-9E64-6A5395F5CB9C}"/>
                </a:ext>
              </a:extLst>
            </p:cNvPr>
            <p:cNvSpPr/>
            <p:nvPr/>
          </p:nvSpPr>
          <p:spPr>
            <a:xfrm>
              <a:off x="376306" y="857205"/>
              <a:ext cx="1411056" cy="612068"/>
            </a:xfrm>
            <a:prstGeom prst="wedgeRoundRectCallout">
              <a:avLst>
                <a:gd name="adj1" fmla="val 33140"/>
                <a:gd name="adj2" fmla="val 112670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RR</a:t>
              </a:r>
              <a:r>
                <a:rPr lang="en-US" sz="1000" dirty="0"/>
                <a:t> </a:t>
              </a:r>
              <a:r>
                <a:rPr lang="en-US" sz="1000" b="1" dirty="0"/>
                <a:t>Balancing Energy Gate Closure Time</a:t>
              </a:r>
              <a:endParaRPr lang="sv-SE" sz="1000" dirty="0"/>
            </a:p>
          </p:txBody>
        </p:sp>
        <p:sp>
          <p:nvSpPr>
            <p:cNvPr id="28" name="Rectangle à coins arrondis 21">
              <a:extLst>
                <a:ext uri="{FF2B5EF4-FFF2-40B4-BE49-F238E27FC236}">
                  <a16:creationId xmlns:a16="http://schemas.microsoft.com/office/drawing/2014/main" id="{144074FD-C788-4516-B652-BBDC04E22EC8}"/>
                </a:ext>
              </a:extLst>
            </p:cNvPr>
            <p:cNvSpPr/>
            <p:nvPr/>
          </p:nvSpPr>
          <p:spPr>
            <a:xfrm>
              <a:off x="3328234" y="899417"/>
              <a:ext cx="1257659" cy="569856"/>
            </a:xfrm>
            <a:prstGeom prst="wedgeRoundRectCallout">
              <a:avLst>
                <a:gd name="adj1" fmla="val -66806"/>
                <a:gd name="adj2" fmla="val 117789"/>
                <a:gd name="adj3" fmla="val 1666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/>
                <a:t>TSO Energy Bid Submission Gate Closure Time</a:t>
              </a:r>
              <a:endParaRPr lang="sv-SE" sz="1000" dirty="0"/>
            </a:p>
          </p:txBody>
        </p:sp>
        <p:sp>
          <p:nvSpPr>
            <p:cNvPr id="29" name="ZoneTexte 22">
              <a:extLst>
                <a:ext uri="{FF2B5EF4-FFF2-40B4-BE49-F238E27FC236}">
                  <a16:creationId xmlns:a16="http://schemas.microsoft.com/office/drawing/2014/main" id="{D47F4927-C6C5-4842-9565-586DB97B1560}"/>
                </a:ext>
              </a:extLst>
            </p:cNvPr>
            <p:cNvSpPr txBox="1"/>
            <p:nvPr/>
          </p:nvSpPr>
          <p:spPr>
            <a:xfrm>
              <a:off x="7018115" y="2497369"/>
              <a:ext cx="100181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Delivery period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A7C485B-28AE-4C2C-8DE7-8347D0594E13}"/>
                </a:ext>
              </a:extLst>
            </p:cNvPr>
            <p:cNvSpPr/>
            <p:nvPr/>
          </p:nvSpPr>
          <p:spPr>
            <a:xfrm>
              <a:off x="7023439" y="2384499"/>
              <a:ext cx="996487" cy="11287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1" name="ZoneTexte 24">
              <a:extLst>
                <a:ext uri="{FF2B5EF4-FFF2-40B4-BE49-F238E27FC236}">
                  <a16:creationId xmlns:a16="http://schemas.microsoft.com/office/drawing/2014/main" id="{B1EC22A9-7448-49BA-9BE5-3911B40AE1A2}"/>
                </a:ext>
              </a:extLst>
            </p:cNvPr>
            <p:cNvSpPr txBox="1"/>
            <p:nvPr/>
          </p:nvSpPr>
          <p:spPr>
            <a:xfrm>
              <a:off x="6045413" y="2513010"/>
              <a:ext cx="116781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Activation period</a:t>
              </a:r>
            </a:p>
          </p:txBody>
        </p:sp>
        <p:sp>
          <p:nvSpPr>
            <p:cNvPr id="32" name="ZoneTexte 25">
              <a:extLst>
                <a:ext uri="{FF2B5EF4-FFF2-40B4-BE49-F238E27FC236}">
                  <a16:creationId xmlns:a16="http://schemas.microsoft.com/office/drawing/2014/main" id="{68519F48-8F0B-40BF-BD78-37BE7084B288}"/>
                </a:ext>
              </a:extLst>
            </p:cNvPr>
            <p:cNvSpPr txBox="1"/>
            <p:nvPr/>
          </p:nvSpPr>
          <p:spPr>
            <a:xfrm>
              <a:off x="4404920" y="2441288"/>
              <a:ext cx="138501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Results communication and verification phase</a:t>
              </a:r>
            </a:p>
          </p:txBody>
        </p:sp>
        <p:sp>
          <p:nvSpPr>
            <p:cNvPr id="33" name="ZoneTexte 26">
              <a:extLst>
                <a:ext uri="{FF2B5EF4-FFF2-40B4-BE49-F238E27FC236}">
                  <a16:creationId xmlns:a16="http://schemas.microsoft.com/office/drawing/2014/main" id="{AADF677F-C63B-410B-9523-25A1966A9717}"/>
                </a:ext>
              </a:extLst>
            </p:cNvPr>
            <p:cNvSpPr txBox="1"/>
            <p:nvPr/>
          </p:nvSpPr>
          <p:spPr>
            <a:xfrm>
              <a:off x="3276624" y="2441714"/>
              <a:ext cx="9842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Clearing phase</a:t>
              </a:r>
            </a:p>
          </p:txBody>
        </p:sp>
        <p:sp>
          <p:nvSpPr>
            <p:cNvPr id="34" name="ZoneTexte 27">
              <a:extLst>
                <a:ext uri="{FF2B5EF4-FFF2-40B4-BE49-F238E27FC236}">
                  <a16:creationId xmlns:a16="http://schemas.microsoft.com/office/drawing/2014/main" id="{03EFA7E1-D080-46F7-97AE-F9BA082A91A7}"/>
                </a:ext>
              </a:extLst>
            </p:cNvPr>
            <p:cNvSpPr txBox="1"/>
            <p:nvPr/>
          </p:nvSpPr>
          <p:spPr>
            <a:xfrm>
              <a:off x="1549311" y="2465475"/>
              <a:ext cx="11370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Tendering phase</a:t>
              </a:r>
            </a:p>
          </p:txBody>
        </p:sp>
        <p:sp>
          <p:nvSpPr>
            <p:cNvPr id="35" name="ZoneTexte 28">
              <a:extLst>
                <a:ext uri="{FF2B5EF4-FFF2-40B4-BE49-F238E27FC236}">
                  <a16:creationId xmlns:a16="http://schemas.microsoft.com/office/drawing/2014/main" id="{48633E1E-BC9C-49E3-8DD4-F2397C6B3A40}"/>
                </a:ext>
              </a:extLst>
            </p:cNvPr>
            <p:cNvSpPr txBox="1"/>
            <p:nvPr/>
          </p:nvSpPr>
          <p:spPr>
            <a:xfrm>
              <a:off x="283739" y="2478144"/>
              <a:ext cx="14029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Pre-tendering phase</a:t>
              </a:r>
            </a:p>
          </p:txBody>
        </p:sp>
        <p:sp>
          <p:nvSpPr>
            <p:cNvPr id="36" name="Parenthèse ouvrante 30">
              <a:extLst>
                <a:ext uri="{FF2B5EF4-FFF2-40B4-BE49-F238E27FC236}">
                  <a16:creationId xmlns:a16="http://schemas.microsoft.com/office/drawing/2014/main" id="{0B649D1A-37F3-40BF-9040-B4B3195D997E}"/>
                </a:ext>
              </a:extLst>
            </p:cNvPr>
            <p:cNvSpPr/>
            <p:nvPr/>
          </p:nvSpPr>
          <p:spPr>
            <a:xfrm rot="16200000">
              <a:off x="4333083" y="2826593"/>
              <a:ext cx="323549" cy="2689574"/>
            </a:xfrm>
            <a:prstGeom prst="lef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7" name="Parenthèse ouvrante 31">
              <a:extLst>
                <a:ext uri="{FF2B5EF4-FFF2-40B4-BE49-F238E27FC236}">
                  <a16:creationId xmlns:a16="http://schemas.microsoft.com/office/drawing/2014/main" id="{29FE9307-C530-464B-8B57-6C98745428AD}"/>
                </a:ext>
              </a:extLst>
            </p:cNvPr>
            <p:cNvSpPr/>
            <p:nvPr/>
          </p:nvSpPr>
          <p:spPr>
            <a:xfrm rot="16200000">
              <a:off x="2071423" y="3456257"/>
              <a:ext cx="323549" cy="1442385"/>
            </a:xfrm>
            <a:prstGeom prst="lef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8" name="Parenthèse ouvrante 32">
              <a:extLst>
                <a:ext uri="{FF2B5EF4-FFF2-40B4-BE49-F238E27FC236}">
                  <a16:creationId xmlns:a16="http://schemas.microsoft.com/office/drawing/2014/main" id="{2F27DDC1-C6E5-478A-8123-09DD4C55D316}"/>
                </a:ext>
              </a:extLst>
            </p:cNvPr>
            <p:cNvSpPr/>
            <p:nvPr/>
          </p:nvSpPr>
          <p:spPr>
            <a:xfrm rot="16200000">
              <a:off x="6753354" y="3101966"/>
              <a:ext cx="296310" cy="2123723"/>
            </a:xfrm>
            <a:prstGeom prst="lef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9" name="ZoneTexte 33">
              <a:extLst>
                <a:ext uri="{FF2B5EF4-FFF2-40B4-BE49-F238E27FC236}">
                  <a16:creationId xmlns:a16="http://schemas.microsoft.com/office/drawing/2014/main" id="{568C79FF-1A44-4529-A5CC-205CA3F0B0CD}"/>
                </a:ext>
              </a:extLst>
            </p:cNvPr>
            <p:cNvSpPr txBox="1"/>
            <p:nvPr/>
          </p:nvSpPr>
          <p:spPr>
            <a:xfrm>
              <a:off x="1645086" y="4125155"/>
              <a:ext cx="11370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TSO responsibility</a:t>
              </a:r>
            </a:p>
          </p:txBody>
        </p:sp>
        <p:sp>
          <p:nvSpPr>
            <p:cNvPr id="40" name="ZoneTexte 34">
              <a:extLst>
                <a:ext uri="{FF2B5EF4-FFF2-40B4-BE49-F238E27FC236}">
                  <a16:creationId xmlns:a16="http://schemas.microsoft.com/office/drawing/2014/main" id="{6D17DB01-FF49-4FCE-B083-55B6A156332B}"/>
                </a:ext>
              </a:extLst>
            </p:cNvPr>
            <p:cNvSpPr txBox="1"/>
            <p:nvPr/>
          </p:nvSpPr>
          <p:spPr>
            <a:xfrm>
              <a:off x="3522826" y="4100517"/>
              <a:ext cx="210585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Common platform responsibility</a:t>
              </a:r>
            </a:p>
          </p:txBody>
        </p:sp>
        <p:sp>
          <p:nvSpPr>
            <p:cNvPr id="41" name="ZoneTexte 36">
              <a:extLst>
                <a:ext uri="{FF2B5EF4-FFF2-40B4-BE49-F238E27FC236}">
                  <a16:creationId xmlns:a16="http://schemas.microsoft.com/office/drawing/2014/main" id="{15094D1B-E638-4BDB-9A2F-A8BAC595A24C}"/>
                </a:ext>
              </a:extLst>
            </p:cNvPr>
            <p:cNvSpPr txBox="1"/>
            <p:nvPr/>
          </p:nvSpPr>
          <p:spPr>
            <a:xfrm>
              <a:off x="6501727" y="4096811"/>
              <a:ext cx="11370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TSO responsibility</a:t>
              </a:r>
            </a:p>
          </p:txBody>
        </p:sp>
        <p:sp>
          <p:nvSpPr>
            <p:cNvPr id="42" name="ZoneTexte 37">
              <a:extLst>
                <a:ext uri="{FF2B5EF4-FFF2-40B4-BE49-F238E27FC236}">
                  <a16:creationId xmlns:a16="http://schemas.microsoft.com/office/drawing/2014/main" id="{CB7DAD58-DFE6-44A9-9DDB-B1244D27BEDB}"/>
                </a:ext>
              </a:extLst>
            </p:cNvPr>
            <p:cNvSpPr txBox="1"/>
            <p:nvPr/>
          </p:nvSpPr>
          <p:spPr>
            <a:xfrm>
              <a:off x="245762" y="3023556"/>
              <a:ext cx="140296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- BSPs submit offers </a:t>
              </a:r>
            </a:p>
            <a:p>
              <a:r>
                <a:rPr lang="sv-SE" sz="1000" dirty="0"/>
                <a:t>to TSOs</a:t>
              </a:r>
            </a:p>
          </p:txBody>
        </p:sp>
        <p:sp>
          <p:nvSpPr>
            <p:cNvPr id="43" name="ZoneTexte 38">
              <a:extLst>
                <a:ext uri="{FF2B5EF4-FFF2-40B4-BE49-F238E27FC236}">
                  <a16:creationId xmlns:a16="http://schemas.microsoft.com/office/drawing/2014/main" id="{7227AC7D-0868-4BEC-9F3C-884D512DDF0E}"/>
                </a:ext>
              </a:extLst>
            </p:cNvPr>
            <p:cNvSpPr txBox="1"/>
            <p:nvPr/>
          </p:nvSpPr>
          <p:spPr>
            <a:xfrm>
              <a:off x="1525292" y="3023556"/>
              <a:ext cx="1624777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- submit imbalance needs </a:t>
              </a:r>
            </a:p>
            <a:p>
              <a:r>
                <a:rPr lang="sv-SE" sz="1000" dirty="0"/>
                <a:t>- submit offers</a:t>
              </a:r>
            </a:p>
            <a:p>
              <a:r>
                <a:rPr lang="sv-SE" sz="1000" dirty="0"/>
                <a:t>- submit ATC</a:t>
              </a:r>
            </a:p>
            <a:p>
              <a:r>
                <a:rPr lang="sv-SE" sz="1000" dirty="0"/>
                <a:t>- submit HVDC constraints and schedules (optional)</a:t>
              </a:r>
            </a:p>
          </p:txBody>
        </p:sp>
        <p:sp>
          <p:nvSpPr>
            <p:cNvPr id="44" name="ZoneTexte 39">
              <a:extLst>
                <a:ext uri="{FF2B5EF4-FFF2-40B4-BE49-F238E27FC236}">
                  <a16:creationId xmlns:a16="http://schemas.microsoft.com/office/drawing/2014/main" id="{373A8A94-E8CE-4B11-B0CB-9B4224B6E54F}"/>
                </a:ext>
              </a:extLst>
            </p:cNvPr>
            <p:cNvSpPr txBox="1"/>
            <p:nvPr/>
          </p:nvSpPr>
          <p:spPr>
            <a:xfrm>
              <a:off x="3096287" y="3043337"/>
              <a:ext cx="162477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- allocate offers to needs</a:t>
              </a:r>
            </a:p>
            <a:p>
              <a:r>
                <a:rPr lang="sv-SE" sz="1000" dirty="0"/>
                <a:t>- determine prices</a:t>
              </a:r>
            </a:p>
            <a:p>
              <a:r>
                <a:rPr lang="sv-SE" sz="1000" dirty="0"/>
                <a:t>- calculate XB schedules</a:t>
              </a:r>
            </a:p>
          </p:txBody>
        </p:sp>
        <p:sp>
          <p:nvSpPr>
            <p:cNvPr id="45" name="ZoneTexte 40">
              <a:extLst>
                <a:ext uri="{FF2B5EF4-FFF2-40B4-BE49-F238E27FC236}">
                  <a16:creationId xmlns:a16="http://schemas.microsoft.com/office/drawing/2014/main" id="{874A3006-5922-4D14-9A32-239CE5D9463A}"/>
                </a:ext>
              </a:extLst>
            </p:cNvPr>
            <p:cNvSpPr txBox="1"/>
            <p:nvPr/>
          </p:nvSpPr>
          <p:spPr>
            <a:xfrm>
              <a:off x="6044563" y="3086550"/>
              <a:ext cx="109666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- Activate offers</a:t>
              </a:r>
            </a:p>
          </p:txBody>
        </p:sp>
        <p:sp>
          <p:nvSpPr>
            <p:cNvPr id="46" name="ZoneTexte 41">
              <a:extLst>
                <a:ext uri="{FF2B5EF4-FFF2-40B4-BE49-F238E27FC236}">
                  <a16:creationId xmlns:a16="http://schemas.microsoft.com/office/drawing/2014/main" id="{7FE2DAE3-D940-4CF0-BDD5-FE7730A35075}"/>
                </a:ext>
              </a:extLst>
            </p:cNvPr>
            <p:cNvSpPr txBox="1"/>
            <p:nvPr/>
          </p:nvSpPr>
          <p:spPr>
            <a:xfrm>
              <a:off x="4476928" y="3051845"/>
              <a:ext cx="162477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- send accepted offers </a:t>
              </a:r>
            </a:p>
            <a:p>
              <a:r>
                <a:rPr lang="sv-SE" sz="1000" dirty="0"/>
                <a:t>     &amp; satisfied needs</a:t>
              </a:r>
            </a:p>
            <a:p>
              <a:r>
                <a:rPr lang="sv-SE" sz="1000" dirty="0"/>
                <a:t>- send XB schedules</a:t>
              </a:r>
            </a:p>
            <a:p>
              <a:r>
                <a:rPr lang="sv-SE" sz="1000" dirty="0"/>
                <a:t>- send clearing prices</a:t>
              </a:r>
            </a:p>
            <a:p>
              <a:r>
                <a:rPr lang="sv-SE" sz="1000" dirty="0"/>
                <a:t>- send remaining ATC</a:t>
              </a:r>
            </a:p>
            <a:p>
              <a:r>
                <a:rPr lang="sv-SE" sz="1000" dirty="0"/>
                <a:t>- send net positions</a:t>
              </a:r>
            </a:p>
          </p:txBody>
        </p:sp>
        <p:cxnSp>
          <p:nvCxnSpPr>
            <p:cNvPr id="47" name="Connecteur droit 42">
              <a:extLst>
                <a:ext uri="{FF2B5EF4-FFF2-40B4-BE49-F238E27FC236}">
                  <a16:creationId xmlns:a16="http://schemas.microsoft.com/office/drawing/2014/main" id="{BC4B5D85-56BE-4B52-8469-4FF540EF2BBB}"/>
                </a:ext>
              </a:extLst>
            </p:cNvPr>
            <p:cNvCxnSpPr/>
            <p:nvPr/>
          </p:nvCxnSpPr>
          <p:spPr>
            <a:xfrm>
              <a:off x="8921912" y="2165382"/>
              <a:ext cx="0" cy="50405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Parenthèse ouvrante 44">
              <a:extLst>
                <a:ext uri="{FF2B5EF4-FFF2-40B4-BE49-F238E27FC236}">
                  <a16:creationId xmlns:a16="http://schemas.microsoft.com/office/drawing/2014/main" id="{32A4E79E-6603-485E-A97A-C2AF450EFE2A}"/>
                </a:ext>
              </a:extLst>
            </p:cNvPr>
            <p:cNvSpPr/>
            <p:nvPr/>
          </p:nvSpPr>
          <p:spPr>
            <a:xfrm rot="16200000">
              <a:off x="8347782" y="3690457"/>
              <a:ext cx="324167" cy="971792"/>
            </a:xfrm>
            <a:prstGeom prst="lef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9" name="ZoneTexte 45">
              <a:extLst>
                <a:ext uri="{FF2B5EF4-FFF2-40B4-BE49-F238E27FC236}">
                  <a16:creationId xmlns:a16="http://schemas.microsoft.com/office/drawing/2014/main" id="{BFBEF0AB-A38D-4C2A-A7FC-D0A52F8F82ED}"/>
                </a:ext>
              </a:extLst>
            </p:cNvPr>
            <p:cNvSpPr txBox="1"/>
            <p:nvPr/>
          </p:nvSpPr>
          <p:spPr>
            <a:xfrm>
              <a:off x="8106177" y="3813705"/>
              <a:ext cx="88958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Common</a:t>
              </a:r>
            </a:p>
            <a:p>
              <a:r>
                <a:rPr lang="sv-SE" sz="1000" dirty="0"/>
                <a:t>platform </a:t>
              </a:r>
            </a:p>
            <a:p>
              <a:r>
                <a:rPr lang="sv-SE" sz="1000" dirty="0"/>
                <a:t>responsibility</a:t>
              </a:r>
            </a:p>
          </p:txBody>
        </p:sp>
        <p:sp>
          <p:nvSpPr>
            <p:cNvPr id="50" name="ZoneTexte 46">
              <a:extLst>
                <a:ext uri="{FF2B5EF4-FFF2-40B4-BE49-F238E27FC236}">
                  <a16:creationId xmlns:a16="http://schemas.microsoft.com/office/drawing/2014/main" id="{E9543D4E-589C-483B-9E04-9878967CBC68}"/>
                </a:ext>
              </a:extLst>
            </p:cNvPr>
            <p:cNvSpPr txBox="1"/>
            <p:nvPr/>
          </p:nvSpPr>
          <p:spPr>
            <a:xfrm>
              <a:off x="7963777" y="3073431"/>
              <a:ext cx="109666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000" dirty="0"/>
                <a:t>- Submit transparency data</a:t>
              </a:r>
            </a:p>
          </p:txBody>
        </p:sp>
      </p:grpSp>
      <p:sp>
        <p:nvSpPr>
          <p:cNvPr id="51" name="Rectangular Callout 4">
            <a:extLst>
              <a:ext uri="{FF2B5EF4-FFF2-40B4-BE49-F238E27FC236}">
                <a16:creationId xmlns:a16="http://schemas.microsoft.com/office/drawing/2014/main" id="{C29ACDBD-C469-47C3-9819-3967F61279E5}"/>
              </a:ext>
            </a:extLst>
          </p:cNvPr>
          <p:cNvSpPr/>
          <p:nvPr/>
        </p:nvSpPr>
        <p:spPr>
          <a:xfrm>
            <a:off x="1899306" y="1167645"/>
            <a:ext cx="1267692" cy="565849"/>
          </a:xfrm>
          <a:prstGeom prst="wedgeRectCallout">
            <a:avLst>
              <a:gd name="adj1" fmla="val -58513"/>
              <a:gd name="adj2" fmla="val 98374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justed to H-55 end of 2020*</a:t>
            </a:r>
          </a:p>
        </p:txBody>
      </p:sp>
      <p:sp>
        <p:nvSpPr>
          <p:cNvPr id="53" name="TextBox 3">
            <a:extLst>
              <a:ext uri="{FF2B5EF4-FFF2-40B4-BE49-F238E27FC236}">
                <a16:creationId xmlns:a16="http://schemas.microsoft.com/office/drawing/2014/main" id="{F241F60C-F917-4DCA-9E37-389A5807CEB4}"/>
              </a:ext>
            </a:extLst>
          </p:cNvPr>
          <p:cNvSpPr txBox="1"/>
          <p:nvPr/>
        </p:nvSpPr>
        <p:spPr>
          <a:xfrm>
            <a:off x="179512" y="4725144"/>
            <a:ext cx="56394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/>
              <a:t>RR process consists of the following phas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pre-tendering ph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tendering ph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clearing ph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results communication and verification ph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54" name="TextBox 3">
            <a:extLst>
              <a:ext uri="{FF2B5EF4-FFF2-40B4-BE49-F238E27FC236}">
                <a16:creationId xmlns:a16="http://schemas.microsoft.com/office/drawing/2014/main" id="{FD877157-4D3A-4931-A9DE-2DE561C4487E}"/>
              </a:ext>
            </a:extLst>
          </p:cNvPr>
          <p:cNvSpPr txBox="1"/>
          <p:nvPr/>
        </p:nvSpPr>
        <p:spPr>
          <a:xfrm>
            <a:off x="5421052" y="5013176"/>
            <a:ext cx="4098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activation pha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delivery phase</a:t>
            </a:r>
          </a:p>
        </p:txBody>
      </p:sp>
      <p:cxnSp>
        <p:nvCxnSpPr>
          <p:cNvPr id="52" name="Connecteur droit 12">
            <a:extLst>
              <a:ext uri="{FF2B5EF4-FFF2-40B4-BE49-F238E27FC236}">
                <a16:creationId xmlns:a16="http://schemas.microsoft.com/office/drawing/2014/main" id="{BFA7FF8E-9E1C-4A9F-B717-28C6737146C6}"/>
              </a:ext>
            </a:extLst>
          </p:cNvPr>
          <p:cNvCxnSpPr/>
          <p:nvPr/>
        </p:nvCxnSpPr>
        <p:spPr>
          <a:xfrm>
            <a:off x="6006035" y="2451418"/>
            <a:ext cx="0" cy="504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ZoneTexte 13">
            <a:extLst>
              <a:ext uri="{FF2B5EF4-FFF2-40B4-BE49-F238E27FC236}">
                <a16:creationId xmlns:a16="http://schemas.microsoft.com/office/drawing/2014/main" id="{FF24E67B-B7E5-4725-89CA-48A20B38B872}"/>
              </a:ext>
            </a:extLst>
          </p:cNvPr>
          <p:cNvSpPr txBox="1"/>
          <p:nvPr/>
        </p:nvSpPr>
        <p:spPr>
          <a:xfrm>
            <a:off x="5652120" y="2113111"/>
            <a:ext cx="1113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b="1" dirty="0"/>
              <a:t>H-30 min</a:t>
            </a:r>
          </a:p>
        </p:txBody>
      </p:sp>
      <p:sp>
        <p:nvSpPr>
          <p:cNvPr id="56" name="Rectangle à coins arrondis 21">
            <a:extLst>
              <a:ext uri="{FF2B5EF4-FFF2-40B4-BE49-F238E27FC236}">
                <a16:creationId xmlns:a16="http://schemas.microsoft.com/office/drawing/2014/main" id="{3D55FBEF-F3C0-42F1-B576-36C766E85DA2}"/>
              </a:ext>
            </a:extLst>
          </p:cNvPr>
          <p:cNvSpPr/>
          <p:nvPr/>
        </p:nvSpPr>
        <p:spPr>
          <a:xfrm>
            <a:off x="5850095" y="3073176"/>
            <a:ext cx="1081155" cy="1177026"/>
          </a:xfrm>
          <a:custGeom>
            <a:avLst/>
            <a:gdLst>
              <a:gd name="connsiteX0" fmla="*/ 0 w 889582"/>
              <a:gd name="connsiteY0" fmla="*/ 94978 h 569856"/>
              <a:gd name="connsiteX1" fmla="*/ 94978 w 889582"/>
              <a:gd name="connsiteY1" fmla="*/ 0 h 569856"/>
              <a:gd name="connsiteX2" fmla="*/ 148264 w 889582"/>
              <a:gd name="connsiteY2" fmla="*/ 0 h 569856"/>
              <a:gd name="connsiteX3" fmla="*/ 16324 w 889582"/>
              <a:gd name="connsiteY3" fmla="*/ -607170 h 569856"/>
              <a:gd name="connsiteX4" fmla="*/ 370659 w 889582"/>
              <a:gd name="connsiteY4" fmla="*/ 0 h 569856"/>
              <a:gd name="connsiteX5" fmla="*/ 794604 w 889582"/>
              <a:gd name="connsiteY5" fmla="*/ 0 h 569856"/>
              <a:gd name="connsiteX6" fmla="*/ 889582 w 889582"/>
              <a:gd name="connsiteY6" fmla="*/ 94978 h 569856"/>
              <a:gd name="connsiteX7" fmla="*/ 889582 w 889582"/>
              <a:gd name="connsiteY7" fmla="*/ 94976 h 569856"/>
              <a:gd name="connsiteX8" fmla="*/ 889582 w 889582"/>
              <a:gd name="connsiteY8" fmla="*/ 94976 h 569856"/>
              <a:gd name="connsiteX9" fmla="*/ 889582 w 889582"/>
              <a:gd name="connsiteY9" fmla="*/ 237440 h 569856"/>
              <a:gd name="connsiteX10" fmla="*/ 889582 w 889582"/>
              <a:gd name="connsiteY10" fmla="*/ 474878 h 569856"/>
              <a:gd name="connsiteX11" fmla="*/ 794604 w 889582"/>
              <a:gd name="connsiteY11" fmla="*/ 569856 h 569856"/>
              <a:gd name="connsiteX12" fmla="*/ 370659 w 889582"/>
              <a:gd name="connsiteY12" fmla="*/ 569856 h 569856"/>
              <a:gd name="connsiteX13" fmla="*/ 148264 w 889582"/>
              <a:gd name="connsiteY13" fmla="*/ 569856 h 569856"/>
              <a:gd name="connsiteX14" fmla="*/ 148264 w 889582"/>
              <a:gd name="connsiteY14" fmla="*/ 569856 h 569856"/>
              <a:gd name="connsiteX15" fmla="*/ 94978 w 889582"/>
              <a:gd name="connsiteY15" fmla="*/ 569856 h 569856"/>
              <a:gd name="connsiteX16" fmla="*/ 0 w 889582"/>
              <a:gd name="connsiteY16" fmla="*/ 474878 h 569856"/>
              <a:gd name="connsiteX17" fmla="*/ 0 w 889582"/>
              <a:gd name="connsiteY17" fmla="*/ 237440 h 569856"/>
              <a:gd name="connsiteX18" fmla="*/ 0 w 889582"/>
              <a:gd name="connsiteY18" fmla="*/ 94976 h 569856"/>
              <a:gd name="connsiteX19" fmla="*/ 0 w 889582"/>
              <a:gd name="connsiteY19" fmla="*/ 94976 h 569856"/>
              <a:gd name="connsiteX20" fmla="*/ 0 w 889582"/>
              <a:gd name="connsiteY20" fmla="*/ 94978 h 569856"/>
              <a:gd name="connsiteX0" fmla="*/ 0 w 889582"/>
              <a:gd name="connsiteY0" fmla="*/ 702148 h 1177026"/>
              <a:gd name="connsiteX1" fmla="*/ 94978 w 889582"/>
              <a:gd name="connsiteY1" fmla="*/ 607170 h 1177026"/>
              <a:gd name="connsiteX2" fmla="*/ 148264 w 889582"/>
              <a:gd name="connsiteY2" fmla="*/ 607170 h 1177026"/>
              <a:gd name="connsiteX3" fmla="*/ 16324 w 889582"/>
              <a:gd name="connsiteY3" fmla="*/ 0 h 1177026"/>
              <a:gd name="connsiteX4" fmla="*/ 149434 w 889582"/>
              <a:gd name="connsiteY4" fmla="*/ 607170 h 1177026"/>
              <a:gd name="connsiteX5" fmla="*/ 794604 w 889582"/>
              <a:gd name="connsiteY5" fmla="*/ 607170 h 1177026"/>
              <a:gd name="connsiteX6" fmla="*/ 889582 w 889582"/>
              <a:gd name="connsiteY6" fmla="*/ 702148 h 1177026"/>
              <a:gd name="connsiteX7" fmla="*/ 889582 w 889582"/>
              <a:gd name="connsiteY7" fmla="*/ 702146 h 1177026"/>
              <a:gd name="connsiteX8" fmla="*/ 889582 w 889582"/>
              <a:gd name="connsiteY8" fmla="*/ 702146 h 1177026"/>
              <a:gd name="connsiteX9" fmla="*/ 889582 w 889582"/>
              <a:gd name="connsiteY9" fmla="*/ 844610 h 1177026"/>
              <a:gd name="connsiteX10" fmla="*/ 889582 w 889582"/>
              <a:gd name="connsiteY10" fmla="*/ 1082048 h 1177026"/>
              <a:gd name="connsiteX11" fmla="*/ 794604 w 889582"/>
              <a:gd name="connsiteY11" fmla="*/ 1177026 h 1177026"/>
              <a:gd name="connsiteX12" fmla="*/ 370659 w 889582"/>
              <a:gd name="connsiteY12" fmla="*/ 1177026 h 1177026"/>
              <a:gd name="connsiteX13" fmla="*/ 148264 w 889582"/>
              <a:gd name="connsiteY13" fmla="*/ 1177026 h 1177026"/>
              <a:gd name="connsiteX14" fmla="*/ 148264 w 889582"/>
              <a:gd name="connsiteY14" fmla="*/ 1177026 h 1177026"/>
              <a:gd name="connsiteX15" fmla="*/ 94978 w 889582"/>
              <a:gd name="connsiteY15" fmla="*/ 1177026 h 1177026"/>
              <a:gd name="connsiteX16" fmla="*/ 0 w 889582"/>
              <a:gd name="connsiteY16" fmla="*/ 1082048 h 1177026"/>
              <a:gd name="connsiteX17" fmla="*/ 0 w 889582"/>
              <a:gd name="connsiteY17" fmla="*/ 844610 h 1177026"/>
              <a:gd name="connsiteX18" fmla="*/ 0 w 889582"/>
              <a:gd name="connsiteY18" fmla="*/ 702146 h 1177026"/>
              <a:gd name="connsiteX19" fmla="*/ 0 w 889582"/>
              <a:gd name="connsiteY19" fmla="*/ 702146 h 1177026"/>
              <a:gd name="connsiteX20" fmla="*/ 0 w 889582"/>
              <a:gd name="connsiteY20" fmla="*/ 702148 h 1177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889582" h="1177026">
                <a:moveTo>
                  <a:pt x="0" y="702148"/>
                </a:moveTo>
                <a:cubicBezTo>
                  <a:pt x="0" y="649693"/>
                  <a:pt x="42523" y="607170"/>
                  <a:pt x="94978" y="607170"/>
                </a:cubicBezTo>
                <a:lnTo>
                  <a:pt x="148264" y="607170"/>
                </a:lnTo>
                <a:lnTo>
                  <a:pt x="16324" y="0"/>
                </a:lnTo>
                <a:lnTo>
                  <a:pt x="149434" y="607170"/>
                </a:lnTo>
                <a:lnTo>
                  <a:pt x="794604" y="607170"/>
                </a:lnTo>
                <a:cubicBezTo>
                  <a:pt x="847059" y="607170"/>
                  <a:pt x="889582" y="649693"/>
                  <a:pt x="889582" y="702148"/>
                </a:cubicBezTo>
                <a:lnTo>
                  <a:pt x="889582" y="702146"/>
                </a:lnTo>
                <a:lnTo>
                  <a:pt x="889582" y="702146"/>
                </a:lnTo>
                <a:lnTo>
                  <a:pt x="889582" y="844610"/>
                </a:lnTo>
                <a:lnTo>
                  <a:pt x="889582" y="1082048"/>
                </a:lnTo>
                <a:cubicBezTo>
                  <a:pt x="889582" y="1134503"/>
                  <a:pt x="847059" y="1177026"/>
                  <a:pt x="794604" y="1177026"/>
                </a:cubicBezTo>
                <a:lnTo>
                  <a:pt x="370659" y="1177026"/>
                </a:lnTo>
                <a:lnTo>
                  <a:pt x="148264" y="1177026"/>
                </a:lnTo>
                <a:lnTo>
                  <a:pt x="148264" y="1177026"/>
                </a:lnTo>
                <a:lnTo>
                  <a:pt x="94978" y="1177026"/>
                </a:lnTo>
                <a:cubicBezTo>
                  <a:pt x="42523" y="1177026"/>
                  <a:pt x="0" y="1134503"/>
                  <a:pt x="0" y="1082048"/>
                </a:cubicBezTo>
                <a:lnTo>
                  <a:pt x="0" y="844610"/>
                </a:lnTo>
                <a:lnTo>
                  <a:pt x="0" y="702146"/>
                </a:lnTo>
                <a:lnTo>
                  <a:pt x="0" y="702146"/>
                </a:lnTo>
                <a:lnTo>
                  <a:pt x="0" y="702148"/>
                </a:ln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 dirty="0">
              <a:solidFill>
                <a:schemeClr val="tx1"/>
              </a:solidFill>
            </a:endParaRPr>
          </a:p>
          <a:p>
            <a:endParaRPr lang="en-US" sz="1000" dirty="0">
              <a:solidFill>
                <a:schemeClr val="tx1"/>
              </a:solidFill>
            </a:endParaRPr>
          </a:p>
          <a:p>
            <a:endParaRPr lang="en-US" sz="1000" dirty="0">
              <a:solidFill>
                <a:schemeClr val="tx1"/>
              </a:solidFill>
            </a:endParaRPr>
          </a:p>
          <a:p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>
                <a:solidFill>
                  <a:schemeClr val="tx1"/>
                </a:solidFill>
              </a:rPr>
              <a:t>TSO BSP communication period</a:t>
            </a:r>
            <a:endParaRPr lang="sv-SE" sz="1000" dirty="0">
              <a:solidFill>
                <a:schemeClr val="tx1"/>
              </a:solidFill>
            </a:endParaRPr>
          </a:p>
        </p:txBody>
      </p:sp>
      <p:sp>
        <p:nvSpPr>
          <p:cNvPr id="57" name="TextBox 3">
            <a:extLst>
              <a:ext uri="{FF2B5EF4-FFF2-40B4-BE49-F238E27FC236}">
                <a16:creationId xmlns:a16="http://schemas.microsoft.com/office/drawing/2014/main" id="{7B41105C-C26A-4307-8B17-24B65A272606}"/>
              </a:ext>
            </a:extLst>
          </p:cNvPr>
          <p:cNvSpPr txBox="1"/>
          <p:nvPr/>
        </p:nvSpPr>
        <p:spPr>
          <a:xfrm>
            <a:off x="1019689" y="6308079"/>
            <a:ext cx="7104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GB" sz="1200" dirty="0"/>
              <a:t>* Ongoing assessment to determine whether all TSOs will be able to meet this deadline knowing the go live dates are postponed </a:t>
            </a:r>
          </a:p>
        </p:txBody>
      </p:sp>
    </p:spTree>
    <p:extLst>
      <p:ext uri="{BB962C8B-B14F-4D97-AF65-F5344CB8AC3E}">
        <p14:creationId xmlns:p14="http://schemas.microsoft.com/office/powerpoint/2010/main" val="29376125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pic 5: </a:t>
            </a:r>
            <a:r>
              <a:rPr lang="en-GB" dirty="0"/>
              <a:t>Parallel Run phase, BSP involvement and planning for Go-Live(s) </a:t>
            </a:r>
          </a:p>
        </p:txBody>
      </p:sp>
    </p:spTree>
    <p:extLst>
      <p:ext uri="{BB962C8B-B14F-4D97-AF65-F5344CB8AC3E}">
        <p14:creationId xmlns:p14="http://schemas.microsoft.com/office/powerpoint/2010/main" val="18894479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5. Parallel Run phase, BSP involvement and planning for Go-Live(s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B53106-A345-4FC3-89EA-4D8F0277B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1800" dirty="0"/>
              <a:t>Verify correct interaction of platform and TSO systems when all connected – prove that configuration is correct and all data &amp; message paths fully functional</a:t>
            </a:r>
          </a:p>
          <a:p>
            <a:r>
              <a:rPr lang="en-GB" sz="1800" dirty="0"/>
              <a:t>Check on operational procedures and exception handling, including human communication paths and processes, fall-back procedures</a:t>
            </a:r>
          </a:p>
          <a:p>
            <a:r>
              <a:rPr lang="en-GB" sz="1800" dirty="0"/>
              <a:t>Demonstrate end-to-end process operation</a:t>
            </a:r>
          </a:p>
          <a:p>
            <a:r>
              <a:rPr lang="en-GB" sz="1800" dirty="0"/>
              <a:t>Gain experience of result of optimisation with data as close to “real-life” as possible</a:t>
            </a:r>
          </a:p>
          <a:p>
            <a:r>
              <a:rPr lang="en-GB" sz="1800" dirty="0"/>
              <a:t>Confirm readiness for Go-Liv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F68424-1983-4322-88BA-6D278383D6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Objective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4089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5. Parallel Run phase, BSP involvement and planning for Go-Live(s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B53106-A345-4FC3-89EA-4D8F0277B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1800" dirty="0"/>
              <a:t>All platform functions including financial outputs</a:t>
            </a:r>
          </a:p>
          <a:p>
            <a:r>
              <a:rPr lang="en-GB" sz="1800" dirty="0"/>
              <a:t>West Region only – all TSOs in the region (though not necessarily starting at the same time)</a:t>
            </a:r>
          </a:p>
          <a:p>
            <a:r>
              <a:rPr lang="en-GB" sz="1800" dirty="0"/>
              <a:t>All bid types</a:t>
            </a:r>
          </a:p>
          <a:p>
            <a:r>
              <a:rPr lang="en-GB" sz="1800" dirty="0"/>
              <a:t>Use of Desired Flow Ranges</a:t>
            </a:r>
          </a:p>
          <a:p>
            <a:r>
              <a:rPr lang="en-GB" sz="1800" dirty="0"/>
              <a:t>Area de-coupl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F68424-1983-4322-88BA-6D278383D6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cope</a:t>
            </a:r>
          </a:p>
        </p:txBody>
      </p:sp>
    </p:spTree>
    <p:extLst>
      <p:ext uri="{BB962C8B-B14F-4D97-AF65-F5344CB8AC3E}">
        <p14:creationId xmlns:p14="http://schemas.microsoft.com/office/powerpoint/2010/main" val="1280443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5. Parallel Run phase, BSP involvement and planning for Go-Liv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848" y="1124744"/>
            <a:ext cx="8229600" cy="5418906"/>
          </a:xfrm>
          <a:ln>
            <a:noFill/>
          </a:ln>
        </p:spPr>
        <p:txBody>
          <a:bodyPr>
            <a:normAutofit/>
          </a:bodyPr>
          <a:lstStyle/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  <a:p>
            <a:r>
              <a:rPr lang="en-GB" sz="1800" dirty="0"/>
              <a:t>These new forecasts will require requests for derogation which will be submitted to NRAs for approval   </a:t>
            </a:r>
          </a:p>
          <a:p>
            <a:endParaRPr lang="en-GB" sz="1800" dirty="0"/>
          </a:p>
          <a:p>
            <a:endParaRPr lang="en-GB" sz="1600" dirty="0"/>
          </a:p>
          <a:p>
            <a:pPr marL="457200" lvl="1" indent="0">
              <a:buNone/>
            </a:pPr>
            <a:endParaRPr lang="en-GB" sz="1600" dirty="0"/>
          </a:p>
          <a:p>
            <a:endParaRPr lang="en-GB" sz="1800" dirty="0"/>
          </a:p>
          <a:p>
            <a:pPr marL="457200" lvl="1" indent="0">
              <a:buNone/>
            </a:pPr>
            <a:endParaRPr lang="en-GB" sz="1600" dirty="0"/>
          </a:p>
          <a:p>
            <a:endParaRPr lang="en-GB" sz="2000" dirty="0"/>
          </a:p>
          <a:p>
            <a:endParaRPr lang="en-GB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o live forecasts</a:t>
            </a:r>
            <a:endParaRPr lang="en-GB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B47DA30-9445-4578-8D84-CE57415B1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252199"/>
              </p:ext>
            </p:extLst>
          </p:nvPr>
        </p:nvGraphicFramePr>
        <p:xfrm>
          <a:off x="2483768" y="1385462"/>
          <a:ext cx="4163634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3268633147"/>
                    </a:ext>
                  </a:extLst>
                </a:gridCol>
                <a:gridCol w="2363434">
                  <a:extLst>
                    <a:ext uri="{9D8B030D-6E8A-4147-A177-3AD203B41FA5}">
                      <a16:colId xmlns:a16="http://schemas.microsoft.com/office/drawing/2014/main" val="5428898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TS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Go live foreca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5937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CE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December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0937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R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Q1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0178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R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Q1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1574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S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Q2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24531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TER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Q2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9309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June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1015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R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June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3731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Q1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11450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22068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9F9C0B94-BF17-46BE-AB68-2CC49C496AAC}"/>
              </a:ext>
            </a:extLst>
          </p:cNvPr>
          <p:cNvSpPr/>
          <p:nvPr/>
        </p:nvSpPr>
        <p:spPr>
          <a:xfrm>
            <a:off x="1187621" y="4497474"/>
            <a:ext cx="7678724" cy="9290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/>
                </a:solidFill>
              </a:rPr>
              <a:t> Region CZ-P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5. Parallel Run phase, BSP involvement and planning for Go-Live(s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F68424-1983-4322-88BA-6D278383D6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Timeframe to reflect TSO forecast go-live dates</a:t>
            </a:r>
          </a:p>
          <a:p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61F263-A0B9-44F1-9F6B-9CEBF14009B3}"/>
              </a:ext>
            </a:extLst>
          </p:cNvPr>
          <p:cNvSpPr/>
          <p:nvPr/>
        </p:nvSpPr>
        <p:spPr>
          <a:xfrm>
            <a:off x="5269240" y="1509881"/>
            <a:ext cx="1713306" cy="2295837"/>
          </a:xfrm>
          <a:prstGeom prst="rect">
            <a:avLst/>
          </a:prstGeom>
          <a:pattFill prst="wdDnDiag">
            <a:fgClr>
              <a:schemeClr val="accent6">
                <a:lumMod val="60000"/>
                <a:lumOff val="4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tx1"/>
                </a:solidFill>
              </a:rPr>
              <a:t>   // run extension if need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BD0369-4A24-4082-AEDD-0965F9B99773}"/>
              </a:ext>
            </a:extLst>
          </p:cNvPr>
          <p:cNvSpPr/>
          <p:nvPr/>
        </p:nvSpPr>
        <p:spPr>
          <a:xfrm>
            <a:off x="7236296" y="4822249"/>
            <a:ext cx="1763623" cy="30345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tx1"/>
                </a:solidFill>
              </a:rPr>
              <a:t> // run region-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CA25DD-0C76-424D-A46A-7DC08D994633}"/>
              </a:ext>
            </a:extLst>
          </p:cNvPr>
          <p:cNvSpPr/>
          <p:nvPr/>
        </p:nvSpPr>
        <p:spPr>
          <a:xfrm>
            <a:off x="1187622" y="1508555"/>
            <a:ext cx="4009610" cy="233377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1"/>
                </a:solidFill>
              </a:rPr>
              <a:t> // run region-W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21115D-C4B2-4E79-AFDA-1405C0B0B6B7}"/>
              </a:ext>
            </a:extLst>
          </p:cNvPr>
          <p:cNvSpPr/>
          <p:nvPr/>
        </p:nvSpPr>
        <p:spPr>
          <a:xfrm>
            <a:off x="1413088" y="1989224"/>
            <a:ext cx="638632" cy="2055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RE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2CF815-693E-4CFB-B940-1DE5BAA06726}"/>
              </a:ext>
            </a:extLst>
          </p:cNvPr>
          <p:cNvSpPr/>
          <p:nvPr/>
        </p:nvSpPr>
        <p:spPr>
          <a:xfrm>
            <a:off x="1403648" y="3522406"/>
            <a:ext cx="678743" cy="2087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S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6FE4CB7-9CB8-4451-87A8-3AE4D4CF287B}"/>
              </a:ext>
            </a:extLst>
          </p:cNvPr>
          <p:cNvSpPr/>
          <p:nvPr/>
        </p:nvSpPr>
        <p:spPr>
          <a:xfrm>
            <a:off x="1431769" y="2919132"/>
            <a:ext cx="691959" cy="2055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2718BB5-2482-4F56-AB25-24E80439D8B8}"/>
              </a:ext>
            </a:extLst>
          </p:cNvPr>
          <p:cNvSpPr/>
          <p:nvPr/>
        </p:nvSpPr>
        <p:spPr>
          <a:xfrm>
            <a:off x="2010858" y="4533093"/>
            <a:ext cx="678743" cy="2087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CEPS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B5694262-F3E5-47EE-9F2D-8A097C4180F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87622" y="1139736"/>
          <a:ext cx="6999980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9998">
                  <a:extLst>
                    <a:ext uri="{9D8B030D-6E8A-4147-A177-3AD203B41FA5}">
                      <a16:colId xmlns:a16="http://schemas.microsoft.com/office/drawing/2014/main" val="3045327675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1106484873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3900546928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2902605343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370505827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2016884622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1053930944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2590922362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258079173"/>
                    </a:ext>
                  </a:extLst>
                </a:gridCol>
                <a:gridCol w="699998">
                  <a:extLst>
                    <a:ext uri="{9D8B030D-6E8A-4147-A177-3AD203B41FA5}">
                      <a16:colId xmlns:a16="http://schemas.microsoft.com/office/drawing/2014/main" val="170922938"/>
                    </a:ext>
                  </a:extLst>
                </a:gridCol>
              </a:tblGrid>
              <a:tr h="304252"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Oct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Nov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Dec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bg1"/>
                          </a:solidFill>
                        </a:rPr>
                        <a:t>Jan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bg1"/>
                          </a:solidFill>
                        </a:rPr>
                        <a:t>Feb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bg1"/>
                          </a:solidFill>
                        </a:rPr>
                        <a:t>Mar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bg1"/>
                          </a:solidFill>
                        </a:rPr>
                        <a:t>Apr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0" dirty="0">
                          <a:solidFill>
                            <a:schemeClr val="bg1"/>
                          </a:solidFill>
                        </a:rPr>
                        <a:t>July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890320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397D6967-B744-43B6-B368-F24A36390C6A}"/>
              </a:ext>
            </a:extLst>
          </p:cNvPr>
          <p:cNvSpPr/>
          <p:nvPr/>
        </p:nvSpPr>
        <p:spPr>
          <a:xfrm>
            <a:off x="1414067" y="2293407"/>
            <a:ext cx="637653" cy="2228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RE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381CAA-F057-4F2A-AC17-9066A3144A18}"/>
              </a:ext>
            </a:extLst>
          </p:cNvPr>
          <p:cNvSpPr/>
          <p:nvPr/>
        </p:nvSpPr>
        <p:spPr>
          <a:xfrm>
            <a:off x="1409603" y="3223316"/>
            <a:ext cx="858141" cy="2004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TERNA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D2DEDBE-B107-4A84-A6BA-1D9A8C45F91D}"/>
              </a:ext>
            </a:extLst>
          </p:cNvPr>
          <p:cNvSpPr/>
          <p:nvPr/>
        </p:nvSpPr>
        <p:spPr>
          <a:xfrm>
            <a:off x="1403648" y="2614949"/>
            <a:ext cx="665694" cy="2055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RT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AFBD4A-698A-46BE-88C0-9A57FFD96D45}"/>
              </a:ext>
            </a:extLst>
          </p:cNvPr>
          <p:cNvCxnSpPr>
            <a:cxnSpLocks/>
          </p:cNvCxnSpPr>
          <p:nvPr/>
        </p:nvCxnSpPr>
        <p:spPr>
          <a:xfrm flipV="1">
            <a:off x="5197231" y="933817"/>
            <a:ext cx="1" cy="2908511"/>
          </a:xfrm>
          <a:prstGeom prst="straightConnector1">
            <a:avLst/>
          </a:prstGeom>
          <a:ln w="28575">
            <a:solidFill>
              <a:srgbClr val="FF00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786FAFB2-F61E-4073-A241-8FCD5F043324}"/>
              </a:ext>
            </a:extLst>
          </p:cNvPr>
          <p:cNvSpPr/>
          <p:nvPr/>
        </p:nvSpPr>
        <p:spPr>
          <a:xfrm>
            <a:off x="8187602" y="5233609"/>
            <a:ext cx="678743" cy="2087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PSE</a:t>
            </a:r>
          </a:p>
        </p:txBody>
      </p:sp>
      <p:sp>
        <p:nvSpPr>
          <p:cNvPr id="26" name="Diamond 25">
            <a:extLst>
              <a:ext uri="{FF2B5EF4-FFF2-40B4-BE49-F238E27FC236}">
                <a16:creationId xmlns:a16="http://schemas.microsoft.com/office/drawing/2014/main" id="{19BB91C6-951A-4149-92E6-3538E4932B91}"/>
              </a:ext>
            </a:extLst>
          </p:cNvPr>
          <p:cNvSpPr/>
          <p:nvPr/>
        </p:nvSpPr>
        <p:spPr>
          <a:xfrm>
            <a:off x="5088925" y="1941929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88662088-7F5F-47DB-826D-036C85CC51BC}"/>
              </a:ext>
            </a:extLst>
          </p:cNvPr>
          <p:cNvSpPr/>
          <p:nvPr/>
        </p:nvSpPr>
        <p:spPr>
          <a:xfrm>
            <a:off x="5088925" y="2229961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Diamond 27">
            <a:extLst>
              <a:ext uri="{FF2B5EF4-FFF2-40B4-BE49-F238E27FC236}">
                <a16:creationId xmlns:a16="http://schemas.microsoft.com/office/drawing/2014/main" id="{C9C99D59-D3B4-4CC3-855E-54B8DE59E48A}"/>
              </a:ext>
            </a:extLst>
          </p:cNvPr>
          <p:cNvSpPr/>
          <p:nvPr/>
        </p:nvSpPr>
        <p:spPr>
          <a:xfrm>
            <a:off x="6983705" y="2662009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Diamond 29">
            <a:extLst>
              <a:ext uri="{FF2B5EF4-FFF2-40B4-BE49-F238E27FC236}">
                <a16:creationId xmlns:a16="http://schemas.microsoft.com/office/drawing/2014/main" id="{2E44F070-DCC7-442D-B919-C4548B3E61A9}"/>
              </a:ext>
            </a:extLst>
          </p:cNvPr>
          <p:cNvSpPr/>
          <p:nvPr/>
        </p:nvSpPr>
        <p:spPr>
          <a:xfrm>
            <a:off x="6084168" y="3200422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Diamond 30">
            <a:extLst>
              <a:ext uri="{FF2B5EF4-FFF2-40B4-BE49-F238E27FC236}">
                <a16:creationId xmlns:a16="http://schemas.microsoft.com/office/drawing/2014/main" id="{D331AEFC-3F44-413B-AC4A-DBA6A5786DA1}"/>
              </a:ext>
            </a:extLst>
          </p:cNvPr>
          <p:cNvSpPr/>
          <p:nvPr/>
        </p:nvSpPr>
        <p:spPr>
          <a:xfrm>
            <a:off x="6084168" y="3456204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Diamond 31">
            <a:extLst>
              <a:ext uri="{FF2B5EF4-FFF2-40B4-BE49-F238E27FC236}">
                <a16:creationId xmlns:a16="http://schemas.microsoft.com/office/drawing/2014/main" id="{0C2578ED-ADC0-4C53-A926-DA4B3F947A39}"/>
              </a:ext>
            </a:extLst>
          </p:cNvPr>
          <p:cNvSpPr/>
          <p:nvPr/>
        </p:nvSpPr>
        <p:spPr>
          <a:xfrm>
            <a:off x="2689601" y="4497377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Diamond 32">
            <a:extLst>
              <a:ext uri="{FF2B5EF4-FFF2-40B4-BE49-F238E27FC236}">
                <a16:creationId xmlns:a16="http://schemas.microsoft.com/office/drawing/2014/main" id="{188283FD-FCFB-466E-9AEB-AB680C117797}"/>
              </a:ext>
            </a:extLst>
          </p:cNvPr>
          <p:cNvSpPr/>
          <p:nvPr/>
        </p:nvSpPr>
        <p:spPr>
          <a:xfrm>
            <a:off x="8748464" y="4833679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05029B-EE41-433F-BEBA-F60AD7D67D11}"/>
              </a:ext>
            </a:extLst>
          </p:cNvPr>
          <p:cNvSpPr txBox="1"/>
          <p:nvPr/>
        </p:nvSpPr>
        <p:spPr>
          <a:xfrm>
            <a:off x="8187606" y="4224062"/>
            <a:ext cx="998387" cy="652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/c GL Q1 2021</a:t>
            </a:r>
          </a:p>
        </p:txBody>
      </p:sp>
      <p:sp>
        <p:nvSpPr>
          <p:cNvPr id="36" name="Diamond 35">
            <a:extLst>
              <a:ext uri="{FF2B5EF4-FFF2-40B4-BE49-F238E27FC236}">
                <a16:creationId xmlns:a16="http://schemas.microsoft.com/office/drawing/2014/main" id="{770E7030-3E77-47C6-A43B-3C49462D7311}"/>
              </a:ext>
            </a:extLst>
          </p:cNvPr>
          <p:cNvSpPr/>
          <p:nvPr/>
        </p:nvSpPr>
        <p:spPr>
          <a:xfrm>
            <a:off x="6976474" y="3238073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Diamond 36">
            <a:extLst>
              <a:ext uri="{FF2B5EF4-FFF2-40B4-BE49-F238E27FC236}">
                <a16:creationId xmlns:a16="http://schemas.microsoft.com/office/drawing/2014/main" id="{8E383F7F-B1F4-4127-AD90-E4D4B3EDBCB5}"/>
              </a:ext>
            </a:extLst>
          </p:cNvPr>
          <p:cNvSpPr/>
          <p:nvPr/>
        </p:nvSpPr>
        <p:spPr>
          <a:xfrm>
            <a:off x="6983705" y="3493855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Diamond 37">
            <a:extLst>
              <a:ext uri="{FF2B5EF4-FFF2-40B4-BE49-F238E27FC236}">
                <a16:creationId xmlns:a16="http://schemas.microsoft.com/office/drawing/2014/main" id="{F15C8FEF-43B7-49B1-95EE-B953CCE5C6AD}"/>
              </a:ext>
            </a:extLst>
          </p:cNvPr>
          <p:cNvSpPr/>
          <p:nvPr/>
        </p:nvSpPr>
        <p:spPr>
          <a:xfrm>
            <a:off x="6982556" y="2950041"/>
            <a:ext cx="252591" cy="251817"/>
          </a:xfrm>
          <a:prstGeom prst="diamond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Star: 6 Points 48">
            <a:extLst>
              <a:ext uri="{FF2B5EF4-FFF2-40B4-BE49-F238E27FC236}">
                <a16:creationId xmlns:a16="http://schemas.microsoft.com/office/drawing/2014/main" id="{58555124-BD31-426C-948A-E9E0C5B68F64}"/>
              </a:ext>
            </a:extLst>
          </p:cNvPr>
          <p:cNvSpPr/>
          <p:nvPr/>
        </p:nvSpPr>
        <p:spPr>
          <a:xfrm>
            <a:off x="4932040" y="764704"/>
            <a:ext cx="504056" cy="457145"/>
          </a:xfrm>
          <a:prstGeom prst="star6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tx1"/>
                </a:solidFill>
              </a:rPr>
              <a:t>GL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DA997E4-7D76-44BC-8D5A-C98A26F4A4A8}"/>
              </a:ext>
            </a:extLst>
          </p:cNvPr>
          <p:cNvSpPr txBox="1"/>
          <p:nvPr/>
        </p:nvSpPr>
        <p:spPr>
          <a:xfrm>
            <a:off x="2902950" y="4462209"/>
            <a:ext cx="13090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/>
              <a:t>(Stand-alone)</a:t>
            </a:r>
          </a:p>
        </p:txBody>
      </p:sp>
    </p:spTree>
    <p:extLst>
      <p:ext uri="{BB962C8B-B14F-4D97-AF65-F5344CB8AC3E}">
        <p14:creationId xmlns:p14="http://schemas.microsoft.com/office/powerpoint/2010/main" val="32154561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5. Parallel Run phase, BSP involvement and planning for Go-Live(s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B53106-A345-4FC3-89EA-4D8F0277B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dirty="0"/>
              <a:t>Following aspects can be checked from platform reports:</a:t>
            </a:r>
          </a:p>
          <a:p>
            <a:r>
              <a:rPr lang="en-GB" sz="2000" dirty="0"/>
              <a:t>Clearing result gap siz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F68424-1983-4322-88BA-6D278383D6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Outcomes &amp; assessment</a:t>
            </a:r>
          </a:p>
        </p:txBody>
      </p:sp>
    </p:spTree>
    <p:extLst>
      <p:ext uri="{BB962C8B-B14F-4D97-AF65-F5344CB8AC3E}">
        <p14:creationId xmlns:p14="http://schemas.microsoft.com/office/powerpoint/2010/main" val="31561693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opic 1: Introduction from TSOs and NRAs</a:t>
            </a:r>
          </a:p>
        </p:txBody>
      </p:sp>
    </p:spTree>
    <p:extLst>
      <p:ext uri="{BB962C8B-B14F-4D97-AF65-F5344CB8AC3E}">
        <p14:creationId xmlns:p14="http://schemas.microsoft.com/office/powerpoint/2010/main" val="29004095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5. Parallel Run phase, BSP involvement and planning for Go-Live(s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1B53106-A345-4FC3-89EA-4D8F0277B2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Confirmation of each TSO expected Go-live date (affects planning of end of parallel run)</a:t>
            </a:r>
          </a:p>
          <a:p>
            <a:r>
              <a:rPr lang="en-GB" sz="2000" dirty="0"/>
              <a:t>Participation of BSPs (local organisation)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F68424-1983-4322-88BA-6D278383D6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Open points</a:t>
            </a:r>
          </a:p>
        </p:txBody>
      </p:sp>
    </p:spTree>
    <p:extLst>
      <p:ext uri="{BB962C8B-B14F-4D97-AF65-F5344CB8AC3E}">
        <p14:creationId xmlns:p14="http://schemas.microsoft.com/office/powerpoint/2010/main" val="7374208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pic 6: </a:t>
            </a:r>
            <a:r>
              <a:rPr lang="en-GB" dirty="0"/>
              <a:t>Transparency and publication </a:t>
            </a:r>
          </a:p>
        </p:txBody>
      </p:sp>
    </p:spTree>
    <p:extLst>
      <p:ext uri="{BB962C8B-B14F-4D97-AF65-F5344CB8AC3E}">
        <p14:creationId xmlns:p14="http://schemas.microsoft.com/office/powerpoint/2010/main" val="23856987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6. Transparency and publication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584348"/>
            <a:ext cx="8229600" cy="5085012"/>
          </a:xfrm>
        </p:spPr>
        <p:txBody>
          <a:bodyPr>
            <a:normAutofit/>
          </a:bodyPr>
          <a:lstStyle/>
          <a:p>
            <a:r>
              <a:rPr lang="en-GB" sz="2000" dirty="0"/>
              <a:t>Libra undertakes transparency reporting in accordance with Transparency Regulation (TR) and Guideline on Electricity Balancing (EB GL).</a:t>
            </a:r>
          </a:p>
          <a:p>
            <a:r>
              <a:rPr lang="en-GB" sz="2000" dirty="0"/>
              <a:t>Following articles are in scope for Libra:</a:t>
            </a:r>
          </a:p>
          <a:p>
            <a:pPr lvl="1"/>
            <a:r>
              <a:rPr lang="en-GB" sz="1600" dirty="0"/>
              <a:t>TR art. 17.1.f – Balancing energy prices</a:t>
            </a:r>
          </a:p>
          <a:p>
            <a:pPr lvl="1"/>
            <a:r>
              <a:rPr lang="en-GB" sz="1600" dirty="0"/>
              <a:t>EB GL art. 12.3.b&amp;c - Balancing energy bids  and their conversion</a:t>
            </a:r>
          </a:p>
          <a:p>
            <a:pPr lvl="1"/>
            <a:r>
              <a:rPr lang="en-GB" sz="1600" dirty="0"/>
              <a:t>EB GL art. 12.3.e(iii &amp; iv) – Aggregated offered, activated and unavailable balancing energy bid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23528" y="1068905"/>
            <a:ext cx="8496944" cy="360362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Legal background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607506DA-C6B0-4E6F-8422-49A21BF37662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ransparency reporting from Libra</a:t>
            </a:r>
          </a:p>
        </p:txBody>
      </p:sp>
    </p:spTree>
    <p:extLst>
      <p:ext uri="{BB962C8B-B14F-4D97-AF65-F5344CB8AC3E}">
        <p14:creationId xmlns:p14="http://schemas.microsoft.com/office/powerpoint/2010/main" val="14943419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6. Transparency and publication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584348"/>
            <a:ext cx="8229600" cy="5085012"/>
          </a:xfrm>
        </p:spPr>
        <p:txBody>
          <a:bodyPr>
            <a:normAutofit/>
          </a:bodyPr>
          <a:lstStyle/>
          <a:p>
            <a:r>
              <a:rPr lang="en-GB" sz="2000" dirty="0"/>
              <a:t>Reporting performed according to ENTSO-E Manual of Procedures v3r2.</a:t>
            </a:r>
          </a:p>
          <a:p>
            <a:r>
              <a:rPr lang="en-GB" sz="2000" dirty="0"/>
              <a:t>Libra reports on standard RR product only.</a:t>
            </a:r>
          </a:p>
          <a:p>
            <a:r>
              <a:rPr lang="en-GB" sz="2000" dirty="0"/>
              <a:t>Data reported for all scheduling areas connected to the Libra platform.</a:t>
            </a:r>
          </a:p>
          <a:p>
            <a:r>
              <a:rPr lang="en-GB" sz="2000" dirty="0"/>
              <a:t>Data delivered for every hour at H+30 the latest, with 15-minute resolution.</a:t>
            </a:r>
            <a:endParaRPr lang="en-GB" sz="1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23528" y="1068905"/>
            <a:ext cx="8496944" cy="360362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Implementation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607506DA-C6B0-4E6F-8422-49A21BF37662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ransparency reporting from Libra</a:t>
            </a:r>
          </a:p>
        </p:txBody>
      </p:sp>
    </p:spTree>
    <p:extLst>
      <p:ext uri="{BB962C8B-B14F-4D97-AF65-F5344CB8AC3E}">
        <p14:creationId xmlns:p14="http://schemas.microsoft.com/office/powerpoint/2010/main" val="14477277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pic 7: Q&amp;A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92119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8" name="Titr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s!</a:t>
            </a:r>
          </a:p>
        </p:txBody>
      </p:sp>
    </p:spTree>
    <p:extLst>
      <p:ext uri="{BB962C8B-B14F-4D97-AF65-F5344CB8AC3E}">
        <p14:creationId xmlns:p14="http://schemas.microsoft.com/office/powerpoint/2010/main" val="2540940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3CE897-25DC-4CBC-840C-FF00B5BDA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70334"/>
            <a:ext cx="8496944" cy="492471"/>
          </a:xfrm>
        </p:spPr>
        <p:txBody>
          <a:bodyPr/>
          <a:lstStyle/>
          <a:p>
            <a:r>
              <a:rPr lang="en-US" dirty="0"/>
              <a:t>1. Introduction 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8BA62-F99B-4971-8A96-B532F2EDF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2A4F9A-76D0-4C23-B4C2-CDF053870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5176F5A-4482-41F1-81BF-010A30F993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376" y="1052736"/>
            <a:ext cx="5428047" cy="436515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600" i="1" dirty="0"/>
              <a:t>The following countries plan to use Replacement Reserves:</a:t>
            </a:r>
          </a:p>
          <a:p>
            <a:r>
              <a:rPr lang="en-GB" sz="1600" i="1" dirty="0"/>
              <a:t>Region 1  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France (RTE) - CRE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Italy (TERNA) - ARERA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Portugal (REN) - ERSE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Spain (REE) - CNMC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Switzerland (SG) - Elcom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Great Britain (NG) - Ofgem</a:t>
            </a:r>
          </a:p>
          <a:p>
            <a:r>
              <a:rPr lang="en-GB" sz="1600" i="1" dirty="0"/>
              <a:t>Region 2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Poland  (PSE) - URE</a:t>
            </a:r>
            <a:endParaRPr lang="en-GB" sz="16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CZ (CEPS) - ERU</a:t>
            </a:r>
          </a:p>
          <a:p>
            <a:r>
              <a:rPr lang="en-GB" sz="1600" i="1" dirty="0"/>
              <a:t>Region 3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Romania (TEL)</a:t>
            </a:r>
            <a:r>
              <a:rPr lang="en-GB" sz="1200" i="1" dirty="0"/>
              <a:t> </a:t>
            </a:r>
            <a:r>
              <a:rPr lang="en-GB" sz="1600" i="1" dirty="0"/>
              <a:t>- ANR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Hungary (MAVIR) - MEKH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Bulgaria (ESO) - DKER</a:t>
            </a:r>
          </a:p>
          <a:p>
            <a:r>
              <a:rPr lang="en-GB" sz="1600" i="1" dirty="0"/>
              <a:t>Observers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Greece (ADMIE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600" i="1" dirty="0"/>
              <a:t>Nordic area</a:t>
            </a:r>
            <a:endParaRPr lang="en-GB" sz="1600" dirty="0"/>
          </a:p>
        </p:txBody>
      </p: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16AF5ABB-B237-4DCF-A87C-14DE2FC8A2A6}"/>
              </a:ext>
            </a:extLst>
          </p:cNvPr>
          <p:cNvGrpSpPr/>
          <p:nvPr/>
        </p:nvGrpSpPr>
        <p:grpSpPr>
          <a:xfrm>
            <a:off x="5161425" y="6093296"/>
            <a:ext cx="975261" cy="445595"/>
            <a:chOff x="2051460" y="5752312"/>
            <a:chExt cx="975261" cy="445595"/>
          </a:xfrm>
        </p:grpSpPr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CA037AA4-9FF8-444F-8313-63E02A40D402}"/>
                </a:ext>
              </a:extLst>
            </p:cNvPr>
            <p:cNvSpPr/>
            <p:nvPr/>
          </p:nvSpPr>
          <p:spPr>
            <a:xfrm>
              <a:off x="2051460" y="5785422"/>
              <a:ext cx="180000" cy="180000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9D79F940-E737-4349-8233-1B17268495A5}"/>
                </a:ext>
              </a:extLst>
            </p:cNvPr>
            <p:cNvSpPr txBox="1"/>
            <p:nvPr/>
          </p:nvSpPr>
          <p:spPr>
            <a:xfrm>
              <a:off x="2190066" y="5752312"/>
              <a:ext cx="55816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fr-FR"/>
              </a:defPPr>
              <a:lvl1pPr>
                <a:defRPr sz="1000"/>
              </a:lvl1pPr>
            </a:lstStyle>
            <a:p>
              <a:r>
                <a:rPr lang="en-US" dirty="0"/>
                <a:t>RR TSO</a:t>
              </a:r>
              <a:endParaRPr lang="en-GB" dirty="0"/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2AA28BC3-70C7-48FA-8AC0-9EF425374ECD}"/>
                </a:ext>
              </a:extLst>
            </p:cNvPr>
            <p:cNvSpPr/>
            <p:nvPr/>
          </p:nvSpPr>
          <p:spPr>
            <a:xfrm>
              <a:off x="2051460" y="5984797"/>
              <a:ext cx="180000" cy="180000"/>
            </a:xfrm>
            <a:prstGeom prst="rect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7FC324DC-56B2-4566-AE11-E3AA70A67978}"/>
                </a:ext>
              </a:extLst>
            </p:cNvPr>
            <p:cNvSpPr txBox="1"/>
            <p:nvPr/>
          </p:nvSpPr>
          <p:spPr>
            <a:xfrm>
              <a:off x="2192838" y="5951686"/>
              <a:ext cx="83388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000" dirty="0"/>
                <a:t>Non RR TSO</a:t>
              </a:r>
              <a:endParaRPr lang="en-GB" sz="1000" dirty="0"/>
            </a:p>
          </p:txBody>
        </p:sp>
      </p:grpSp>
      <p:sp>
        <p:nvSpPr>
          <p:cNvPr id="316" name="Text Placeholder 5">
            <a:extLst>
              <a:ext uri="{FF2B5EF4-FFF2-40B4-BE49-F238E27FC236}">
                <a16:creationId xmlns:a16="http://schemas.microsoft.com/office/drawing/2014/main" id="{CD7A39F6-210C-4723-AA0E-52C099B5BBA3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ERRE project - Participating TSOs &amp; NRAs</a:t>
            </a:r>
            <a:endParaRPr lang="en-GB" dirty="0"/>
          </a:p>
        </p:txBody>
      </p:sp>
      <p:sp>
        <p:nvSpPr>
          <p:cNvPr id="317" name="Freeform 153">
            <a:extLst>
              <a:ext uri="{FF2B5EF4-FFF2-40B4-BE49-F238E27FC236}">
                <a16:creationId xmlns:a16="http://schemas.microsoft.com/office/drawing/2014/main" id="{DD46B3E8-3A27-4007-9255-059E7BEE57DF}"/>
              </a:ext>
            </a:extLst>
          </p:cNvPr>
          <p:cNvSpPr>
            <a:spLocks/>
          </p:cNvSpPr>
          <p:nvPr/>
        </p:nvSpPr>
        <p:spPr bwMode="auto">
          <a:xfrm rot="21249101">
            <a:off x="6924516" y="5743000"/>
            <a:ext cx="377072" cy="224471"/>
          </a:xfrm>
          <a:custGeom>
            <a:avLst/>
            <a:gdLst>
              <a:gd name="T0" fmla="*/ 2147483647 w 908"/>
              <a:gd name="T1" fmla="*/ 2147483647 h 591"/>
              <a:gd name="T2" fmla="*/ 2147483647 w 908"/>
              <a:gd name="T3" fmla="*/ 2147483647 h 591"/>
              <a:gd name="T4" fmla="*/ 2147483647 w 908"/>
              <a:gd name="T5" fmla="*/ 2147483647 h 591"/>
              <a:gd name="T6" fmla="*/ 2147483647 w 908"/>
              <a:gd name="T7" fmla="*/ 2147483647 h 591"/>
              <a:gd name="T8" fmla="*/ 2147483647 w 908"/>
              <a:gd name="T9" fmla="*/ 2147483647 h 591"/>
              <a:gd name="T10" fmla="*/ 2147483647 w 908"/>
              <a:gd name="T11" fmla="*/ 2147483647 h 591"/>
              <a:gd name="T12" fmla="*/ 2147483647 w 908"/>
              <a:gd name="T13" fmla="*/ 2147483647 h 591"/>
              <a:gd name="T14" fmla="*/ 2147483647 w 908"/>
              <a:gd name="T15" fmla="*/ 2147483647 h 591"/>
              <a:gd name="T16" fmla="*/ 2147483647 w 908"/>
              <a:gd name="T17" fmla="*/ 2147483647 h 591"/>
              <a:gd name="T18" fmla="*/ 2147483647 w 908"/>
              <a:gd name="T19" fmla="*/ 2147483647 h 591"/>
              <a:gd name="T20" fmla="*/ 2147483647 w 908"/>
              <a:gd name="T21" fmla="*/ 2147483647 h 591"/>
              <a:gd name="T22" fmla="*/ 2147483647 w 908"/>
              <a:gd name="T23" fmla="*/ 2147483647 h 591"/>
              <a:gd name="T24" fmla="*/ 2147483647 w 908"/>
              <a:gd name="T25" fmla="*/ 2147483647 h 591"/>
              <a:gd name="T26" fmla="*/ 2147483647 w 908"/>
              <a:gd name="T27" fmla="*/ 2147483647 h 591"/>
              <a:gd name="T28" fmla="*/ 2147483647 w 908"/>
              <a:gd name="T29" fmla="*/ 2147483647 h 591"/>
              <a:gd name="T30" fmla="*/ 0 w 908"/>
              <a:gd name="T31" fmla="*/ 2147483647 h 591"/>
              <a:gd name="T32" fmla="*/ 2147483647 w 908"/>
              <a:gd name="T33" fmla="*/ 2147483647 h 591"/>
              <a:gd name="T34" fmla="*/ 2147483647 w 908"/>
              <a:gd name="T35" fmla="*/ 2147483647 h 591"/>
              <a:gd name="T36" fmla="*/ 2147483647 w 908"/>
              <a:gd name="T37" fmla="*/ 2147483647 h 591"/>
              <a:gd name="T38" fmla="*/ 2147483647 w 908"/>
              <a:gd name="T39" fmla="*/ 2147483647 h 591"/>
              <a:gd name="T40" fmla="*/ 2147483647 w 908"/>
              <a:gd name="T41" fmla="*/ 2147483647 h 591"/>
              <a:gd name="T42" fmla="*/ 2147483647 w 908"/>
              <a:gd name="T43" fmla="*/ 0 h 591"/>
              <a:gd name="T44" fmla="*/ 2147483647 w 908"/>
              <a:gd name="T45" fmla="*/ 2147483647 h 591"/>
              <a:gd name="T46" fmla="*/ 2147483647 w 908"/>
              <a:gd name="T47" fmla="*/ 2147483647 h 591"/>
              <a:gd name="T48" fmla="*/ 2147483647 w 908"/>
              <a:gd name="T49" fmla="*/ 2147483647 h 591"/>
              <a:gd name="T50" fmla="*/ 2147483647 w 908"/>
              <a:gd name="T51" fmla="*/ 2147483647 h 591"/>
              <a:gd name="T52" fmla="*/ 2147483647 w 908"/>
              <a:gd name="T53" fmla="*/ 2147483647 h 591"/>
              <a:gd name="T54" fmla="*/ 2147483647 w 908"/>
              <a:gd name="T55" fmla="*/ 2147483647 h 591"/>
              <a:gd name="T56" fmla="*/ 2147483647 w 908"/>
              <a:gd name="T57" fmla="*/ 2147483647 h 591"/>
              <a:gd name="T58" fmla="*/ 2147483647 w 908"/>
              <a:gd name="T59" fmla="*/ 2147483647 h 59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908"/>
              <a:gd name="T91" fmla="*/ 0 h 591"/>
              <a:gd name="T92" fmla="*/ 908 w 908"/>
              <a:gd name="T93" fmla="*/ 591 h 591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908" h="591">
                <a:moveTo>
                  <a:pt x="908" y="20"/>
                </a:moveTo>
                <a:lnTo>
                  <a:pt x="889" y="24"/>
                </a:lnTo>
                <a:lnTo>
                  <a:pt x="891" y="28"/>
                </a:lnTo>
                <a:lnTo>
                  <a:pt x="882" y="84"/>
                </a:lnTo>
                <a:lnTo>
                  <a:pt x="741" y="326"/>
                </a:lnTo>
                <a:lnTo>
                  <a:pt x="737" y="354"/>
                </a:lnTo>
                <a:lnTo>
                  <a:pt x="757" y="377"/>
                </a:lnTo>
                <a:lnTo>
                  <a:pt x="780" y="469"/>
                </a:lnTo>
                <a:lnTo>
                  <a:pt x="736" y="591"/>
                </a:lnTo>
                <a:lnTo>
                  <a:pt x="594" y="566"/>
                </a:lnTo>
                <a:lnTo>
                  <a:pt x="498" y="456"/>
                </a:lnTo>
                <a:lnTo>
                  <a:pt x="337" y="393"/>
                </a:lnTo>
                <a:lnTo>
                  <a:pt x="183" y="266"/>
                </a:lnTo>
                <a:lnTo>
                  <a:pt x="34" y="205"/>
                </a:lnTo>
                <a:lnTo>
                  <a:pt x="8" y="165"/>
                </a:lnTo>
                <a:lnTo>
                  <a:pt x="0" y="90"/>
                </a:lnTo>
                <a:lnTo>
                  <a:pt x="12" y="47"/>
                </a:lnTo>
                <a:lnTo>
                  <a:pt x="38" y="8"/>
                </a:lnTo>
                <a:lnTo>
                  <a:pt x="61" y="1"/>
                </a:lnTo>
                <a:lnTo>
                  <a:pt x="105" y="40"/>
                </a:lnTo>
                <a:lnTo>
                  <a:pt x="138" y="39"/>
                </a:lnTo>
                <a:lnTo>
                  <a:pt x="227" y="0"/>
                </a:lnTo>
                <a:lnTo>
                  <a:pt x="331" y="59"/>
                </a:lnTo>
                <a:lnTo>
                  <a:pt x="349" y="99"/>
                </a:lnTo>
                <a:lnTo>
                  <a:pt x="587" y="85"/>
                </a:lnTo>
                <a:lnTo>
                  <a:pt x="677" y="53"/>
                </a:lnTo>
                <a:lnTo>
                  <a:pt x="773" y="59"/>
                </a:lnTo>
                <a:lnTo>
                  <a:pt x="805" y="33"/>
                </a:lnTo>
                <a:lnTo>
                  <a:pt x="866" y="33"/>
                </a:lnTo>
                <a:lnTo>
                  <a:pt x="908" y="20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18" name="Freeform 8">
            <a:extLst>
              <a:ext uri="{FF2B5EF4-FFF2-40B4-BE49-F238E27FC236}">
                <a16:creationId xmlns:a16="http://schemas.microsoft.com/office/drawing/2014/main" id="{6321C812-0BBF-49D4-8D5B-123FF50EF5BD}"/>
              </a:ext>
            </a:extLst>
          </p:cNvPr>
          <p:cNvSpPr>
            <a:spLocks/>
          </p:cNvSpPr>
          <p:nvPr/>
        </p:nvSpPr>
        <p:spPr bwMode="auto">
          <a:xfrm rot="21249101">
            <a:off x="7001726" y="4547199"/>
            <a:ext cx="337570" cy="211364"/>
          </a:xfrm>
          <a:custGeom>
            <a:avLst/>
            <a:gdLst>
              <a:gd name="T0" fmla="*/ 2147483647 w 802"/>
              <a:gd name="T1" fmla="*/ 2147483647 h 550"/>
              <a:gd name="T2" fmla="*/ 2147483647 w 802"/>
              <a:gd name="T3" fmla="*/ 2147483647 h 550"/>
              <a:gd name="T4" fmla="*/ 2147483647 w 802"/>
              <a:gd name="T5" fmla="*/ 2147483647 h 550"/>
              <a:gd name="T6" fmla="*/ 2147483647 w 802"/>
              <a:gd name="T7" fmla="*/ 2147483647 h 550"/>
              <a:gd name="T8" fmla="*/ 2147483647 w 802"/>
              <a:gd name="T9" fmla="*/ 2147483647 h 550"/>
              <a:gd name="T10" fmla="*/ 2147483647 w 802"/>
              <a:gd name="T11" fmla="*/ 2147483647 h 550"/>
              <a:gd name="T12" fmla="*/ 2147483647 w 802"/>
              <a:gd name="T13" fmla="*/ 2147483647 h 550"/>
              <a:gd name="T14" fmla="*/ 2147483647 w 802"/>
              <a:gd name="T15" fmla="*/ 2147483647 h 550"/>
              <a:gd name="T16" fmla="*/ 2147483647 w 802"/>
              <a:gd name="T17" fmla="*/ 2147483647 h 550"/>
              <a:gd name="T18" fmla="*/ 2147483647 w 802"/>
              <a:gd name="T19" fmla="*/ 2147483647 h 550"/>
              <a:gd name="T20" fmla="*/ 2147483647 w 802"/>
              <a:gd name="T21" fmla="*/ 2147483647 h 550"/>
              <a:gd name="T22" fmla="*/ 2147483647 w 802"/>
              <a:gd name="T23" fmla="*/ 2147483647 h 550"/>
              <a:gd name="T24" fmla="*/ 2147483647 w 802"/>
              <a:gd name="T25" fmla="*/ 2147483647 h 550"/>
              <a:gd name="T26" fmla="*/ 2147483647 w 802"/>
              <a:gd name="T27" fmla="*/ 2147483647 h 550"/>
              <a:gd name="T28" fmla="*/ 2147483647 w 802"/>
              <a:gd name="T29" fmla="*/ 2147483647 h 550"/>
              <a:gd name="T30" fmla="*/ 2147483647 w 802"/>
              <a:gd name="T31" fmla="*/ 2147483647 h 550"/>
              <a:gd name="T32" fmla="*/ 2147483647 w 802"/>
              <a:gd name="T33" fmla="*/ 2147483647 h 550"/>
              <a:gd name="T34" fmla="*/ 2147483647 w 802"/>
              <a:gd name="T35" fmla="*/ 2147483647 h 550"/>
              <a:gd name="T36" fmla="*/ 2147483647 w 802"/>
              <a:gd name="T37" fmla="*/ 2147483647 h 550"/>
              <a:gd name="T38" fmla="*/ 2147483647 w 802"/>
              <a:gd name="T39" fmla="*/ 2147483647 h 550"/>
              <a:gd name="T40" fmla="*/ 2147483647 w 802"/>
              <a:gd name="T41" fmla="*/ 2147483647 h 550"/>
              <a:gd name="T42" fmla="*/ 2147483647 w 802"/>
              <a:gd name="T43" fmla="*/ 2147483647 h 550"/>
              <a:gd name="T44" fmla="*/ 2147483647 w 802"/>
              <a:gd name="T45" fmla="*/ 2147483647 h 550"/>
              <a:gd name="T46" fmla="*/ 2147483647 w 802"/>
              <a:gd name="T47" fmla="*/ 2147483647 h 550"/>
              <a:gd name="T48" fmla="*/ 2147483647 w 802"/>
              <a:gd name="T49" fmla="*/ 2147483647 h 550"/>
              <a:gd name="T50" fmla="*/ 2147483647 w 802"/>
              <a:gd name="T51" fmla="*/ 2147483647 h 550"/>
              <a:gd name="T52" fmla="*/ 2147483647 w 802"/>
              <a:gd name="T53" fmla="*/ 2147483647 h 550"/>
              <a:gd name="T54" fmla="*/ 2147483647 w 802"/>
              <a:gd name="T55" fmla="*/ 2147483647 h 550"/>
              <a:gd name="T56" fmla="*/ 2147483647 w 802"/>
              <a:gd name="T57" fmla="*/ 2147483647 h 550"/>
              <a:gd name="T58" fmla="*/ 2147483647 w 802"/>
              <a:gd name="T59" fmla="*/ 2147483647 h 550"/>
              <a:gd name="T60" fmla="*/ 2147483647 w 802"/>
              <a:gd name="T61" fmla="*/ 2147483647 h 550"/>
              <a:gd name="T62" fmla="*/ 2147483647 w 802"/>
              <a:gd name="T63" fmla="*/ 2147483647 h 550"/>
              <a:gd name="T64" fmla="*/ 2147483647 w 802"/>
              <a:gd name="T65" fmla="*/ 2147483647 h 550"/>
              <a:gd name="T66" fmla="*/ 2147483647 w 802"/>
              <a:gd name="T67" fmla="*/ 2147483647 h 550"/>
              <a:gd name="T68" fmla="*/ 2147483647 w 802"/>
              <a:gd name="T69" fmla="*/ 0 h 55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802"/>
              <a:gd name="T106" fmla="*/ 0 h 550"/>
              <a:gd name="T107" fmla="*/ 802 w 802"/>
              <a:gd name="T108" fmla="*/ 550 h 55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802" h="550">
                <a:moveTo>
                  <a:pt x="676" y="0"/>
                </a:moveTo>
                <a:lnTo>
                  <a:pt x="638" y="17"/>
                </a:lnTo>
                <a:lnTo>
                  <a:pt x="627" y="52"/>
                </a:lnTo>
                <a:lnTo>
                  <a:pt x="529" y="38"/>
                </a:lnTo>
                <a:lnTo>
                  <a:pt x="504" y="74"/>
                </a:lnTo>
                <a:lnTo>
                  <a:pt x="418" y="50"/>
                </a:lnTo>
                <a:lnTo>
                  <a:pt x="356" y="61"/>
                </a:lnTo>
                <a:lnTo>
                  <a:pt x="315" y="107"/>
                </a:lnTo>
                <a:lnTo>
                  <a:pt x="274" y="128"/>
                </a:lnTo>
                <a:lnTo>
                  <a:pt x="69" y="99"/>
                </a:lnTo>
                <a:lnTo>
                  <a:pt x="19" y="139"/>
                </a:lnTo>
                <a:lnTo>
                  <a:pt x="2" y="171"/>
                </a:lnTo>
                <a:lnTo>
                  <a:pt x="0" y="192"/>
                </a:lnTo>
                <a:lnTo>
                  <a:pt x="10" y="202"/>
                </a:lnTo>
                <a:lnTo>
                  <a:pt x="36" y="198"/>
                </a:lnTo>
                <a:lnTo>
                  <a:pt x="13" y="266"/>
                </a:lnTo>
                <a:lnTo>
                  <a:pt x="33" y="296"/>
                </a:lnTo>
                <a:lnTo>
                  <a:pt x="31" y="332"/>
                </a:lnTo>
                <a:lnTo>
                  <a:pt x="40" y="344"/>
                </a:lnTo>
                <a:lnTo>
                  <a:pt x="75" y="363"/>
                </a:lnTo>
                <a:lnTo>
                  <a:pt x="85" y="387"/>
                </a:lnTo>
                <a:lnTo>
                  <a:pt x="101" y="396"/>
                </a:lnTo>
                <a:lnTo>
                  <a:pt x="110" y="416"/>
                </a:lnTo>
                <a:lnTo>
                  <a:pt x="103" y="435"/>
                </a:lnTo>
                <a:lnTo>
                  <a:pt x="85" y="448"/>
                </a:lnTo>
                <a:lnTo>
                  <a:pt x="60" y="452"/>
                </a:lnTo>
                <a:lnTo>
                  <a:pt x="38" y="444"/>
                </a:lnTo>
                <a:lnTo>
                  <a:pt x="6" y="461"/>
                </a:lnTo>
                <a:lnTo>
                  <a:pt x="37" y="492"/>
                </a:lnTo>
                <a:lnTo>
                  <a:pt x="105" y="496"/>
                </a:lnTo>
                <a:lnTo>
                  <a:pt x="118" y="471"/>
                </a:lnTo>
                <a:lnTo>
                  <a:pt x="140" y="496"/>
                </a:lnTo>
                <a:lnTo>
                  <a:pt x="219" y="500"/>
                </a:lnTo>
                <a:lnTo>
                  <a:pt x="259" y="431"/>
                </a:lnTo>
                <a:lnTo>
                  <a:pt x="272" y="433"/>
                </a:lnTo>
                <a:lnTo>
                  <a:pt x="320" y="525"/>
                </a:lnTo>
                <a:lnTo>
                  <a:pt x="339" y="523"/>
                </a:lnTo>
                <a:lnTo>
                  <a:pt x="344" y="504"/>
                </a:lnTo>
                <a:lnTo>
                  <a:pt x="356" y="505"/>
                </a:lnTo>
                <a:lnTo>
                  <a:pt x="363" y="519"/>
                </a:lnTo>
                <a:lnTo>
                  <a:pt x="383" y="521"/>
                </a:lnTo>
                <a:lnTo>
                  <a:pt x="403" y="549"/>
                </a:lnTo>
                <a:lnTo>
                  <a:pt x="419" y="550"/>
                </a:lnTo>
                <a:lnTo>
                  <a:pt x="444" y="534"/>
                </a:lnTo>
                <a:lnTo>
                  <a:pt x="443" y="479"/>
                </a:lnTo>
                <a:lnTo>
                  <a:pt x="461" y="456"/>
                </a:lnTo>
                <a:lnTo>
                  <a:pt x="447" y="432"/>
                </a:lnTo>
                <a:lnTo>
                  <a:pt x="498" y="393"/>
                </a:lnTo>
                <a:lnTo>
                  <a:pt x="539" y="393"/>
                </a:lnTo>
                <a:lnTo>
                  <a:pt x="561" y="358"/>
                </a:lnTo>
                <a:lnTo>
                  <a:pt x="565" y="305"/>
                </a:lnTo>
                <a:lnTo>
                  <a:pt x="537" y="275"/>
                </a:lnTo>
                <a:lnTo>
                  <a:pt x="536" y="258"/>
                </a:lnTo>
                <a:lnTo>
                  <a:pt x="552" y="233"/>
                </a:lnTo>
                <a:lnTo>
                  <a:pt x="645" y="207"/>
                </a:lnTo>
                <a:lnTo>
                  <a:pt x="660" y="195"/>
                </a:lnTo>
                <a:lnTo>
                  <a:pt x="663" y="174"/>
                </a:lnTo>
                <a:lnTo>
                  <a:pt x="696" y="175"/>
                </a:lnTo>
                <a:lnTo>
                  <a:pt x="711" y="184"/>
                </a:lnTo>
                <a:lnTo>
                  <a:pt x="715" y="177"/>
                </a:lnTo>
                <a:lnTo>
                  <a:pt x="707" y="148"/>
                </a:lnTo>
                <a:lnTo>
                  <a:pt x="708" y="125"/>
                </a:lnTo>
                <a:lnTo>
                  <a:pt x="726" y="110"/>
                </a:lnTo>
                <a:lnTo>
                  <a:pt x="743" y="113"/>
                </a:lnTo>
                <a:lnTo>
                  <a:pt x="781" y="144"/>
                </a:lnTo>
                <a:lnTo>
                  <a:pt x="798" y="136"/>
                </a:lnTo>
                <a:lnTo>
                  <a:pt x="802" y="146"/>
                </a:lnTo>
                <a:lnTo>
                  <a:pt x="741" y="22"/>
                </a:lnTo>
                <a:lnTo>
                  <a:pt x="709" y="3"/>
                </a:lnTo>
                <a:lnTo>
                  <a:pt x="676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19" name="Freeform 140">
            <a:extLst>
              <a:ext uri="{FF2B5EF4-FFF2-40B4-BE49-F238E27FC236}">
                <a16:creationId xmlns:a16="http://schemas.microsoft.com/office/drawing/2014/main" id="{ED1DFA7B-325D-4063-9FF2-BE305182BD01}"/>
              </a:ext>
            </a:extLst>
          </p:cNvPr>
          <p:cNvSpPr>
            <a:spLocks/>
          </p:cNvSpPr>
          <p:nvPr/>
        </p:nvSpPr>
        <p:spPr bwMode="auto">
          <a:xfrm rot="21249101">
            <a:off x="5229486" y="3930845"/>
            <a:ext cx="1258703" cy="1194449"/>
          </a:xfrm>
          <a:custGeom>
            <a:avLst/>
            <a:gdLst>
              <a:gd name="T0" fmla="*/ 2147483647 w 3018"/>
              <a:gd name="T1" fmla="*/ 2147483647 h 3118"/>
              <a:gd name="T2" fmla="*/ 2147483647 w 3018"/>
              <a:gd name="T3" fmla="*/ 2147483647 h 3118"/>
              <a:gd name="T4" fmla="*/ 2147483647 w 3018"/>
              <a:gd name="T5" fmla="*/ 2147483647 h 3118"/>
              <a:gd name="T6" fmla="*/ 2147483647 w 3018"/>
              <a:gd name="T7" fmla="*/ 2147483647 h 3118"/>
              <a:gd name="T8" fmla="*/ 2147483647 w 3018"/>
              <a:gd name="T9" fmla="*/ 2147483647 h 3118"/>
              <a:gd name="T10" fmla="*/ 2147483647 w 3018"/>
              <a:gd name="T11" fmla="*/ 2147483647 h 3118"/>
              <a:gd name="T12" fmla="*/ 2147483647 w 3018"/>
              <a:gd name="T13" fmla="*/ 2147483647 h 3118"/>
              <a:gd name="T14" fmla="*/ 2147483647 w 3018"/>
              <a:gd name="T15" fmla="*/ 2147483647 h 3118"/>
              <a:gd name="T16" fmla="*/ 2147483647 w 3018"/>
              <a:gd name="T17" fmla="*/ 2147483647 h 3118"/>
              <a:gd name="T18" fmla="*/ 2147483647 w 3018"/>
              <a:gd name="T19" fmla="*/ 2147483647 h 3118"/>
              <a:gd name="T20" fmla="*/ 2147483647 w 3018"/>
              <a:gd name="T21" fmla="*/ 2147483647 h 3118"/>
              <a:gd name="T22" fmla="*/ 2147483647 w 3018"/>
              <a:gd name="T23" fmla="*/ 2147483647 h 3118"/>
              <a:gd name="T24" fmla="*/ 2147483647 w 3018"/>
              <a:gd name="T25" fmla="*/ 2147483647 h 3118"/>
              <a:gd name="T26" fmla="*/ 2147483647 w 3018"/>
              <a:gd name="T27" fmla="*/ 2147483647 h 3118"/>
              <a:gd name="T28" fmla="*/ 2147483647 w 3018"/>
              <a:gd name="T29" fmla="*/ 2147483647 h 3118"/>
              <a:gd name="T30" fmla="*/ 2147483647 w 3018"/>
              <a:gd name="T31" fmla="*/ 2147483647 h 3118"/>
              <a:gd name="T32" fmla="*/ 2147483647 w 3018"/>
              <a:gd name="T33" fmla="*/ 2147483647 h 3118"/>
              <a:gd name="T34" fmla="*/ 2147483647 w 3018"/>
              <a:gd name="T35" fmla="*/ 2147483647 h 3118"/>
              <a:gd name="T36" fmla="*/ 2147483647 w 3018"/>
              <a:gd name="T37" fmla="*/ 2147483647 h 3118"/>
              <a:gd name="T38" fmla="*/ 2147483647 w 3018"/>
              <a:gd name="T39" fmla="*/ 2147483647 h 3118"/>
              <a:gd name="T40" fmla="*/ 2147483647 w 3018"/>
              <a:gd name="T41" fmla="*/ 2147483647 h 3118"/>
              <a:gd name="T42" fmla="*/ 2147483647 w 3018"/>
              <a:gd name="T43" fmla="*/ 2147483647 h 3118"/>
              <a:gd name="T44" fmla="*/ 2147483647 w 3018"/>
              <a:gd name="T45" fmla="*/ 2147483647 h 3118"/>
              <a:gd name="T46" fmla="*/ 2147483647 w 3018"/>
              <a:gd name="T47" fmla="*/ 2147483647 h 3118"/>
              <a:gd name="T48" fmla="*/ 2147483647 w 3018"/>
              <a:gd name="T49" fmla="*/ 2147483647 h 3118"/>
              <a:gd name="T50" fmla="*/ 2147483647 w 3018"/>
              <a:gd name="T51" fmla="*/ 2147483647 h 3118"/>
              <a:gd name="T52" fmla="*/ 2147483647 w 3018"/>
              <a:gd name="T53" fmla="*/ 2147483647 h 3118"/>
              <a:gd name="T54" fmla="*/ 2147483647 w 3018"/>
              <a:gd name="T55" fmla="*/ 2147483647 h 3118"/>
              <a:gd name="T56" fmla="*/ 2147483647 w 3018"/>
              <a:gd name="T57" fmla="*/ 2147483647 h 3118"/>
              <a:gd name="T58" fmla="*/ 2147483647 w 3018"/>
              <a:gd name="T59" fmla="*/ 2147483647 h 3118"/>
              <a:gd name="T60" fmla="*/ 2147483647 w 3018"/>
              <a:gd name="T61" fmla="*/ 2147483647 h 3118"/>
              <a:gd name="T62" fmla="*/ 2147483647 w 3018"/>
              <a:gd name="T63" fmla="*/ 2147483647 h 3118"/>
              <a:gd name="T64" fmla="*/ 2147483647 w 3018"/>
              <a:gd name="T65" fmla="*/ 2147483647 h 3118"/>
              <a:gd name="T66" fmla="*/ 2147483647 w 3018"/>
              <a:gd name="T67" fmla="*/ 2147483647 h 3118"/>
              <a:gd name="T68" fmla="*/ 2147483647 w 3018"/>
              <a:gd name="T69" fmla="*/ 2147483647 h 3118"/>
              <a:gd name="T70" fmla="*/ 2147483647 w 3018"/>
              <a:gd name="T71" fmla="*/ 2147483647 h 3118"/>
              <a:gd name="T72" fmla="*/ 2147483647 w 3018"/>
              <a:gd name="T73" fmla="*/ 2147483647 h 3118"/>
              <a:gd name="T74" fmla="*/ 2147483647 w 3018"/>
              <a:gd name="T75" fmla="*/ 2147483647 h 3118"/>
              <a:gd name="T76" fmla="*/ 2147483647 w 3018"/>
              <a:gd name="T77" fmla="*/ 2147483647 h 3118"/>
              <a:gd name="T78" fmla="*/ 2147483647 w 3018"/>
              <a:gd name="T79" fmla="*/ 2147483647 h 3118"/>
              <a:gd name="T80" fmla="*/ 2147483647 w 3018"/>
              <a:gd name="T81" fmla="*/ 2147483647 h 3118"/>
              <a:gd name="T82" fmla="*/ 2147483647 w 3018"/>
              <a:gd name="T83" fmla="*/ 2147483647 h 3118"/>
              <a:gd name="T84" fmla="*/ 2147483647 w 3018"/>
              <a:gd name="T85" fmla="*/ 2147483647 h 3118"/>
              <a:gd name="T86" fmla="*/ 2147483647 w 3018"/>
              <a:gd name="T87" fmla="*/ 2147483647 h 3118"/>
              <a:gd name="T88" fmla="*/ 2147483647 w 3018"/>
              <a:gd name="T89" fmla="*/ 2147483647 h 3118"/>
              <a:gd name="T90" fmla="*/ 2147483647 w 3018"/>
              <a:gd name="T91" fmla="*/ 2147483647 h 3118"/>
              <a:gd name="T92" fmla="*/ 2147483647 w 3018"/>
              <a:gd name="T93" fmla="*/ 2147483647 h 3118"/>
              <a:gd name="T94" fmla="*/ 2147483647 w 3018"/>
              <a:gd name="T95" fmla="*/ 2147483647 h 3118"/>
              <a:gd name="T96" fmla="*/ 2147483647 w 3018"/>
              <a:gd name="T97" fmla="*/ 2147483647 h 3118"/>
              <a:gd name="T98" fmla="*/ 2147483647 w 3018"/>
              <a:gd name="T99" fmla="*/ 2147483647 h 311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3018"/>
              <a:gd name="T151" fmla="*/ 0 h 3118"/>
              <a:gd name="T152" fmla="*/ 3018 w 3018"/>
              <a:gd name="T153" fmla="*/ 3118 h 311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3018" h="3118">
                <a:moveTo>
                  <a:pt x="1969" y="0"/>
                </a:moveTo>
                <a:lnTo>
                  <a:pt x="1948" y="9"/>
                </a:lnTo>
                <a:lnTo>
                  <a:pt x="1740" y="17"/>
                </a:lnTo>
                <a:lnTo>
                  <a:pt x="1648" y="208"/>
                </a:lnTo>
                <a:lnTo>
                  <a:pt x="1660" y="229"/>
                </a:lnTo>
                <a:lnTo>
                  <a:pt x="1649" y="256"/>
                </a:lnTo>
                <a:lnTo>
                  <a:pt x="1519" y="321"/>
                </a:lnTo>
                <a:lnTo>
                  <a:pt x="1302" y="354"/>
                </a:lnTo>
                <a:lnTo>
                  <a:pt x="1260" y="399"/>
                </a:lnTo>
                <a:lnTo>
                  <a:pt x="1257" y="422"/>
                </a:lnTo>
                <a:lnTo>
                  <a:pt x="1339" y="455"/>
                </a:lnTo>
                <a:lnTo>
                  <a:pt x="1328" y="467"/>
                </a:lnTo>
                <a:lnTo>
                  <a:pt x="1240" y="453"/>
                </a:lnTo>
                <a:lnTo>
                  <a:pt x="1189" y="472"/>
                </a:lnTo>
                <a:lnTo>
                  <a:pt x="1106" y="457"/>
                </a:lnTo>
                <a:lnTo>
                  <a:pt x="990" y="396"/>
                </a:lnTo>
                <a:lnTo>
                  <a:pt x="967" y="392"/>
                </a:lnTo>
                <a:lnTo>
                  <a:pt x="935" y="311"/>
                </a:lnTo>
                <a:lnTo>
                  <a:pt x="950" y="276"/>
                </a:lnTo>
                <a:lnTo>
                  <a:pt x="937" y="264"/>
                </a:lnTo>
                <a:lnTo>
                  <a:pt x="850" y="243"/>
                </a:lnTo>
                <a:lnTo>
                  <a:pt x="814" y="219"/>
                </a:lnTo>
                <a:lnTo>
                  <a:pt x="798" y="345"/>
                </a:lnTo>
                <a:lnTo>
                  <a:pt x="819" y="374"/>
                </a:lnTo>
                <a:lnTo>
                  <a:pt x="796" y="585"/>
                </a:lnTo>
                <a:lnTo>
                  <a:pt x="818" y="612"/>
                </a:lnTo>
                <a:lnTo>
                  <a:pt x="795" y="626"/>
                </a:lnTo>
                <a:lnTo>
                  <a:pt x="746" y="616"/>
                </a:lnTo>
                <a:lnTo>
                  <a:pt x="736" y="593"/>
                </a:lnTo>
                <a:lnTo>
                  <a:pt x="720" y="580"/>
                </a:lnTo>
                <a:lnTo>
                  <a:pt x="651" y="583"/>
                </a:lnTo>
                <a:lnTo>
                  <a:pt x="617" y="566"/>
                </a:lnTo>
                <a:lnTo>
                  <a:pt x="533" y="568"/>
                </a:lnTo>
                <a:lnTo>
                  <a:pt x="457" y="445"/>
                </a:lnTo>
                <a:lnTo>
                  <a:pt x="382" y="427"/>
                </a:lnTo>
                <a:lnTo>
                  <a:pt x="367" y="414"/>
                </a:lnTo>
                <a:lnTo>
                  <a:pt x="341" y="419"/>
                </a:lnTo>
                <a:lnTo>
                  <a:pt x="328" y="440"/>
                </a:lnTo>
                <a:lnTo>
                  <a:pt x="48" y="428"/>
                </a:lnTo>
                <a:lnTo>
                  <a:pt x="19" y="465"/>
                </a:lnTo>
                <a:lnTo>
                  <a:pt x="12" y="487"/>
                </a:lnTo>
                <a:lnTo>
                  <a:pt x="100" y="506"/>
                </a:lnTo>
                <a:lnTo>
                  <a:pt x="85" y="524"/>
                </a:lnTo>
                <a:lnTo>
                  <a:pt x="62" y="519"/>
                </a:lnTo>
                <a:lnTo>
                  <a:pt x="36" y="538"/>
                </a:lnTo>
                <a:lnTo>
                  <a:pt x="36" y="562"/>
                </a:lnTo>
                <a:lnTo>
                  <a:pt x="112" y="580"/>
                </a:lnTo>
                <a:lnTo>
                  <a:pt x="92" y="609"/>
                </a:lnTo>
                <a:lnTo>
                  <a:pt x="0" y="597"/>
                </a:lnTo>
                <a:lnTo>
                  <a:pt x="14" y="625"/>
                </a:lnTo>
                <a:lnTo>
                  <a:pt x="62" y="664"/>
                </a:lnTo>
                <a:lnTo>
                  <a:pt x="48" y="707"/>
                </a:lnTo>
                <a:lnTo>
                  <a:pt x="94" y="731"/>
                </a:lnTo>
                <a:lnTo>
                  <a:pt x="100" y="703"/>
                </a:lnTo>
                <a:lnTo>
                  <a:pt x="140" y="713"/>
                </a:lnTo>
                <a:lnTo>
                  <a:pt x="285" y="845"/>
                </a:lnTo>
                <a:lnTo>
                  <a:pt x="290" y="873"/>
                </a:lnTo>
                <a:lnTo>
                  <a:pt x="311" y="888"/>
                </a:lnTo>
                <a:lnTo>
                  <a:pt x="368" y="886"/>
                </a:lnTo>
                <a:lnTo>
                  <a:pt x="395" y="906"/>
                </a:lnTo>
                <a:lnTo>
                  <a:pt x="370" y="916"/>
                </a:lnTo>
                <a:lnTo>
                  <a:pt x="414" y="950"/>
                </a:lnTo>
                <a:lnTo>
                  <a:pt x="449" y="941"/>
                </a:lnTo>
                <a:lnTo>
                  <a:pt x="459" y="952"/>
                </a:lnTo>
                <a:lnTo>
                  <a:pt x="429" y="1023"/>
                </a:lnTo>
                <a:lnTo>
                  <a:pt x="486" y="1056"/>
                </a:lnTo>
                <a:lnTo>
                  <a:pt x="554" y="1061"/>
                </a:lnTo>
                <a:lnTo>
                  <a:pt x="593" y="1092"/>
                </a:lnTo>
                <a:lnTo>
                  <a:pt x="512" y="1095"/>
                </a:lnTo>
                <a:lnTo>
                  <a:pt x="506" y="1117"/>
                </a:lnTo>
                <a:lnTo>
                  <a:pt x="526" y="1159"/>
                </a:lnTo>
                <a:lnTo>
                  <a:pt x="495" y="1188"/>
                </a:lnTo>
                <a:lnTo>
                  <a:pt x="477" y="1156"/>
                </a:lnTo>
                <a:lnTo>
                  <a:pt x="464" y="1190"/>
                </a:lnTo>
                <a:lnTo>
                  <a:pt x="515" y="1308"/>
                </a:lnTo>
                <a:lnTo>
                  <a:pt x="515" y="1347"/>
                </a:lnTo>
                <a:lnTo>
                  <a:pt x="604" y="1445"/>
                </a:lnTo>
                <a:lnTo>
                  <a:pt x="662" y="1481"/>
                </a:lnTo>
                <a:lnTo>
                  <a:pt x="640" y="1510"/>
                </a:lnTo>
                <a:lnTo>
                  <a:pt x="649" y="1554"/>
                </a:lnTo>
                <a:lnTo>
                  <a:pt x="633" y="1612"/>
                </a:lnTo>
                <a:lnTo>
                  <a:pt x="594" y="1655"/>
                </a:lnTo>
                <a:lnTo>
                  <a:pt x="600" y="1704"/>
                </a:lnTo>
                <a:lnTo>
                  <a:pt x="638" y="1746"/>
                </a:lnTo>
                <a:lnTo>
                  <a:pt x="659" y="1802"/>
                </a:lnTo>
                <a:lnTo>
                  <a:pt x="657" y="1867"/>
                </a:lnTo>
                <a:lnTo>
                  <a:pt x="604" y="1749"/>
                </a:lnTo>
                <a:lnTo>
                  <a:pt x="581" y="1779"/>
                </a:lnTo>
                <a:lnTo>
                  <a:pt x="479" y="2045"/>
                </a:lnTo>
                <a:lnTo>
                  <a:pt x="515" y="2016"/>
                </a:lnTo>
                <a:lnTo>
                  <a:pt x="521" y="2053"/>
                </a:lnTo>
                <a:lnTo>
                  <a:pt x="469" y="2083"/>
                </a:lnTo>
                <a:lnTo>
                  <a:pt x="291" y="2447"/>
                </a:lnTo>
                <a:lnTo>
                  <a:pt x="234" y="2465"/>
                </a:lnTo>
                <a:lnTo>
                  <a:pt x="188" y="2447"/>
                </a:lnTo>
                <a:lnTo>
                  <a:pt x="192" y="2470"/>
                </a:lnTo>
                <a:lnTo>
                  <a:pt x="306" y="2616"/>
                </a:lnTo>
                <a:lnTo>
                  <a:pt x="354" y="2642"/>
                </a:lnTo>
                <a:lnTo>
                  <a:pt x="424" y="2726"/>
                </a:lnTo>
                <a:lnTo>
                  <a:pt x="696" y="2869"/>
                </a:lnTo>
                <a:lnTo>
                  <a:pt x="729" y="2871"/>
                </a:lnTo>
                <a:lnTo>
                  <a:pt x="785" y="2849"/>
                </a:lnTo>
                <a:lnTo>
                  <a:pt x="827" y="2849"/>
                </a:lnTo>
                <a:lnTo>
                  <a:pt x="922" y="2938"/>
                </a:lnTo>
                <a:lnTo>
                  <a:pt x="984" y="2961"/>
                </a:lnTo>
                <a:lnTo>
                  <a:pt x="1047" y="3047"/>
                </a:lnTo>
                <a:lnTo>
                  <a:pt x="1081" y="3068"/>
                </a:lnTo>
                <a:lnTo>
                  <a:pt x="1381" y="3118"/>
                </a:lnTo>
                <a:lnTo>
                  <a:pt x="1400" y="2976"/>
                </a:lnTo>
                <a:lnTo>
                  <a:pt x="1386" y="2952"/>
                </a:lnTo>
                <a:lnTo>
                  <a:pt x="1412" y="2886"/>
                </a:lnTo>
                <a:lnTo>
                  <a:pt x="1452" y="2840"/>
                </a:lnTo>
                <a:lnTo>
                  <a:pt x="1610" y="2797"/>
                </a:lnTo>
                <a:lnTo>
                  <a:pt x="1640" y="2776"/>
                </a:lnTo>
                <a:lnTo>
                  <a:pt x="1689" y="2763"/>
                </a:lnTo>
                <a:lnTo>
                  <a:pt x="1714" y="2769"/>
                </a:lnTo>
                <a:lnTo>
                  <a:pt x="1729" y="2789"/>
                </a:lnTo>
                <a:lnTo>
                  <a:pt x="1798" y="2815"/>
                </a:lnTo>
                <a:lnTo>
                  <a:pt x="1810" y="2826"/>
                </a:lnTo>
                <a:lnTo>
                  <a:pt x="1818" y="2846"/>
                </a:lnTo>
                <a:lnTo>
                  <a:pt x="1896" y="2874"/>
                </a:lnTo>
                <a:lnTo>
                  <a:pt x="1908" y="2858"/>
                </a:lnTo>
                <a:lnTo>
                  <a:pt x="1950" y="2869"/>
                </a:lnTo>
                <a:lnTo>
                  <a:pt x="1962" y="2881"/>
                </a:lnTo>
                <a:lnTo>
                  <a:pt x="1997" y="2891"/>
                </a:lnTo>
                <a:lnTo>
                  <a:pt x="2024" y="2908"/>
                </a:lnTo>
                <a:lnTo>
                  <a:pt x="2027" y="2934"/>
                </a:lnTo>
                <a:lnTo>
                  <a:pt x="2043" y="2944"/>
                </a:lnTo>
                <a:lnTo>
                  <a:pt x="2097" y="2958"/>
                </a:lnTo>
                <a:lnTo>
                  <a:pt x="2133" y="3006"/>
                </a:lnTo>
                <a:lnTo>
                  <a:pt x="2207" y="3025"/>
                </a:lnTo>
                <a:lnTo>
                  <a:pt x="2328" y="2996"/>
                </a:lnTo>
                <a:lnTo>
                  <a:pt x="2342" y="2985"/>
                </a:lnTo>
                <a:lnTo>
                  <a:pt x="2350" y="2956"/>
                </a:lnTo>
                <a:lnTo>
                  <a:pt x="2493" y="2877"/>
                </a:lnTo>
                <a:lnTo>
                  <a:pt x="2502" y="2858"/>
                </a:lnTo>
                <a:lnTo>
                  <a:pt x="2598" y="2827"/>
                </a:lnTo>
                <a:lnTo>
                  <a:pt x="2605" y="2819"/>
                </a:lnTo>
                <a:lnTo>
                  <a:pt x="2605" y="2802"/>
                </a:lnTo>
                <a:lnTo>
                  <a:pt x="2619" y="2772"/>
                </a:lnTo>
                <a:lnTo>
                  <a:pt x="2624" y="2732"/>
                </a:lnTo>
                <a:lnTo>
                  <a:pt x="2616" y="2692"/>
                </a:lnTo>
                <a:lnTo>
                  <a:pt x="2502" y="2659"/>
                </a:lnTo>
                <a:lnTo>
                  <a:pt x="2481" y="2614"/>
                </a:lnTo>
                <a:lnTo>
                  <a:pt x="2481" y="2509"/>
                </a:lnTo>
                <a:lnTo>
                  <a:pt x="2497" y="2466"/>
                </a:lnTo>
                <a:lnTo>
                  <a:pt x="2500" y="2430"/>
                </a:lnTo>
                <a:lnTo>
                  <a:pt x="2463" y="2408"/>
                </a:lnTo>
                <a:lnTo>
                  <a:pt x="2458" y="2387"/>
                </a:lnTo>
                <a:lnTo>
                  <a:pt x="2459" y="2364"/>
                </a:lnTo>
                <a:lnTo>
                  <a:pt x="2474" y="2327"/>
                </a:lnTo>
                <a:lnTo>
                  <a:pt x="2504" y="2300"/>
                </a:lnTo>
                <a:lnTo>
                  <a:pt x="2560" y="2272"/>
                </a:lnTo>
                <a:lnTo>
                  <a:pt x="2525" y="2075"/>
                </a:lnTo>
                <a:lnTo>
                  <a:pt x="2532" y="2053"/>
                </a:lnTo>
                <a:lnTo>
                  <a:pt x="2579" y="2059"/>
                </a:lnTo>
                <a:lnTo>
                  <a:pt x="2574" y="2007"/>
                </a:lnTo>
                <a:lnTo>
                  <a:pt x="2542" y="1993"/>
                </a:lnTo>
                <a:lnTo>
                  <a:pt x="2553" y="1866"/>
                </a:lnTo>
                <a:lnTo>
                  <a:pt x="2541" y="1855"/>
                </a:lnTo>
                <a:lnTo>
                  <a:pt x="2461" y="1841"/>
                </a:lnTo>
                <a:lnTo>
                  <a:pt x="2399" y="1908"/>
                </a:lnTo>
                <a:lnTo>
                  <a:pt x="2366" y="1922"/>
                </a:lnTo>
                <a:lnTo>
                  <a:pt x="2351" y="1908"/>
                </a:lnTo>
                <a:lnTo>
                  <a:pt x="2401" y="1757"/>
                </a:lnTo>
                <a:lnTo>
                  <a:pt x="2423" y="1743"/>
                </a:lnTo>
                <a:lnTo>
                  <a:pt x="2444" y="1717"/>
                </a:lnTo>
                <a:lnTo>
                  <a:pt x="2478" y="1703"/>
                </a:lnTo>
                <a:lnTo>
                  <a:pt x="2488" y="1692"/>
                </a:lnTo>
                <a:lnTo>
                  <a:pt x="2507" y="1650"/>
                </a:lnTo>
                <a:lnTo>
                  <a:pt x="2663" y="1522"/>
                </a:lnTo>
                <a:lnTo>
                  <a:pt x="2650" y="1495"/>
                </a:lnTo>
                <a:lnTo>
                  <a:pt x="2674" y="1469"/>
                </a:lnTo>
                <a:lnTo>
                  <a:pt x="2750" y="1488"/>
                </a:lnTo>
                <a:lnTo>
                  <a:pt x="2782" y="1479"/>
                </a:lnTo>
                <a:lnTo>
                  <a:pt x="2818" y="1457"/>
                </a:lnTo>
                <a:lnTo>
                  <a:pt x="2813" y="1443"/>
                </a:lnTo>
                <a:lnTo>
                  <a:pt x="2837" y="1278"/>
                </a:lnTo>
                <a:lnTo>
                  <a:pt x="2909" y="1125"/>
                </a:lnTo>
                <a:lnTo>
                  <a:pt x="3000" y="1038"/>
                </a:lnTo>
                <a:lnTo>
                  <a:pt x="3018" y="990"/>
                </a:lnTo>
                <a:lnTo>
                  <a:pt x="2719" y="851"/>
                </a:lnTo>
                <a:lnTo>
                  <a:pt x="2702" y="802"/>
                </a:lnTo>
                <a:lnTo>
                  <a:pt x="2632" y="711"/>
                </a:lnTo>
                <a:lnTo>
                  <a:pt x="2580" y="705"/>
                </a:lnTo>
                <a:lnTo>
                  <a:pt x="2514" y="672"/>
                </a:lnTo>
                <a:lnTo>
                  <a:pt x="2477" y="673"/>
                </a:lnTo>
                <a:lnTo>
                  <a:pt x="2433" y="654"/>
                </a:lnTo>
                <a:lnTo>
                  <a:pt x="2363" y="581"/>
                </a:lnTo>
                <a:lnTo>
                  <a:pt x="2378" y="559"/>
                </a:lnTo>
                <a:lnTo>
                  <a:pt x="2360" y="544"/>
                </a:lnTo>
                <a:lnTo>
                  <a:pt x="2379" y="447"/>
                </a:lnTo>
                <a:lnTo>
                  <a:pt x="2355" y="441"/>
                </a:lnTo>
                <a:lnTo>
                  <a:pt x="2296" y="496"/>
                </a:lnTo>
                <a:lnTo>
                  <a:pt x="2254" y="486"/>
                </a:lnTo>
                <a:lnTo>
                  <a:pt x="2216" y="461"/>
                </a:lnTo>
                <a:lnTo>
                  <a:pt x="2217" y="357"/>
                </a:lnTo>
                <a:lnTo>
                  <a:pt x="2200" y="329"/>
                </a:lnTo>
                <a:lnTo>
                  <a:pt x="2062" y="231"/>
                </a:lnTo>
                <a:lnTo>
                  <a:pt x="2043" y="145"/>
                </a:lnTo>
                <a:lnTo>
                  <a:pt x="1997" y="140"/>
                </a:lnTo>
                <a:lnTo>
                  <a:pt x="1955" y="107"/>
                </a:lnTo>
                <a:lnTo>
                  <a:pt x="1969" y="0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0" name="Freeform 3">
            <a:extLst>
              <a:ext uri="{FF2B5EF4-FFF2-40B4-BE49-F238E27FC236}">
                <a16:creationId xmlns:a16="http://schemas.microsoft.com/office/drawing/2014/main" id="{D83BDCD4-7139-4086-8EA3-9B9564DEAED7}"/>
              </a:ext>
            </a:extLst>
          </p:cNvPr>
          <p:cNvSpPr>
            <a:spLocks/>
          </p:cNvSpPr>
          <p:nvPr/>
        </p:nvSpPr>
        <p:spPr bwMode="auto">
          <a:xfrm rot="21249101">
            <a:off x="7339295" y="4147124"/>
            <a:ext cx="553040" cy="247410"/>
          </a:xfrm>
          <a:custGeom>
            <a:avLst/>
            <a:gdLst>
              <a:gd name="T0" fmla="*/ 2147483647 w 1324"/>
              <a:gd name="T1" fmla="*/ 2147483647 h 646"/>
              <a:gd name="T2" fmla="*/ 2147483647 w 1324"/>
              <a:gd name="T3" fmla="*/ 2147483647 h 646"/>
              <a:gd name="T4" fmla="*/ 2147483647 w 1324"/>
              <a:gd name="T5" fmla="*/ 2147483647 h 646"/>
              <a:gd name="T6" fmla="*/ 2147483647 w 1324"/>
              <a:gd name="T7" fmla="*/ 2147483647 h 646"/>
              <a:gd name="T8" fmla="*/ 2147483647 w 1324"/>
              <a:gd name="T9" fmla="*/ 2147483647 h 646"/>
              <a:gd name="T10" fmla="*/ 2147483647 w 1324"/>
              <a:gd name="T11" fmla="*/ 2147483647 h 646"/>
              <a:gd name="T12" fmla="*/ 2147483647 w 1324"/>
              <a:gd name="T13" fmla="*/ 2147483647 h 646"/>
              <a:gd name="T14" fmla="*/ 2147483647 w 1324"/>
              <a:gd name="T15" fmla="*/ 2147483647 h 646"/>
              <a:gd name="T16" fmla="*/ 2147483647 w 1324"/>
              <a:gd name="T17" fmla="*/ 2147483647 h 646"/>
              <a:gd name="T18" fmla="*/ 2147483647 w 1324"/>
              <a:gd name="T19" fmla="*/ 2147483647 h 646"/>
              <a:gd name="T20" fmla="*/ 2147483647 w 1324"/>
              <a:gd name="T21" fmla="*/ 2147483647 h 646"/>
              <a:gd name="T22" fmla="*/ 2147483647 w 1324"/>
              <a:gd name="T23" fmla="*/ 2147483647 h 646"/>
              <a:gd name="T24" fmla="*/ 2147483647 w 1324"/>
              <a:gd name="T25" fmla="*/ 2147483647 h 646"/>
              <a:gd name="T26" fmla="*/ 2147483647 w 1324"/>
              <a:gd name="T27" fmla="*/ 2147483647 h 646"/>
              <a:gd name="T28" fmla="*/ 0 w 1324"/>
              <a:gd name="T29" fmla="*/ 2147483647 h 646"/>
              <a:gd name="T30" fmla="*/ 2147483647 w 1324"/>
              <a:gd name="T31" fmla="*/ 2147483647 h 646"/>
              <a:gd name="T32" fmla="*/ 2147483647 w 1324"/>
              <a:gd name="T33" fmla="*/ 2147483647 h 646"/>
              <a:gd name="T34" fmla="*/ 2147483647 w 1324"/>
              <a:gd name="T35" fmla="*/ 2147483647 h 646"/>
              <a:gd name="T36" fmla="*/ 2147483647 w 1324"/>
              <a:gd name="T37" fmla="*/ 2147483647 h 646"/>
              <a:gd name="T38" fmla="*/ 2147483647 w 1324"/>
              <a:gd name="T39" fmla="*/ 2147483647 h 646"/>
              <a:gd name="T40" fmla="*/ 2147483647 w 1324"/>
              <a:gd name="T41" fmla="*/ 2147483647 h 646"/>
              <a:gd name="T42" fmla="*/ 2147483647 w 1324"/>
              <a:gd name="T43" fmla="*/ 2147483647 h 646"/>
              <a:gd name="T44" fmla="*/ 2147483647 w 1324"/>
              <a:gd name="T45" fmla="*/ 2147483647 h 646"/>
              <a:gd name="T46" fmla="*/ 2147483647 w 1324"/>
              <a:gd name="T47" fmla="*/ 2147483647 h 646"/>
              <a:gd name="T48" fmla="*/ 2147483647 w 1324"/>
              <a:gd name="T49" fmla="*/ 2147483647 h 646"/>
              <a:gd name="T50" fmla="*/ 2147483647 w 1324"/>
              <a:gd name="T51" fmla="*/ 2147483647 h 646"/>
              <a:gd name="T52" fmla="*/ 2147483647 w 1324"/>
              <a:gd name="T53" fmla="*/ 2147483647 h 646"/>
              <a:gd name="T54" fmla="*/ 2147483647 w 1324"/>
              <a:gd name="T55" fmla="*/ 2147483647 h 646"/>
              <a:gd name="T56" fmla="*/ 2147483647 w 1324"/>
              <a:gd name="T57" fmla="*/ 2147483647 h 646"/>
              <a:gd name="T58" fmla="*/ 2147483647 w 1324"/>
              <a:gd name="T59" fmla="*/ 2147483647 h 646"/>
              <a:gd name="T60" fmla="*/ 2147483647 w 1324"/>
              <a:gd name="T61" fmla="*/ 0 h 646"/>
              <a:gd name="T62" fmla="*/ 2147483647 w 1324"/>
              <a:gd name="T63" fmla="*/ 2147483647 h 646"/>
              <a:gd name="T64" fmla="*/ 2147483647 w 1324"/>
              <a:gd name="T65" fmla="*/ 2147483647 h 646"/>
              <a:gd name="T66" fmla="*/ 2147483647 w 1324"/>
              <a:gd name="T67" fmla="*/ 2147483647 h 646"/>
              <a:gd name="T68" fmla="*/ 2147483647 w 1324"/>
              <a:gd name="T69" fmla="*/ 2147483647 h 646"/>
              <a:gd name="T70" fmla="*/ 2147483647 w 1324"/>
              <a:gd name="T71" fmla="*/ 2147483647 h 646"/>
              <a:gd name="T72" fmla="*/ 2147483647 w 1324"/>
              <a:gd name="T73" fmla="*/ 2147483647 h 646"/>
              <a:gd name="T74" fmla="*/ 2147483647 w 1324"/>
              <a:gd name="T75" fmla="*/ 2147483647 h 646"/>
              <a:gd name="T76" fmla="*/ 2147483647 w 1324"/>
              <a:gd name="T77" fmla="*/ 2147483647 h 646"/>
              <a:gd name="T78" fmla="*/ 2147483647 w 1324"/>
              <a:gd name="T79" fmla="*/ 2147483647 h 646"/>
              <a:gd name="T80" fmla="*/ 2147483647 w 1324"/>
              <a:gd name="T81" fmla="*/ 2147483647 h 646"/>
              <a:gd name="T82" fmla="*/ 2147483647 w 1324"/>
              <a:gd name="T83" fmla="*/ 2147483647 h 64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324"/>
              <a:gd name="T127" fmla="*/ 0 h 646"/>
              <a:gd name="T128" fmla="*/ 1324 w 1324"/>
              <a:gd name="T129" fmla="*/ 646 h 64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324" h="646">
                <a:moveTo>
                  <a:pt x="1253" y="411"/>
                </a:moveTo>
                <a:lnTo>
                  <a:pt x="1198" y="427"/>
                </a:lnTo>
                <a:lnTo>
                  <a:pt x="1124" y="380"/>
                </a:lnTo>
                <a:lnTo>
                  <a:pt x="1055" y="363"/>
                </a:lnTo>
                <a:lnTo>
                  <a:pt x="1003" y="376"/>
                </a:lnTo>
                <a:lnTo>
                  <a:pt x="928" y="370"/>
                </a:lnTo>
                <a:lnTo>
                  <a:pt x="857" y="410"/>
                </a:lnTo>
                <a:lnTo>
                  <a:pt x="836" y="460"/>
                </a:lnTo>
                <a:lnTo>
                  <a:pt x="731" y="503"/>
                </a:lnTo>
                <a:lnTo>
                  <a:pt x="657" y="479"/>
                </a:lnTo>
                <a:lnTo>
                  <a:pt x="450" y="557"/>
                </a:lnTo>
                <a:lnTo>
                  <a:pt x="389" y="642"/>
                </a:lnTo>
                <a:lnTo>
                  <a:pt x="215" y="646"/>
                </a:lnTo>
                <a:lnTo>
                  <a:pt x="52" y="524"/>
                </a:lnTo>
                <a:lnTo>
                  <a:pt x="0" y="365"/>
                </a:lnTo>
                <a:lnTo>
                  <a:pt x="57" y="275"/>
                </a:lnTo>
                <a:lnTo>
                  <a:pt x="88" y="278"/>
                </a:lnTo>
                <a:lnTo>
                  <a:pt x="111" y="297"/>
                </a:lnTo>
                <a:lnTo>
                  <a:pt x="177" y="293"/>
                </a:lnTo>
                <a:lnTo>
                  <a:pt x="235" y="251"/>
                </a:lnTo>
                <a:lnTo>
                  <a:pt x="236" y="220"/>
                </a:lnTo>
                <a:lnTo>
                  <a:pt x="274" y="214"/>
                </a:lnTo>
                <a:lnTo>
                  <a:pt x="299" y="177"/>
                </a:lnTo>
                <a:lnTo>
                  <a:pt x="303" y="123"/>
                </a:lnTo>
                <a:lnTo>
                  <a:pt x="313" y="103"/>
                </a:lnTo>
                <a:lnTo>
                  <a:pt x="350" y="94"/>
                </a:lnTo>
                <a:lnTo>
                  <a:pt x="397" y="30"/>
                </a:lnTo>
                <a:lnTo>
                  <a:pt x="445" y="34"/>
                </a:lnTo>
                <a:lnTo>
                  <a:pt x="477" y="7"/>
                </a:lnTo>
                <a:lnTo>
                  <a:pt x="524" y="30"/>
                </a:lnTo>
                <a:lnTo>
                  <a:pt x="615" y="0"/>
                </a:lnTo>
                <a:lnTo>
                  <a:pt x="722" y="110"/>
                </a:lnTo>
                <a:lnTo>
                  <a:pt x="756" y="121"/>
                </a:lnTo>
                <a:lnTo>
                  <a:pt x="797" y="99"/>
                </a:lnTo>
                <a:lnTo>
                  <a:pt x="837" y="58"/>
                </a:lnTo>
                <a:lnTo>
                  <a:pt x="920" y="58"/>
                </a:lnTo>
                <a:lnTo>
                  <a:pt x="964" y="89"/>
                </a:lnTo>
                <a:lnTo>
                  <a:pt x="1039" y="43"/>
                </a:lnTo>
                <a:lnTo>
                  <a:pt x="1152" y="41"/>
                </a:lnTo>
                <a:lnTo>
                  <a:pt x="1283" y="139"/>
                </a:lnTo>
                <a:lnTo>
                  <a:pt x="1324" y="150"/>
                </a:lnTo>
                <a:lnTo>
                  <a:pt x="1253" y="41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1" name="Freeform 4">
            <a:extLst>
              <a:ext uri="{FF2B5EF4-FFF2-40B4-BE49-F238E27FC236}">
                <a16:creationId xmlns:a16="http://schemas.microsoft.com/office/drawing/2014/main" id="{221D2E8B-CF0D-4BCB-8E2D-B448BD676831}"/>
              </a:ext>
            </a:extLst>
          </p:cNvPr>
          <p:cNvSpPr>
            <a:spLocks/>
          </p:cNvSpPr>
          <p:nvPr/>
        </p:nvSpPr>
        <p:spPr bwMode="auto">
          <a:xfrm rot="21249101">
            <a:off x="7337500" y="4147124"/>
            <a:ext cx="553040" cy="247410"/>
          </a:xfrm>
          <a:custGeom>
            <a:avLst/>
            <a:gdLst>
              <a:gd name="T0" fmla="*/ 2147483647 w 1324"/>
              <a:gd name="T1" fmla="*/ 2147483647 h 646"/>
              <a:gd name="T2" fmla="*/ 2147483647 w 1324"/>
              <a:gd name="T3" fmla="*/ 2147483647 h 646"/>
              <a:gd name="T4" fmla="*/ 2147483647 w 1324"/>
              <a:gd name="T5" fmla="*/ 2147483647 h 646"/>
              <a:gd name="T6" fmla="*/ 2147483647 w 1324"/>
              <a:gd name="T7" fmla="*/ 2147483647 h 646"/>
              <a:gd name="T8" fmla="*/ 2147483647 w 1324"/>
              <a:gd name="T9" fmla="*/ 2147483647 h 646"/>
              <a:gd name="T10" fmla="*/ 2147483647 w 1324"/>
              <a:gd name="T11" fmla="*/ 2147483647 h 646"/>
              <a:gd name="T12" fmla="*/ 2147483647 w 1324"/>
              <a:gd name="T13" fmla="*/ 2147483647 h 646"/>
              <a:gd name="T14" fmla="*/ 2147483647 w 1324"/>
              <a:gd name="T15" fmla="*/ 2147483647 h 646"/>
              <a:gd name="T16" fmla="*/ 2147483647 w 1324"/>
              <a:gd name="T17" fmla="*/ 2147483647 h 646"/>
              <a:gd name="T18" fmla="*/ 2147483647 w 1324"/>
              <a:gd name="T19" fmla="*/ 2147483647 h 646"/>
              <a:gd name="T20" fmla="*/ 2147483647 w 1324"/>
              <a:gd name="T21" fmla="*/ 2147483647 h 646"/>
              <a:gd name="T22" fmla="*/ 2147483647 w 1324"/>
              <a:gd name="T23" fmla="*/ 2147483647 h 646"/>
              <a:gd name="T24" fmla="*/ 2147483647 w 1324"/>
              <a:gd name="T25" fmla="*/ 2147483647 h 646"/>
              <a:gd name="T26" fmla="*/ 2147483647 w 1324"/>
              <a:gd name="T27" fmla="*/ 2147483647 h 646"/>
              <a:gd name="T28" fmla="*/ 0 w 1324"/>
              <a:gd name="T29" fmla="*/ 2147483647 h 646"/>
              <a:gd name="T30" fmla="*/ 2147483647 w 1324"/>
              <a:gd name="T31" fmla="*/ 2147483647 h 646"/>
              <a:gd name="T32" fmla="*/ 2147483647 w 1324"/>
              <a:gd name="T33" fmla="*/ 2147483647 h 646"/>
              <a:gd name="T34" fmla="*/ 2147483647 w 1324"/>
              <a:gd name="T35" fmla="*/ 2147483647 h 646"/>
              <a:gd name="T36" fmla="*/ 2147483647 w 1324"/>
              <a:gd name="T37" fmla="*/ 2147483647 h 646"/>
              <a:gd name="T38" fmla="*/ 2147483647 w 1324"/>
              <a:gd name="T39" fmla="*/ 2147483647 h 646"/>
              <a:gd name="T40" fmla="*/ 2147483647 w 1324"/>
              <a:gd name="T41" fmla="*/ 2147483647 h 646"/>
              <a:gd name="T42" fmla="*/ 2147483647 w 1324"/>
              <a:gd name="T43" fmla="*/ 2147483647 h 646"/>
              <a:gd name="T44" fmla="*/ 2147483647 w 1324"/>
              <a:gd name="T45" fmla="*/ 2147483647 h 646"/>
              <a:gd name="T46" fmla="*/ 2147483647 w 1324"/>
              <a:gd name="T47" fmla="*/ 2147483647 h 646"/>
              <a:gd name="T48" fmla="*/ 2147483647 w 1324"/>
              <a:gd name="T49" fmla="*/ 2147483647 h 646"/>
              <a:gd name="T50" fmla="*/ 2147483647 w 1324"/>
              <a:gd name="T51" fmla="*/ 2147483647 h 646"/>
              <a:gd name="T52" fmla="*/ 2147483647 w 1324"/>
              <a:gd name="T53" fmla="*/ 2147483647 h 646"/>
              <a:gd name="T54" fmla="*/ 2147483647 w 1324"/>
              <a:gd name="T55" fmla="*/ 2147483647 h 646"/>
              <a:gd name="T56" fmla="*/ 2147483647 w 1324"/>
              <a:gd name="T57" fmla="*/ 2147483647 h 646"/>
              <a:gd name="T58" fmla="*/ 2147483647 w 1324"/>
              <a:gd name="T59" fmla="*/ 2147483647 h 646"/>
              <a:gd name="T60" fmla="*/ 2147483647 w 1324"/>
              <a:gd name="T61" fmla="*/ 0 h 646"/>
              <a:gd name="T62" fmla="*/ 2147483647 w 1324"/>
              <a:gd name="T63" fmla="*/ 2147483647 h 646"/>
              <a:gd name="T64" fmla="*/ 2147483647 w 1324"/>
              <a:gd name="T65" fmla="*/ 2147483647 h 646"/>
              <a:gd name="T66" fmla="*/ 2147483647 w 1324"/>
              <a:gd name="T67" fmla="*/ 2147483647 h 646"/>
              <a:gd name="T68" fmla="*/ 2147483647 w 1324"/>
              <a:gd name="T69" fmla="*/ 2147483647 h 646"/>
              <a:gd name="T70" fmla="*/ 2147483647 w 1324"/>
              <a:gd name="T71" fmla="*/ 2147483647 h 646"/>
              <a:gd name="T72" fmla="*/ 2147483647 w 1324"/>
              <a:gd name="T73" fmla="*/ 2147483647 h 646"/>
              <a:gd name="T74" fmla="*/ 2147483647 w 1324"/>
              <a:gd name="T75" fmla="*/ 2147483647 h 646"/>
              <a:gd name="T76" fmla="*/ 2147483647 w 1324"/>
              <a:gd name="T77" fmla="*/ 2147483647 h 646"/>
              <a:gd name="T78" fmla="*/ 2147483647 w 1324"/>
              <a:gd name="T79" fmla="*/ 2147483647 h 646"/>
              <a:gd name="T80" fmla="*/ 2147483647 w 1324"/>
              <a:gd name="T81" fmla="*/ 2147483647 h 646"/>
              <a:gd name="T82" fmla="*/ 2147483647 w 1324"/>
              <a:gd name="T83" fmla="*/ 2147483647 h 64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324"/>
              <a:gd name="T127" fmla="*/ 0 h 646"/>
              <a:gd name="T128" fmla="*/ 1324 w 1324"/>
              <a:gd name="T129" fmla="*/ 646 h 64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324" h="646">
                <a:moveTo>
                  <a:pt x="1253" y="411"/>
                </a:moveTo>
                <a:lnTo>
                  <a:pt x="1198" y="427"/>
                </a:lnTo>
                <a:lnTo>
                  <a:pt x="1124" y="380"/>
                </a:lnTo>
                <a:lnTo>
                  <a:pt x="1055" y="363"/>
                </a:lnTo>
                <a:lnTo>
                  <a:pt x="1003" y="376"/>
                </a:lnTo>
                <a:lnTo>
                  <a:pt x="928" y="370"/>
                </a:lnTo>
                <a:lnTo>
                  <a:pt x="857" y="410"/>
                </a:lnTo>
                <a:lnTo>
                  <a:pt x="836" y="460"/>
                </a:lnTo>
                <a:lnTo>
                  <a:pt x="731" y="503"/>
                </a:lnTo>
                <a:lnTo>
                  <a:pt x="657" y="479"/>
                </a:lnTo>
                <a:lnTo>
                  <a:pt x="450" y="557"/>
                </a:lnTo>
                <a:lnTo>
                  <a:pt x="389" y="642"/>
                </a:lnTo>
                <a:lnTo>
                  <a:pt x="215" y="646"/>
                </a:lnTo>
                <a:lnTo>
                  <a:pt x="52" y="524"/>
                </a:lnTo>
                <a:lnTo>
                  <a:pt x="0" y="365"/>
                </a:lnTo>
                <a:lnTo>
                  <a:pt x="57" y="275"/>
                </a:lnTo>
                <a:lnTo>
                  <a:pt x="88" y="278"/>
                </a:lnTo>
                <a:lnTo>
                  <a:pt x="111" y="297"/>
                </a:lnTo>
                <a:lnTo>
                  <a:pt x="177" y="293"/>
                </a:lnTo>
                <a:lnTo>
                  <a:pt x="235" y="251"/>
                </a:lnTo>
                <a:lnTo>
                  <a:pt x="236" y="220"/>
                </a:lnTo>
                <a:lnTo>
                  <a:pt x="274" y="214"/>
                </a:lnTo>
                <a:lnTo>
                  <a:pt x="299" y="177"/>
                </a:lnTo>
                <a:lnTo>
                  <a:pt x="303" y="123"/>
                </a:lnTo>
                <a:lnTo>
                  <a:pt x="313" y="103"/>
                </a:lnTo>
                <a:lnTo>
                  <a:pt x="350" y="94"/>
                </a:lnTo>
                <a:lnTo>
                  <a:pt x="397" y="30"/>
                </a:lnTo>
                <a:lnTo>
                  <a:pt x="445" y="34"/>
                </a:lnTo>
                <a:lnTo>
                  <a:pt x="477" y="7"/>
                </a:lnTo>
                <a:lnTo>
                  <a:pt x="524" y="30"/>
                </a:lnTo>
                <a:lnTo>
                  <a:pt x="615" y="0"/>
                </a:lnTo>
                <a:lnTo>
                  <a:pt x="722" y="110"/>
                </a:lnTo>
                <a:lnTo>
                  <a:pt x="756" y="121"/>
                </a:lnTo>
                <a:lnTo>
                  <a:pt x="797" y="99"/>
                </a:lnTo>
                <a:lnTo>
                  <a:pt x="837" y="58"/>
                </a:lnTo>
                <a:lnTo>
                  <a:pt x="920" y="58"/>
                </a:lnTo>
                <a:lnTo>
                  <a:pt x="964" y="89"/>
                </a:lnTo>
                <a:lnTo>
                  <a:pt x="1039" y="43"/>
                </a:lnTo>
                <a:lnTo>
                  <a:pt x="1152" y="41"/>
                </a:lnTo>
                <a:lnTo>
                  <a:pt x="1283" y="139"/>
                </a:lnTo>
                <a:lnTo>
                  <a:pt x="1324" y="150"/>
                </a:lnTo>
                <a:lnTo>
                  <a:pt x="1253" y="411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2" name="Freeform 5">
            <a:extLst>
              <a:ext uri="{FF2B5EF4-FFF2-40B4-BE49-F238E27FC236}">
                <a16:creationId xmlns:a16="http://schemas.microsoft.com/office/drawing/2014/main" id="{BEC350B5-85EB-4494-BE46-CDEDB39C8120}"/>
              </a:ext>
            </a:extLst>
          </p:cNvPr>
          <p:cNvSpPr>
            <a:spLocks/>
          </p:cNvSpPr>
          <p:nvPr/>
        </p:nvSpPr>
        <p:spPr bwMode="auto">
          <a:xfrm rot="21249101">
            <a:off x="6595925" y="4478096"/>
            <a:ext cx="26934" cy="52431"/>
          </a:xfrm>
          <a:custGeom>
            <a:avLst/>
            <a:gdLst>
              <a:gd name="T0" fmla="*/ 2147483647 w 63"/>
              <a:gd name="T1" fmla="*/ 2147483647 h 141"/>
              <a:gd name="T2" fmla="*/ 2147483647 w 63"/>
              <a:gd name="T3" fmla="*/ 2147483647 h 141"/>
              <a:gd name="T4" fmla="*/ 2147483647 w 63"/>
              <a:gd name="T5" fmla="*/ 2147483647 h 141"/>
              <a:gd name="T6" fmla="*/ 2147483647 w 63"/>
              <a:gd name="T7" fmla="*/ 0 h 141"/>
              <a:gd name="T8" fmla="*/ 0 w 63"/>
              <a:gd name="T9" fmla="*/ 2147483647 h 141"/>
              <a:gd name="T10" fmla="*/ 2147483647 w 63"/>
              <a:gd name="T11" fmla="*/ 2147483647 h 1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3"/>
              <a:gd name="T19" fmla="*/ 0 h 141"/>
              <a:gd name="T20" fmla="*/ 63 w 63"/>
              <a:gd name="T21" fmla="*/ 141 h 14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3" h="141">
                <a:moveTo>
                  <a:pt x="27" y="141"/>
                </a:moveTo>
                <a:lnTo>
                  <a:pt x="58" y="110"/>
                </a:lnTo>
                <a:lnTo>
                  <a:pt x="63" y="26"/>
                </a:lnTo>
                <a:lnTo>
                  <a:pt x="32" y="0"/>
                </a:lnTo>
                <a:lnTo>
                  <a:pt x="0" y="81"/>
                </a:lnTo>
                <a:lnTo>
                  <a:pt x="27" y="14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3" name="Freeform 6">
            <a:extLst>
              <a:ext uri="{FF2B5EF4-FFF2-40B4-BE49-F238E27FC236}">
                <a16:creationId xmlns:a16="http://schemas.microsoft.com/office/drawing/2014/main" id="{602B001D-7459-4BFC-B7CC-A55F81482943}"/>
              </a:ext>
            </a:extLst>
          </p:cNvPr>
          <p:cNvSpPr>
            <a:spLocks/>
          </p:cNvSpPr>
          <p:nvPr/>
        </p:nvSpPr>
        <p:spPr bwMode="auto">
          <a:xfrm rot="21249101">
            <a:off x="6595925" y="4478096"/>
            <a:ext cx="26934" cy="52431"/>
          </a:xfrm>
          <a:custGeom>
            <a:avLst/>
            <a:gdLst>
              <a:gd name="T0" fmla="*/ 2147483647 w 63"/>
              <a:gd name="T1" fmla="*/ 2147483647 h 141"/>
              <a:gd name="T2" fmla="*/ 2147483647 w 63"/>
              <a:gd name="T3" fmla="*/ 2147483647 h 141"/>
              <a:gd name="T4" fmla="*/ 2147483647 w 63"/>
              <a:gd name="T5" fmla="*/ 2147483647 h 141"/>
              <a:gd name="T6" fmla="*/ 2147483647 w 63"/>
              <a:gd name="T7" fmla="*/ 0 h 141"/>
              <a:gd name="T8" fmla="*/ 0 w 63"/>
              <a:gd name="T9" fmla="*/ 2147483647 h 141"/>
              <a:gd name="T10" fmla="*/ 2147483647 w 63"/>
              <a:gd name="T11" fmla="*/ 2147483647 h 1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3"/>
              <a:gd name="T19" fmla="*/ 0 h 141"/>
              <a:gd name="T20" fmla="*/ 63 w 63"/>
              <a:gd name="T21" fmla="*/ 141 h 14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3" h="141">
                <a:moveTo>
                  <a:pt x="27" y="141"/>
                </a:moveTo>
                <a:lnTo>
                  <a:pt x="58" y="110"/>
                </a:lnTo>
                <a:lnTo>
                  <a:pt x="63" y="26"/>
                </a:lnTo>
                <a:lnTo>
                  <a:pt x="32" y="0"/>
                </a:lnTo>
                <a:lnTo>
                  <a:pt x="0" y="81"/>
                </a:lnTo>
                <a:lnTo>
                  <a:pt x="27" y="141"/>
                </a:lnTo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4" name="Freeform 9">
            <a:extLst>
              <a:ext uri="{FF2B5EF4-FFF2-40B4-BE49-F238E27FC236}">
                <a16:creationId xmlns:a16="http://schemas.microsoft.com/office/drawing/2014/main" id="{DE3F5643-DF77-48F4-BBE4-31C61239EF03}"/>
              </a:ext>
            </a:extLst>
          </p:cNvPr>
          <p:cNvSpPr>
            <a:spLocks/>
          </p:cNvSpPr>
          <p:nvPr/>
        </p:nvSpPr>
        <p:spPr bwMode="auto">
          <a:xfrm rot="21249101">
            <a:off x="7822309" y="5120379"/>
            <a:ext cx="276520" cy="204809"/>
          </a:xfrm>
          <a:custGeom>
            <a:avLst/>
            <a:gdLst>
              <a:gd name="T0" fmla="*/ 2147483647 w 660"/>
              <a:gd name="T1" fmla="*/ 2147483647 h 536"/>
              <a:gd name="T2" fmla="*/ 2147483647 w 660"/>
              <a:gd name="T3" fmla="*/ 2147483647 h 536"/>
              <a:gd name="T4" fmla="*/ 0 w 660"/>
              <a:gd name="T5" fmla="*/ 2147483647 h 536"/>
              <a:gd name="T6" fmla="*/ 2147483647 w 660"/>
              <a:gd name="T7" fmla="*/ 2147483647 h 536"/>
              <a:gd name="T8" fmla="*/ 2147483647 w 660"/>
              <a:gd name="T9" fmla="*/ 2147483647 h 536"/>
              <a:gd name="T10" fmla="*/ 2147483647 w 660"/>
              <a:gd name="T11" fmla="*/ 2147483647 h 536"/>
              <a:gd name="T12" fmla="*/ 2147483647 w 660"/>
              <a:gd name="T13" fmla="*/ 2147483647 h 536"/>
              <a:gd name="T14" fmla="*/ 2147483647 w 660"/>
              <a:gd name="T15" fmla="*/ 2147483647 h 536"/>
              <a:gd name="T16" fmla="*/ 2147483647 w 660"/>
              <a:gd name="T17" fmla="*/ 2147483647 h 536"/>
              <a:gd name="T18" fmla="*/ 2147483647 w 660"/>
              <a:gd name="T19" fmla="*/ 2147483647 h 536"/>
              <a:gd name="T20" fmla="*/ 2147483647 w 660"/>
              <a:gd name="T21" fmla="*/ 2147483647 h 536"/>
              <a:gd name="T22" fmla="*/ 2147483647 w 660"/>
              <a:gd name="T23" fmla="*/ 2147483647 h 536"/>
              <a:gd name="T24" fmla="*/ 2147483647 w 660"/>
              <a:gd name="T25" fmla="*/ 2147483647 h 536"/>
              <a:gd name="T26" fmla="*/ 2147483647 w 660"/>
              <a:gd name="T27" fmla="*/ 2147483647 h 536"/>
              <a:gd name="T28" fmla="*/ 2147483647 w 660"/>
              <a:gd name="T29" fmla="*/ 2147483647 h 536"/>
              <a:gd name="T30" fmla="*/ 2147483647 w 660"/>
              <a:gd name="T31" fmla="*/ 0 h 536"/>
              <a:gd name="T32" fmla="*/ 2147483647 w 660"/>
              <a:gd name="T33" fmla="*/ 2147483647 h 536"/>
              <a:gd name="T34" fmla="*/ 2147483647 w 660"/>
              <a:gd name="T35" fmla="*/ 2147483647 h 536"/>
              <a:gd name="T36" fmla="*/ 2147483647 w 660"/>
              <a:gd name="T37" fmla="*/ 2147483647 h 536"/>
              <a:gd name="T38" fmla="*/ 2147483647 w 660"/>
              <a:gd name="T39" fmla="*/ 2147483647 h 536"/>
              <a:gd name="T40" fmla="*/ 2147483647 w 660"/>
              <a:gd name="T41" fmla="*/ 2147483647 h 536"/>
              <a:gd name="T42" fmla="*/ 2147483647 w 660"/>
              <a:gd name="T43" fmla="*/ 2147483647 h 536"/>
              <a:gd name="T44" fmla="*/ 2147483647 w 660"/>
              <a:gd name="T45" fmla="*/ 2147483647 h 536"/>
              <a:gd name="T46" fmla="*/ 2147483647 w 660"/>
              <a:gd name="T47" fmla="*/ 2147483647 h 536"/>
              <a:gd name="T48" fmla="*/ 2147483647 w 660"/>
              <a:gd name="T49" fmla="*/ 2147483647 h 536"/>
              <a:gd name="T50" fmla="*/ 2147483647 w 660"/>
              <a:gd name="T51" fmla="*/ 2147483647 h 536"/>
              <a:gd name="T52" fmla="*/ 2147483647 w 660"/>
              <a:gd name="T53" fmla="*/ 2147483647 h 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60"/>
              <a:gd name="T82" fmla="*/ 0 h 536"/>
              <a:gd name="T83" fmla="*/ 660 w 660"/>
              <a:gd name="T84" fmla="*/ 536 h 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60" h="536">
                <a:moveTo>
                  <a:pt x="132" y="536"/>
                </a:moveTo>
                <a:lnTo>
                  <a:pt x="42" y="452"/>
                </a:lnTo>
                <a:lnTo>
                  <a:pt x="0" y="353"/>
                </a:lnTo>
                <a:lnTo>
                  <a:pt x="19" y="90"/>
                </a:lnTo>
                <a:lnTo>
                  <a:pt x="30" y="99"/>
                </a:lnTo>
                <a:lnTo>
                  <a:pt x="49" y="100"/>
                </a:lnTo>
                <a:lnTo>
                  <a:pt x="67" y="86"/>
                </a:lnTo>
                <a:lnTo>
                  <a:pt x="71" y="42"/>
                </a:lnTo>
                <a:lnTo>
                  <a:pt x="153" y="16"/>
                </a:lnTo>
                <a:lnTo>
                  <a:pt x="170" y="19"/>
                </a:lnTo>
                <a:lnTo>
                  <a:pt x="200" y="53"/>
                </a:lnTo>
                <a:lnTo>
                  <a:pt x="213" y="51"/>
                </a:lnTo>
                <a:lnTo>
                  <a:pt x="214" y="31"/>
                </a:lnTo>
                <a:lnTo>
                  <a:pt x="251" y="7"/>
                </a:lnTo>
                <a:lnTo>
                  <a:pt x="330" y="21"/>
                </a:lnTo>
                <a:lnTo>
                  <a:pt x="347" y="0"/>
                </a:lnTo>
                <a:lnTo>
                  <a:pt x="420" y="12"/>
                </a:lnTo>
                <a:lnTo>
                  <a:pt x="472" y="3"/>
                </a:lnTo>
                <a:lnTo>
                  <a:pt x="502" y="16"/>
                </a:lnTo>
                <a:lnTo>
                  <a:pt x="619" y="107"/>
                </a:lnTo>
                <a:lnTo>
                  <a:pt x="660" y="335"/>
                </a:lnTo>
                <a:lnTo>
                  <a:pt x="627" y="346"/>
                </a:lnTo>
                <a:lnTo>
                  <a:pt x="557" y="415"/>
                </a:lnTo>
                <a:lnTo>
                  <a:pt x="455" y="418"/>
                </a:lnTo>
                <a:lnTo>
                  <a:pt x="365" y="455"/>
                </a:lnTo>
                <a:lnTo>
                  <a:pt x="311" y="509"/>
                </a:lnTo>
                <a:lnTo>
                  <a:pt x="132" y="536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5" name="Freeform 10">
            <a:extLst>
              <a:ext uri="{FF2B5EF4-FFF2-40B4-BE49-F238E27FC236}">
                <a16:creationId xmlns:a16="http://schemas.microsoft.com/office/drawing/2014/main" id="{9CA340C9-6D95-4372-975A-63ED6FA50EB5}"/>
              </a:ext>
            </a:extLst>
          </p:cNvPr>
          <p:cNvSpPr>
            <a:spLocks/>
          </p:cNvSpPr>
          <p:nvPr/>
        </p:nvSpPr>
        <p:spPr bwMode="auto">
          <a:xfrm rot="21249101">
            <a:off x="7822309" y="5120379"/>
            <a:ext cx="276520" cy="204809"/>
          </a:xfrm>
          <a:custGeom>
            <a:avLst/>
            <a:gdLst>
              <a:gd name="T0" fmla="*/ 2147483647 w 660"/>
              <a:gd name="T1" fmla="*/ 2147483647 h 536"/>
              <a:gd name="T2" fmla="*/ 2147483647 w 660"/>
              <a:gd name="T3" fmla="*/ 2147483647 h 536"/>
              <a:gd name="T4" fmla="*/ 0 w 660"/>
              <a:gd name="T5" fmla="*/ 2147483647 h 536"/>
              <a:gd name="T6" fmla="*/ 2147483647 w 660"/>
              <a:gd name="T7" fmla="*/ 2147483647 h 536"/>
              <a:gd name="T8" fmla="*/ 2147483647 w 660"/>
              <a:gd name="T9" fmla="*/ 2147483647 h 536"/>
              <a:gd name="T10" fmla="*/ 2147483647 w 660"/>
              <a:gd name="T11" fmla="*/ 2147483647 h 536"/>
              <a:gd name="T12" fmla="*/ 2147483647 w 660"/>
              <a:gd name="T13" fmla="*/ 2147483647 h 536"/>
              <a:gd name="T14" fmla="*/ 2147483647 w 660"/>
              <a:gd name="T15" fmla="*/ 2147483647 h 536"/>
              <a:gd name="T16" fmla="*/ 2147483647 w 660"/>
              <a:gd name="T17" fmla="*/ 2147483647 h 536"/>
              <a:gd name="T18" fmla="*/ 2147483647 w 660"/>
              <a:gd name="T19" fmla="*/ 2147483647 h 536"/>
              <a:gd name="T20" fmla="*/ 2147483647 w 660"/>
              <a:gd name="T21" fmla="*/ 2147483647 h 536"/>
              <a:gd name="T22" fmla="*/ 2147483647 w 660"/>
              <a:gd name="T23" fmla="*/ 2147483647 h 536"/>
              <a:gd name="T24" fmla="*/ 2147483647 w 660"/>
              <a:gd name="T25" fmla="*/ 2147483647 h 536"/>
              <a:gd name="T26" fmla="*/ 2147483647 w 660"/>
              <a:gd name="T27" fmla="*/ 2147483647 h 536"/>
              <a:gd name="T28" fmla="*/ 2147483647 w 660"/>
              <a:gd name="T29" fmla="*/ 2147483647 h 536"/>
              <a:gd name="T30" fmla="*/ 2147483647 w 660"/>
              <a:gd name="T31" fmla="*/ 0 h 536"/>
              <a:gd name="T32" fmla="*/ 2147483647 w 660"/>
              <a:gd name="T33" fmla="*/ 2147483647 h 536"/>
              <a:gd name="T34" fmla="*/ 2147483647 w 660"/>
              <a:gd name="T35" fmla="*/ 2147483647 h 536"/>
              <a:gd name="T36" fmla="*/ 2147483647 w 660"/>
              <a:gd name="T37" fmla="*/ 2147483647 h 536"/>
              <a:gd name="T38" fmla="*/ 2147483647 w 660"/>
              <a:gd name="T39" fmla="*/ 2147483647 h 536"/>
              <a:gd name="T40" fmla="*/ 2147483647 w 660"/>
              <a:gd name="T41" fmla="*/ 2147483647 h 536"/>
              <a:gd name="T42" fmla="*/ 2147483647 w 660"/>
              <a:gd name="T43" fmla="*/ 2147483647 h 536"/>
              <a:gd name="T44" fmla="*/ 2147483647 w 660"/>
              <a:gd name="T45" fmla="*/ 2147483647 h 536"/>
              <a:gd name="T46" fmla="*/ 2147483647 w 660"/>
              <a:gd name="T47" fmla="*/ 2147483647 h 536"/>
              <a:gd name="T48" fmla="*/ 2147483647 w 660"/>
              <a:gd name="T49" fmla="*/ 2147483647 h 536"/>
              <a:gd name="T50" fmla="*/ 2147483647 w 660"/>
              <a:gd name="T51" fmla="*/ 2147483647 h 536"/>
              <a:gd name="T52" fmla="*/ 2147483647 w 660"/>
              <a:gd name="T53" fmla="*/ 2147483647 h 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60"/>
              <a:gd name="T82" fmla="*/ 0 h 536"/>
              <a:gd name="T83" fmla="*/ 660 w 660"/>
              <a:gd name="T84" fmla="*/ 536 h 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60" h="536">
                <a:moveTo>
                  <a:pt x="132" y="536"/>
                </a:moveTo>
                <a:lnTo>
                  <a:pt x="42" y="452"/>
                </a:lnTo>
                <a:lnTo>
                  <a:pt x="0" y="353"/>
                </a:lnTo>
                <a:lnTo>
                  <a:pt x="19" y="90"/>
                </a:lnTo>
                <a:lnTo>
                  <a:pt x="30" y="99"/>
                </a:lnTo>
                <a:lnTo>
                  <a:pt x="49" y="100"/>
                </a:lnTo>
                <a:lnTo>
                  <a:pt x="67" y="86"/>
                </a:lnTo>
                <a:lnTo>
                  <a:pt x="71" y="42"/>
                </a:lnTo>
                <a:lnTo>
                  <a:pt x="153" y="16"/>
                </a:lnTo>
                <a:lnTo>
                  <a:pt x="170" y="19"/>
                </a:lnTo>
                <a:lnTo>
                  <a:pt x="200" y="53"/>
                </a:lnTo>
                <a:lnTo>
                  <a:pt x="213" y="51"/>
                </a:lnTo>
                <a:lnTo>
                  <a:pt x="214" y="31"/>
                </a:lnTo>
                <a:lnTo>
                  <a:pt x="251" y="7"/>
                </a:lnTo>
                <a:lnTo>
                  <a:pt x="330" y="21"/>
                </a:lnTo>
                <a:lnTo>
                  <a:pt x="347" y="0"/>
                </a:lnTo>
                <a:lnTo>
                  <a:pt x="420" y="12"/>
                </a:lnTo>
                <a:lnTo>
                  <a:pt x="472" y="3"/>
                </a:lnTo>
                <a:lnTo>
                  <a:pt x="502" y="16"/>
                </a:lnTo>
                <a:lnTo>
                  <a:pt x="619" y="107"/>
                </a:lnTo>
                <a:lnTo>
                  <a:pt x="660" y="335"/>
                </a:lnTo>
                <a:lnTo>
                  <a:pt x="627" y="346"/>
                </a:lnTo>
                <a:lnTo>
                  <a:pt x="557" y="415"/>
                </a:lnTo>
                <a:lnTo>
                  <a:pt x="455" y="418"/>
                </a:lnTo>
                <a:lnTo>
                  <a:pt x="365" y="455"/>
                </a:lnTo>
                <a:lnTo>
                  <a:pt x="311" y="509"/>
                </a:lnTo>
                <a:lnTo>
                  <a:pt x="132" y="536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6" name="Freeform 11">
            <a:extLst>
              <a:ext uri="{FF2B5EF4-FFF2-40B4-BE49-F238E27FC236}">
                <a16:creationId xmlns:a16="http://schemas.microsoft.com/office/drawing/2014/main" id="{5159DA5B-37BD-4D9A-958E-E79DB17CF21D}"/>
              </a:ext>
            </a:extLst>
          </p:cNvPr>
          <p:cNvSpPr>
            <a:spLocks/>
          </p:cNvSpPr>
          <p:nvPr/>
        </p:nvSpPr>
        <p:spPr bwMode="auto">
          <a:xfrm rot="21249101">
            <a:off x="7709186" y="4245432"/>
            <a:ext cx="1019891" cy="645560"/>
          </a:xfrm>
          <a:custGeom>
            <a:avLst/>
            <a:gdLst>
              <a:gd name="T0" fmla="*/ 2147483647 w 2439"/>
              <a:gd name="T1" fmla="*/ 2147483647 h 1690"/>
              <a:gd name="T2" fmla="*/ 2147483647 w 2439"/>
              <a:gd name="T3" fmla="*/ 2147483647 h 1690"/>
              <a:gd name="T4" fmla="*/ 2147483647 w 2439"/>
              <a:gd name="T5" fmla="*/ 2147483647 h 1690"/>
              <a:gd name="T6" fmla="*/ 2147483647 w 2439"/>
              <a:gd name="T7" fmla="*/ 2147483647 h 1690"/>
              <a:gd name="T8" fmla="*/ 2147483647 w 2439"/>
              <a:gd name="T9" fmla="*/ 2147483647 h 1690"/>
              <a:gd name="T10" fmla="*/ 2147483647 w 2439"/>
              <a:gd name="T11" fmla="*/ 2147483647 h 1690"/>
              <a:gd name="T12" fmla="*/ 2147483647 w 2439"/>
              <a:gd name="T13" fmla="*/ 2147483647 h 1690"/>
              <a:gd name="T14" fmla="*/ 2147483647 w 2439"/>
              <a:gd name="T15" fmla="*/ 2147483647 h 1690"/>
              <a:gd name="T16" fmla="*/ 2147483647 w 2439"/>
              <a:gd name="T17" fmla="*/ 2147483647 h 1690"/>
              <a:gd name="T18" fmla="*/ 2147483647 w 2439"/>
              <a:gd name="T19" fmla="*/ 2147483647 h 1690"/>
              <a:gd name="T20" fmla="*/ 2147483647 w 2439"/>
              <a:gd name="T21" fmla="*/ 2147483647 h 1690"/>
              <a:gd name="T22" fmla="*/ 0 w 2439"/>
              <a:gd name="T23" fmla="*/ 2147483647 h 1690"/>
              <a:gd name="T24" fmla="*/ 2147483647 w 2439"/>
              <a:gd name="T25" fmla="*/ 2147483647 h 1690"/>
              <a:gd name="T26" fmla="*/ 2147483647 w 2439"/>
              <a:gd name="T27" fmla="*/ 2147483647 h 1690"/>
              <a:gd name="T28" fmla="*/ 2147483647 w 2439"/>
              <a:gd name="T29" fmla="*/ 2147483647 h 1690"/>
              <a:gd name="T30" fmla="*/ 2147483647 w 2439"/>
              <a:gd name="T31" fmla="*/ 2147483647 h 1690"/>
              <a:gd name="T32" fmla="*/ 2147483647 w 2439"/>
              <a:gd name="T33" fmla="*/ 2147483647 h 1690"/>
              <a:gd name="T34" fmla="*/ 2147483647 w 2439"/>
              <a:gd name="T35" fmla="*/ 2147483647 h 1690"/>
              <a:gd name="T36" fmla="*/ 2147483647 w 2439"/>
              <a:gd name="T37" fmla="*/ 2147483647 h 1690"/>
              <a:gd name="T38" fmla="*/ 2147483647 w 2439"/>
              <a:gd name="T39" fmla="*/ 2147483647 h 1690"/>
              <a:gd name="T40" fmla="*/ 2147483647 w 2439"/>
              <a:gd name="T41" fmla="*/ 0 h 1690"/>
              <a:gd name="T42" fmla="*/ 2147483647 w 2439"/>
              <a:gd name="T43" fmla="*/ 2147483647 h 1690"/>
              <a:gd name="T44" fmla="*/ 2147483647 w 2439"/>
              <a:gd name="T45" fmla="*/ 2147483647 h 1690"/>
              <a:gd name="T46" fmla="*/ 2147483647 w 2439"/>
              <a:gd name="T47" fmla="*/ 2147483647 h 1690"/>
              <a:gd name="T48" fmla="*/ 2147483647 w 2439"/>
              <a:gd name="T49" fmla="*/ 2147483647 h 1690"/>
              <a:gd name="T50" fmla="*/ 2147483647 w 2439"/>
              <a:gd name="T51" fmla="*/ 2147483647 h 1690"/>
              <a:gd name="T52" fmla="*/ 2147483647 w 2439"/>
              <a:gd name="T53" fmla="*/ 2147483647 h 1690"/>
              <a:gd name="T54" fmla="*/ 2147483647 w 2439"/>
              <a:gd name="T55" fmla="*/ 2147483647 h 1690"/>
              <a:gd name="T56" fmla="*/ 2147483647 w 2439"/>
              <a:gd name="T57" fmla="*/ 2147483647 h 1690"/>
              <a:gd name="T58" fmla="*/ 2147483647 w 2439"/>
              <a:gd name="T59" fmla="*/ 2147483647 h 1690"/>
              <a:gd name="T60" fmla="*/ 2147483647 w 2439"/>
              <a:gd name="T61" fmla="*/ 2147483647 h 1690"/>
              <a:gd name="T62" fmla="*/ 2147483647 w 2439"/>
              <a:gd name="T63" fmla="*/ 2147483647 h 1690"/>
              <a:gd name="T64" fmla="*/ 2147483647 w 2439"/>
              <a:gd name="T65" fmla="*/ 2147483647 h 169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39"/>
              <a:gd name="T100" fmla="*/ 0 h 1690"/>
              <a:gd name="T101" fmla="*/ 2439 w 2439"/>
              <a:gd name="T102" fmla="*/ 1690 h 169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39" h="1690">
                <a:moveTo>
                  <a:pt x="2233" y="1572"/>
                </a:moveTo>
                <a:lnTo>
                  <a:pt x="2149" y="1590"/>
                </a:lnTo>
                <a:lnTo>
                  <a:pt x="2045" y="1531"/>
                </a:lnTo>
                <a:lnTo>
                  <a:pt x="1902" y="1508"/>
                </a:lnTo>
                <a:lnTo>
                  <a:pt x="1869" y="1486"/>
                </a:lnTo>
                <a:lnTo>
                  <a:pt x="1778" y="1491"/>
                </a:lnTo>
                <a:lnTo>
                  <a:pt x="1398" y="1690"/>
                </a:lnTo>
                <a:lnTo>
                  <a:pt x="758" y="1670"/>
                </a:lnTo>
                <a:lnTo>
                  <a:pt x="704" y="1628"/>
                </a:lnTo>
                <a:lnTo>
                  <a:pt x="733" y="1559"/>
                </a:lnTo>
                <a:lnTo>
                  <a:pt x="627" y="1531"/>
                </a:lnTo>
                <a:lnTo>
                  <a:pt x="586" y="1455"/>
                </a:lnTo>
                <a:lnTo>
                  <a:pt x="633" y="1403"/>
                </a:lnTo>
                <a:lnTo>
                  <a:pt x="598" y="1351"/>
                </a:lnTo>
                <a:lnTo>
                  <a:pt x="545" y="1396"/>
                </a:lnTo>
                <a:lnTo>
                  <a:pt x="409" y="1351"/>
                </a:lnTo>
                <a:lnTo>
                  <a:pt x="337" y="1296"/>
                </a:lnTo>
                <a:lnTo>
                  <a:pt x="318" y="1181"/>
                </a:lnTo>
                <a:lnTo>
                  <a:pt x="280" y="1157"/>
                </a:lnTo>
                <a:lnTo>
                  <a:pt x="229" y="1146"/>
                </a:lnTo>
                <a:lnTo>
                  <a:pt x="187" y="1084"/>
                </a:lnTo>
                <a:lnTo>
                  <a:pt x="138" y="946"/>
                </a:lnTo>
                <a:lnTo>
                  <a:pt x="90" y="889"/>
                </a:lnTo>
                <a:lnTo>
                  <a:pt x="0" y="843"/>
                </a:lnTo>
                <a:lnTo>
                  <a:pt x="14" y="843"/>
                </a:lnTo>
                <a:lnTo>
                  <a:pt x="232" y="764"/>
                </a:lnTo>
                <a:lnTo>
                  <a:pt x="354" y="504"/>
                </a:lnTo>
                <a:lnTo>
                  <a:pt x="408" y="441"/>
                </a:lnTo>
                <a:lnTo>
                  <a:pt x="418" y="390"/>
                </a:lnTo>
                <a:lnTo>
                  <a:pt x="443" y="343"/>
                </a:lnTo>
                <a:lnTo>
                  <a:pt x="445" y="310"/>
                </a:lnTo>
                <a:lnTo>
                  <a:pt x="489" y="261"/>
                </a:lnTo>
                <a:lnTo>
                  <a:pt x="553" y="232"/>
                </a:lnTo>
                <a:lnTo>
                  <a:pt x="586" y="231"/>
                </a:lnTo>
                <a:lnTo>
                  <a:pt x="634" y="168"/>
                </a:lnTo>
                <a:lnTo>
                  <a:pt x="666" y="154"/>
                </a:lnTo>
                <a:lnTo>
                  <a:pt x="1062" y="133"/>
                </a:lnTo>
                <a:lnTo>
                  <a:pt x="1160" y="194"/>
                </a:lnTo>
                <a:lnTo>
                  <a:pt x="1230" y="139"/>
                </a:lnTo>
                <a:lnTo>
                  <a:pt x="1375" y="107"/>
                </a:lnTo>
                <a:lnTo>
                  <a:pt x="1520" y="4"/>
                </a:lnTo>
                <a:lnTo>
                  <a:pt x="1581" y="0"/>
                </a:lnTo>
                <a:lnTo>
                  <a:pt x="1748" y="149"/>
                </a:lnTo>
                <a:lnTo>
                  <a:pt x="1768" y="223"/>
                </a:lnTo>
                <a:lnTo>
                  <a:pt x="1960" y="486"/>
                </a:lnTo>
                <a:lnTo>
                  <a:pt x="2008" y="703"/>
                </a:lnTo>
                <a:lnTo>
                  <a:pt x="2001" y="781"/>
                </a:lnTo>
                <a:lnTo>
                  <a:pt x="2042" y="973"/>
                </a:lnTo>
                <a:lnTo>
                  <a:pt x="2080" y="964"/>
                </a:lnTo>
                <a:lnTo>
                  <a:pt x="2147" y="1036"/>
                </a:lnTo>
                <a:lnTo>
                  <a:pt x="2197" y="1027"/>
                </a:lnTo>
                <a:lnTo>
                  <a:pt x="2241" y="985"/>
                </a:lnTo>
                <a:lnTo>
                  <a:pt x="2350" y="944"/>
                </a:lnTo>
                <a:lnTo>
                  <a:pt x="2389" y="942"/>
                </a:lnTo>
                <a:lnTo>
                  <a:pt x="2416" y="952"/>
                </a:lnTo>
                <a:lnTo>
                  <a:pt x="2434" y="984"/>
                </a:lnTo>
                <a:lnTo>
                  <a:pt x="2439" y="1118"/>
                </a:lnTo>
                <a:lnTo>
                  <a:pt x="2408" y="1173"/>
                </a:lnTo>
                <a:lnTo>
                  <a:pt x="2361" y="1190"/>
                </a:lnTo>
                <a:lnTo>
                  <a:pt x="2256" y="1317"/>
                </a:lnTo>
                <a:lnTo>
                  <a:pt x="2241" y="1291"/>
                </a:lnTo>
                <a:lnTo>
                  <a:pt x="2269" y="1252"/>
                </a:lnTo>
                <a:lnTo>
                  <a:pt x="2290" y="1191"/>
                </a:lnTo>
                <a:lnTo>
                  <a:pt x="2283" y="1126"/>
                </a:lnTo>
                <a:lnTo>
                  <a:pt x="2246" y="1130"/>
                </a:lnTo>
                <a:lnTo>
                  <a:pt x="2233" y="1572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7" name="Freeform 12">
            <a:extLst>
              <a:ext uri="{FF2B5EF4-FFF2-40B4-BE49-F238E27FC236}">
                <a16:creationId xmlns:a16="http://schemas.microsoft.com/office/drawing/2014/main" id="{D917B712-560A-44E0-B610-EA017C300C16}"/>
              </a:ext>
            </a:extLst>
          </p:cNvPr>
          <p:cNvSpPr>
            <a:spLocks/>
          </p:cNvSpPr>
          <p:nvPr/>
        </p:nvSpPr>
        <p:spPr bwMode="auto">
          <a:xfrm rot="21249101">
            <a:off x="7709186" y="4245432"/>
            <a:ext cx="1019891" cy="645560"/>
          </a:xfrm>
          <a:custGeom>
            <a:avLst/>
            <a:gdLst>
              <a:gd name="T0" fmla="*/ 2147483647 w 2439"/>
              <a:gd name="T1" fmla="*/ 2147483647 h 1690"/>
              <a:gd name="T2" fmla="*/ 2147483647 w 2439"/>
              <a:gd name="T3" fmla="*/ 2147483647 h 1690"/>
              <a:gd name="T4" fmla="*/ 2147483647 w 2439"/>
              <a:gd name="T5" fmla="*/ 2147483647 h 1690"/>
              <a:gd name="T6" fmla="*/ 2147483647 w 2439"/>
              <a:gd name="T7" fmla="*/ 2147483647 h 1690"/>
              <a:gd name="T8" fmla="*/ 2147483647 w 2439"/>
              <a:gd name="T9" fmla="*/ 2147483647 h 1690"/>
              <a:gd name="T10" fmla="*/ 2147483647 w 2439"/>
              <a:gd name="T11" fmla="*/ 2147483647 h 1690"/>
              <a:gd name="T12" fmla="*/ 2147483647 w 2439"/>
              <a:gd name="T13" fmla="*/ 2147483647 h 1690"/>
              <a:gd name="T14" fmla="*/ 2147483647 w 2439"/>
              <a:gd name="T15" fmla="*/ 2147483647 h 1690"/>
              <a:gd name="T16" fmla="*/ 2147483647 w 2439"/>
              <a:gd name="T17" fmla="*/ 2147483647 h 1690"/>
              <a:gd name="T18" fmla="*/ 2147483647 w 2439"/>
              <a:gd name="T19" fmla="*/ 2147483647 h 1690"/>
              <a:gd name="T20" fmla="*/ 2147483647 w 2439"/>
              <a:gd name="T21" fmla="*/ 2147483647 h 1690"/>
              <a:gd name="T22" fmla="*/ 0 w 2439"/>
              <a:gd name="T23" fmla="*/ 2147483647 h 1690"/>
              <a:gd name="T24" fmla="*/ 2147483647 w 2439"/>
              <a:gd name="T25" fmla="*/ 2147483647 h 1690"/>
              <a:gd name="T26" fmla="*/ 2147483647 w 2439"/>
              <a:gd name="T27" fmla="*/ 2147483647 h 1690"/>
              <a:gd name="T28" fmla="*/ 2147483647 w 2439"/>
              <a:gd name="T29" fmla="*/ 2147483647 h 1690"/>
              <a:gd name="T30" fmla="*/ 2147483647 w 2439"/>
              <a:gd name="T31" fmla="*/ 2147483647 h 1690"/>
              <a:gd name="T32" fmla="*/ 2147483647 w 2439"/>
              <a:gd name="T33" fmla="*/ 2147483647 h 1690"/>
              <a:gd name="T34" fmla="*/ 2147483647 w 2439"/>
              <a:gd name="T35" fmla="*/ 2147483647 h 1690"/>
              <a:gd name="T36" fmla="*/ 2147483647 w 2439"/>
              <a:gd name="T37" fmla="*/ 2147483647 h 1690"/>
              <a:gd name="T38" fmla="*/ 2147483647 w 2439"/>
              <a:gd name="T39" fmla="*/ 2147483647 h 1690"/>
              <a:gd name="T40" fmla="*/ 2147483647 w 2439"/>
              <a:gd name="T41" fmla="*/ 0 h 1690"/>
              <a:gd name="T42" fmla="*/ 2147483647 w 2439"/>
              <a:gd name="T43" fmla="*/ 2147483647 h 1690"/>
              <a:gd name="T44" fmla="*/ 2147483647 w 2439"/>
              <a:gd name="T45" fmla="*/ 2147483647 h 1690"/>
              <a:gd name="T46" fmla="*/ 2147483647 w 2439"/>
              <a:gd name="T47" fmla="*/ 2147483647 h 1690"/>
              <a:gd name="T48" fmla="*/ 2147483647 w 2439"/>
              <a:gd name="T49" fmla="*/ 2147483647 h 1690"/>
              <a:gd name="T50" fmla="*/ 2147483647 w 2439"/>
              <a:gd name="T51" fmla="*/ 2147483647 h 1690"/>
              <a:gd name="T52" fmla="*/ 2147483647 w 2439"/>
              <a:gd name="T53" fmla="*/ 2147483647 h 1690"/>
              <a:gd name="T54" fmla="*/ 2147483647 w 2439"/>
              <a:gd name="T55" fmla="*/ 2147483647 h 1690"/>
              <a:gd name="T56" fmla="*/ 2147483647 w 2439"/>
              <a:gd name="T57" fmla="*/ 2147483647 h 1690"/>
              <a:gd name="T58" fmla="*/ 2147483647 w 2439"/>
              <a:gd name="T59" fmla="*/ 2147483647 h 1690"/>
              <a:gd name="T60" fmla="*/ 2147483647 w 2439"/>
              <a:gd name="T61" fmla="*/ 2147483647 h 1690"/>
              <a:gd name="T62" fmla="*/ 2147483647 w 2439"/>
              <a:gd name="T63" fmla="*/ 2147483647 h 1690"/>
              <a:gd name="T64" fmla="*/ 2147483647 w 2439"/>
              <a:gd name="T65" fmla="*/ 2147483647 h 169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39"/>
              <a:gd name="T100" fmla="*/ 0 h 1690"/>
              <a:gd name="T101" fmla="*/ 2439 w 2439"/>
              <a:gd name="T102" fmla="*/ 1690 h 169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39" h="1690">
                <a:moveTo>
                  <a:pt x="2233" y="1572"/>
                </a:moveTo>
                <a:lnTo>
                  <a:pt x="2149" y="1590"/>
                </a:lnTo>
                <a:lnTo>
                  <a:pt x="2045" y="1531"/>
                </a:lnTo>
                <a:lnTo>
                  <a:pt x="1902" y="1508"/>
                </a:lnTo>
                <a:lnTo>
                  <a:pt x="1869" y="1486"/>
                </a:lnTo>
                <a:lnTo>
                  <a:pt x="1778" y="1491"/>
                </a:lnTo>
                <a:lnTo>
                  <a:pt x="1398" y="1690"/>
                </a:lnTo>
                <a:lnTo>
                  <a:pt x="758" y="1670"/>
                </a:lnTo>
                <a:lnTo>
                  <a:pt x="704" y="1628"/>
                </a:lnTo>
                <a:lnTo>
                  <a:pt x="733" y="1559"/>
                </a:lnTo>
                <a:lnTo>
                  <a:pt x="627" y="1531"/>
                </a:lnTo>
                <a:lnTo>
                  <a:pt x="586" y="1455"/>
                </a:lnTo>
                <a:lnTo>
                  <a:pt x="633" y="1403"/>
                </a:lnTo>
                <a:lnTo>
                  <a:pt x="598" y="1351"/>
                </a:lnTo>
                <a:lnTo>
                  <a:pt x="545" y="1396"/>
                </a:lnTo>
                <a:lnTo>
                  <a:pt x="409" y="1351"/>
                </a:lnTo>
                <a:lnTo>
                  <a:pt x="337" y="1296"/>
                </a:lnTo>
                <a:lnTo>
                  <a:pt x="318" y="1181"/>
                </a:lnTo>
                <a:lnTo>
                  <a:pt x="280" y="1157"/>
                </a:lnTo>
                <a:lnTo>
                  <a:pt x="229" y="1146"/>
                </a:lnTo>
                <a:lnTo>
                  <a:pt x="187" y="1084"/>
                </a:lnTo>
                <a:lnTo>
                  <a:pt x="138" y="946"/>
                </a:lnTo>
                <a:lnTo>
                  <a:pt x="90" y="889"/>
                </a:lnTo>
                <a:lnTo>
                  <a:pt x="0" y="843"/>
                </a:lnTo>
                <a:lnTo>
                  <a:pt x="14" y="843"/>
                </a:lnTo>
                <a:lnTo>
                  <a:pt x="232" y="764"/>
                </a:lnTo>
                <a:lnTo>
                  <a:pt x="354" y="504"/>
                </a:lnTo>
                <a:lnTo>
                  <a:pt x="408" y="441"/>
                </a:lnTo>
                <a:lnTo>
                  <a:pt x="418" y="390"/>
                </a:lnTo>
                <a:lnTo>
                  <a:pt x="443" y="343"/>
                </a:lnTo>
                <a:lnTo>
                  <a:pt x="445" y="310"/>
                </a:lnTo>
                <a:lnTo>
                  <a:pt x="489" y="261"/>
                </a:lnTo>
                <a:lnTo>
                  <a:pt x="553" y="232"/>
                </a:lnTo>
                <a:lnTo>
                  <a:pt x="586" y="231"/>
                </a:lnTo>
                <a:lnTo>
                  <a:pt x="634" y="168"/>
                </a:lnTo>
                <a:lnTo>
                  <a:pt x="666" y="154"/>
                </a:lnTo>
                <a:lnTo>
                  <a:pt x="1062" y="133"/>
                </a:lnTo>
                <a:lnTo>
                  <a:pt x="1160" y="194"/>
                </a:lnTo>
                <a:lnTo>
                  <a:pt x="1230" y="139"/>
                </a:lnTo>
                <a:lnTo>
                  <a:pt x="1375" y="107"/>
                </a:lnTo>
                <a:lnTo>
                  <a:pt x="1520" y="4"/>
                </a:lnTo>
                <a:lnTo>
                  <a:pt x="1581" y="0"/>
                </a:lnTo>
                <a:lnTo>
                  <a:pt x="1748" y="149"/>
                </a:lnTo>
                <a:lnTo>
                  <a:pt x="1768" y="223"/>
                </a:lnTo>
                <a:lnTo>
                  <a:pt x="1960" y="486"/>
                </a:lnTo>
                <a:lnTo>
                  <a:pt x="2008" y="703"/>
                </a:lnTo>
                <a:lnTo>
                  <a:pt x="2001" y="781"/>
                </a:lnTo>
                <a:lnTo>
                  <a:pt x="2042" y="973"/>
                </a:lnTo>
                <a:lnTo>
                  <a:pt x="2080" y="964"/>
                </a:lnTo>
                <a:lnTo>
                  <a:pt x="2147" y="1036"/>
                </a:lnTo>
                <a:lnTo>
                  <a:pt x="2197" y="1027"/>
                </a:lnTo>
                <a:lnTo>
                  <a:pt x="2241" y="985"/>
                </a:lnTo>
                <a:lnTo>
                  <a:pt x="2350" y="944"/>
                </a:lnTo>
                <a:lnTo>
                  <a:pt x="2389" y="942"/>
                </a:lnTo>
                <a:lnTo>
                  <a:pt x="2416" y="952"/>
                </a:lnTo>
                <a:lnTo>
                  <a:pt x="2434" y="984"/>
                </a:lnTo>
                <a:lnTo>
                  <a:pt x="2439" y="1118"/>
                </a:lnTo>
                <a:lnTo>
                  <a:pt x="2408" y="1173"/>
                </a:lnTo>
                <a:lnTo>
                  <a:pt x="2361" y="1190"/>
                </a:lnTo>
                <a:lnTo>
                  <a:pt x="2256" y="1317"/>
                </a:lnTo>
                <a:lnTo>
                  <a:pt x="2241" y="1291"/>
                </a:lnTo>
                <a:lnTo>
                  <a:pt x="2269" y="1252"/>
                </a:lnTo>
                <a:lnTo>
                  <a:pt x="2290" y="1191"/>
                </a:lnTo>
                <a:lnTo>
                  <a:pt x="2283" y="1126"/>
                </a:lnTo>
                <a:lnTo>
                  <a:pt x="2246" y="1130"/>
                </a:lnTo>
                <a:lnTo>
                  <a:pt x="2233" y="1572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AT" kern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28" name="Freeform 13">
            <a:extLst>
              <a:ext uri="{FF2B5EF4-FFF2-40B4-BE49-F238E27FC236}">
                <a16:creationId xmlns:a16="http://schemas.microsoft.com/office/drawing/2014/main" id="{5E3EA2D8-45A3-4FEE-BE32-22B6C5CE5C42}"/>
              </a:ext>
            </a:extLst>
          </p:cNvPr>
          <p:cNvSpPr>
            <a:spLocks/>
          </p:cNvSpPr>
          <p:nvPr/>
        </p:nvSpPr>
        <p:spPr bwMode="auto">
          <a:xfrm rot="21249101">
            <a:off x="7649932" y="2870749"/>
            <a:ext cx="107735" cy="91755"/>
          </a:xfrm>
          <a:custGeom>
            <a:avLst/>
            <a:gdLst>
              <a:gd name="T0" fmla="*/ 2147483647 w 260"/>
              <a:gd name="T1" fmla="*/ 0 h 244"/>
              <a:gd name="T2" fmla="*/ 2147483647 w 260"/>
              <a:gd name="T3" fmla="*/ 2147483647 h 244"/>
              <a:gd name="T4" fmla="*/ 2147483647 w 260"/>
              <a:gd name="T5" fmla="*/ 2147483647 h 244"/>
              <a:gd name="T6" fmla="*/ 2147483647 w 260"/>
              <a:gd name="T7" fmla="*/ 2147483647 h 244"/>
              <a:gd name="T8" fmla="*/ 2147483647 w 260"/>
              <a:gd name="T9" fmla="*/ 2147483647 h 244"/>
              <a:gd name="T10" fmla="*/ 0 w 260"/>
              <a:gd name="T11" fmla="*/ 2147483647 h 244"/>
              <a:gd name="T12" fmla="*/ 2147483647 w 260"/>
              <a:gd name="T13" fmla="*/ 2147483647 h 244"/>
              <a:gd name="T14" fmla="*/ 2147483647 w 260"/>
              <a:gd name="T15" fmla="*/ 2147483647 h 244"/>
              <a:gd name="T16" fmla="*/ 2147483647 w 260"/>
              <a:gd name="T17" fmla="*/ 2147483647 h 244"/>
              <a:gd name="T18" fmla="*/ 2147483647 w 260"/>
              <a:gd name="T19" fmla="*/ 2147483647 h 244"/>
              <a:gd name="T20" fmla="*/ 2147483647 w 260"/>
              <a:gd name="T21" fmla="*/ 2147483647 h 244"/>
              <a:gd name="T22" fmla="*/ 2147483647 w 260"/>
              <a:gd name="T23" fmla="*/ 2147483647 h 244"/>
              <a:gd name="T24" fmla="*/ 2147483647 w 260"/>
              <a:gd name="T25" fmla="*/ 2147483647 h 244"/>
              <a:gd name="T26" fmla="*/ 2147483647 w 260"/>
              <a:gd name="T27" fmla="*/ 2147483647 h 244"/>
              <a:gd name="T28" fmla="*/ 2147483647 w 260"/>
              <a:gd name="T29" fmla="*/ 2147483647 h 244"/>
              <a:gd name="T30" fmla="*/ 2147483647 w 260"/>
              <a:gd name="T31" fmla="*/ 2147483647 h 244"/>
              <a:gd name="T32" fmla="*/ 2147483647 w 260"/>
              <a:gd name="T33" fmla="*/ 2147483647 h 244"/>
              <a:gd name="T34" fmla="*/ 2147483647 w 260"/>
              <a:gd name="T35" fmla="*/ 2147483647 h 244"/>
              <a:gd name="T36" fmla="*/ 2147483647 w 260"/>
              <a:gd name="T37" fmla="*/ 2147483647 h 244"/>
              <a:gd name="T38" fmla="*/ 2147483647 w 260"/>
              <a:gd name="T39" fmla="*/ 2147483647 h 244"/>
              <a:gd name="T40" fmla="*/ 2147483647 w 260"/>
              <a:gd name="T41" fmla="*/ 2147483647 h 244"/>
              <a:gd name="T42" fmla="*/ 2147483647 w 260"/>
              <a:gd name="T43" fmla="*/ 2147483647 h 244"/>
              <a:gd name="T44" fmla="*/ 2147483647 w 260"/>
              <a:gd name="T45" fmla="*/ 2147483647 h 244"/>
              <a:gd name="T46" fmla="*/ 2147483647 w 260"/>
              <a:gd name="T47" fmla="*/ 2147483647 h 244"/>
              <a:gd name="T48" fmla="*/ 2147483647 w 260"/>
              <a:gd name="T49" fmla="*/ 0 h 2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60"/>
              <a:gd name="T76" fmla="*/ 0 h 244"/>
              <a:gd name="T77" fmla="*/ 260 w 260"/>
              <a:gd name="T78" fmla="*/ 244 h 24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60" h="244">
                <a:moveTo>
                  <a:pt x="211" y="0"/>
                </a:moveTo>
                <a:lnTo>
                  <a:pt x="89" y="6"/>
                </a:lnTo>
                <a:lnTo>
                  <a:pt x="70" y="45"/>
                </a:lnTo>
                <a:lnTo>
                  <a:pt x="51" y="40"/>
                </a:lnTo>
                <a:lnTo>
                  <a:pt x="32" y="54"/>
                </a:lnTo>
                <a:lnTo>
                  <a:pt x="0" y="43"/>
                </a:lnTo>
                <a:lnTo>
                  <a:pt x="2" y="124"/>
                </a:lnTo>
                <a:lnTo>
                  <a:pt x="27" y="151"/>
                </a:lnTo>
                <a:lnTo>
                  <a:pt x="46" y="161"/>
                </a:lnTo>
                <a:lnTo>
                  <a:pt x="49" y="186"/>
                </a:lnTo>
                <a:lnTo>
                  <a:pt x="31" y="219"/>
                </a:lnTo>
                <a:lnTo>
                  <a:pt x="29" y="244"/>
                </a:lnTo>
                <a:lnTo>
                  <a:pt x="80" y="160"/>
                </a:lnTo>
                <a:lnTo>
                  <a:pt x="92" y="119"/>
                </a:lnTo>
                <a:lnTo>
                  <a:pt x="132" y="133"/>
                </a:lnTo>
                <a:lnTo>
                  <a:pt x="149" y="132"/>
                </a:lnTo>
                <a:lnTo>
                  <a:pt x="165" y="126"/>
                </a:lnTo>
                <a:lnTo>
                  <a:pt x="179" y="100"/>
                </a:lnTo>
                <a:lnTo>
                  <a:pt x="214" y="81"/>
                </a:lnTo>
                <a:lnTo>
                  <a:pt x="230" y="60"/>
                </a:lnTo>
                <a:lnTo>
                  <a:pt x="260" y="54"/>
                </a:lnTo>
                <a:lnTo>
                  <a:pt x="255" y="40"/>
                </a:lnTo>
                <a:lnTo>
                  <a:pt x="221" y="11"/>
                </a:lnTo>
                <a:lnTo>
                  <a:pt x="211" y="6"/>
                </a:lnTo>
                <a:lnTo>
                  <a:pt x="211" y="0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29" name="Freeform 14">
            <a:extLst>
              <a:ext uri="{FF2B5EF4-FFF2-40B4-BE49-F238E27FC236}">
                <a16:creationId xmlns:a16="http://schemas.microsoft.com/office/drawing/2014/main" id="{A53C7BE6-8349-4CF2-89CA-F36A113C61B7}"/>
              </a:ext>
            </a:extLst>
          </p:cNvPr>
          <p:cNvSpPr>
            <a:spLocks/>
          </p:cNvSpPr>
          <p:nvPr/>
        </p:nvSpPr>
        <p:spPr bwMode="auto">
          <a:xfrm rot="21249101">
            <a:off x="7649932" y="2870749"/>
            <a:ext cx="107735" cy="91755"/>
          </a:xfrm>
          <a:custGeom>
            <a:avLst/>
            <a:gdLst>
              <a:gd name="T0" fmla="*/ 2147483647 w 260"/>
              <a:gd name="T1" fmla="*/ 0 h 244"/>
              <a:gd name="T2" fmla="*/ 2147483647 w 260"/>
              <a:gd name="T3" fmla="*/ 2147483647 h 244"/>
              <a:gd name="T4" fmla="*/ 2147483647 w 260"/>
              <a:gd name="T5" fmla="*/ 2147483647 h 244"/>
              <a:gd name="T6" fmla="*/ 2147483647 w 260"/>
              <a:gd name="T7" fmla="*/ 2147483647 h 244"/>
              <a:gd name="T8" fmla="*/ 2147483647 w 260"/>
              <a:gd name="T9" fmla="*/ 2147483647 h 244"/>
              <a:gd name="T10" fmla="*/ 0 w 260"/>
              <a:gd name="T11" fmla="*/ 2147483647 h 244"/>
              <a:gd name="T12" fmla="*/ 2147483647 w 260"/>
              <a:gd name="T13" fmla="*/ 2147483647 h 244"/>
              <a:gd name="T14" fmla="*/ 2147483647 w 260"/>
              <a:gd name="T15" fmla="*/ 2147483647 h 244"/>
              <a:gd name="T16" fmla="*/ 2147483647 w 260"/>
              <a:gd name="T17" fmla="*/ 2147483647 h 244"/>
              <a:gd name="T18" fmla="*/ 2147483647 w 260"/>
              <a:gd name="T19" fmla="*/ 2147483647 h 244"/>
              <a:gd name="T20" fmla="*/ 2147483647 w 260"/>
              <a:gd name="T21" fmla="*/ 2147483647 h 244"/>
              <a:gd name="T22" fmla="*/ 2147483647 w 260"/>
              <a:gd name="T23" fmla="*/ 2147483647 h 244"/>
              <a:gd name="T24" fmla="*/ 2147483647 w 260"/>
              <a:gd name="T25" fmla="*/ 2147483647 h 244"/>
              <a:gd name="T26" fmla="*/ 2147483647 w 260"/>
              <a:gd name="T27" fmla="*/ 2147483647 h 244"/>
              <a:gd name="T28" fmla="*/ 2147483647 w 260"/>
              <a:gd name="T29" fmla="*/ 2147483647 h 244"/>
              <a:gd name="T30" fmla="*/ 2147483647 w 260"/>
              <a:gd name="T31" fmla="*/ 2147483647 h 244"/>
              <a:gd name="T32" fmla="*/ 2147483647 w 260"/>
              <a:gd name="T33" fmla="*/ 2147483647 h 244"/>
              <a:gd name="T34" fmla="*/ 2147483647 w 260"/>
              <a:gd name="T35" fmla="*/ 2147483647 h 244"/>
              <a:gd name="T36" fmla="*/ 2147483647 w 260"/>
              <a:gd name="T37" fmla="*/ 2147483647 h 244"/>
              <a:gd name="T38" fmla="*/ 2147483647 w 260"/>
              <a:gd name="T39" fmla="*/ 2147483647 h 244"/>
              <a:gd name="T40" fmla="*/ 2147483647 w 260"/>
              <a:gd name="T41" fmla="*/ 2147483647 h 244"/>
              <a:gd name="T42" fmla="*/ 2147483647 w 260"/>
              <a:gd name="T43" fmla="*/ 2147483647 h 244"/>
              <a:gd name="T44" fmla="*/ 2147483647 w 260"/>
              <a:gd name="T45" fmla="*/ 2147483647 h 244"/>
              <a:gd name="T46" fmla="*/ 2147483647 w 260"/>
              <a:gd name="T47" fmla="*/ 2147483647 h 244"/>
              <a:gd name="T48" fmla="*/ 2147483647 w 260"/>
              <a:gd name="T49" fmla="*/ 0 h 2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60"/>
              <a:gd name="T76" fmla="*/ 0 h 244"/>
              <a:gd name="T77" fmla="*/ 260 w 260"/>
              <a:gd name="T78" fmla="*/ 244 h 24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60" h="244">
                <a:moveTo>
                  <a:pt x="211" y="0"/>
                </a:moveTo>
                <a:lnTo>
                  <a:pt x="89" y="6"/>
                </a:lnTo>
                <a:lnTo>
                  <a:pt x="70" y="45"/>
                </a:lnTo>
                <a:lnTo>
                  <a:pt x="51" y="40"/>
                </a:lnTo>
                <a:lnTo>
                  <a:pt x="32" y="54"/>
                </a:lnTo>
                <a:lnTo>
                  <a:pt x="0" y="43"/>
                </a:lnTo>
                <a:lnTo>
                  <a:pt x="2" y="124"/>
                </a:lnTo>
                <a:lnTo>
                  <a:pt x="27" y="151"/>
                </a:lnTo>
                <a:lnTo>
                  <a:pt x="46" y="161"/>
                </a:lnTo>
                <a:lnTo>
                  <a:pt x="49" y="186"/>
                </a:lnTo>
                <a:lnTo>
                  <a:pt x="31" y="219"/>
                </a:lnTo>
                <a:lnTo>
                  <a:pt x="29" y="244"/>
                </a:lnTo>
                <a:lnTo>
                  <a:pt x="80" y="160"/>
                </a:lnTo>
                <a:lnTo>
                  <a:pt x="92" y="119"/>
                </a:lnTo>
                <a:lnTo>
                  <a:pt x="132" y="133"/>
                </a:lnTo>
                <a:lnTo>
                  <a:pt x="149" y="132"/>
                </a:lnTo>
                <a:lnTo>
                  <a:pt x="165" y="126"/>
                </a:lnTo>
                <a:lnTo>
                  <a:pt x="179" y="100"/>
                </a:lnTo>
                <a:lnTo>
                  <a:pt x="214" y="81"/>
                </a:lnTo>
                <a:lnTo>
                  <a:pt x="230" y="60"/>
                </a:lnTo>
                <a:lnTo>
                  <a:pt x="260" y="54"/>
                </a:lnTo>
                <a:lnTo>
                  <a:pt x="255" y="40"/>
                </a:lnTo>
                <a:lnTo>
                  <a:pt x="221" y="11"/>
                </a:lnTo>
                <a:lnTo>
                  <a:pt x="211" y="6"/>
                </a:lnTo>
                <a:lnTo>
                  <a:pt x="211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0" name="Freeform 15">
            <a:extLst>
              <a:ext uri="{FF2B5EF4-FFF2-40B4-BE49-F238E27FC236}">
                <a16:creationId xmlns:a16="http://schemas.microsoft.com/office/drawing/2014/main" id="{2C59D4D2-220D-48DD-A9D5-51F67AD75677}"/>
              </a:ext>
            </a:extLst>
          </p:cNvPr>
          <p:cNvSpPr>
            <a:spLocks/>
          </p:cNvSpPr>
          <p:nvPr/>
        </p:nvSpPr>
        <p:spPr bwMode="auto">
          <a:xfrm rot="21249101">
            <a:off x="7653523" y="2803573"/>
            <a:ext cx="70026" cy="52431"/>
          </a:xfrm>
          <a:custGeom>
            <a:avLst/>
            <a:gdLst>
              <a:gd name="T0" fmla="*/ 2147483647 w 173"/>
              <a:gd name="T1" fmla="*/ 2147483647 h 136"/>
              <a:gd name="T2" fmla="*/ 2147483647 w 173"/>
              <a:gd name="T3" fmla="*/ 2147483647 h 136"/>
              <a:gd name="T4" fmla="*/ 0 w 173"/>
              <a:gd name="T5" fmla="*/ 2147483647 h 136"/>
              <a:gd name="T6" fmla="*/ 2147483647 w 173"/>
              <a:gd name="T7" fmla="*/ 2147483647 h 136"/>
              <a:gd name="T8" fmla="*/ 2147483647 w 173"/>
              <a:gd name="T9" fmla="*/ 2147483647 h 136"/>
              <a:gd name="T10" fmla="*/ 2147483647 w 173"/>
              <a:gd name="T11" fmla="*/ 2147483647 h 136"/>
              <a:gd name="T12" fmla="*/ 2147483647 w 173"/>
              <a:gd name="T13" fmla="*/ 2147483647 h 136"/>
              <a:gd name="T14" fmla="*/ 2147483647 w 173"/>
              <a:gd name="T15" fmla="*/ 2147483647 h 136"/>
              <a:gd name="T16" fmla="*/ 2147483647 w 173"/>
              <a:gd name="T17" fmla="*/ 2147483647 h 136"/>
              <a:gd name="T18" fmla="*/ 2147483647 w 173"/>
              <a:gd name="T19" fmla="*/ 2147483647 h 136"/>
              <a:gd name="T20" fmla="*/ 2147483647 w 173"/>
              <a:gd name="T21" fmla="*/ 2147483647 h 136"/>
              <a:gd name="T22" fmla="*/ 2147483647 w 173"/>
              <a:gd name="T23" fmla="*/ 2147483647 h 136"/>
              <a:gd name="T24" fmla="*/ 2147483647 w 173"/>
              <a:gd name="T25" fmla="*/ 2147483647 h 136"/>
              <a:gd name="T26" fmla="*/ 2147483647 w 173"/>
              <a:gd name="T27" fmla="*/ 0 h 136"/>
              <a:gd name="T28" fmla="*/ 2147483647 w 173"/>
              <a:gd name="T29" fmla="*/ 2147483647 h 136"/>
              <a:gd name="T30" fmla="*/ 2147483647 w 173"/>
              <a:gd name="T31" fmla="*/ 2147483647 h 1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73"/>
              <a:gd name="T49" fmla="*/ 0 h 136"/>
              <a:gd name="T50" fmla="*/ 173 w 173"/>
              <a:gd name="T51" fmla="*/ 136 h 1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73" h="136">
                <a:moveTo>
                  <a:pt x="57" y="51"/>
                </a:moveTo>
                <a:lnTo>
                  <a:pt x="11" y="57"/>
                </a:lnTo>
                <a:lnTo>
                  <a:pt x="0" y="70"/>
                </a:lnTo>
                <a:lnTo>
                  <a:pt x="12" y="77"/>
                </a:lnTo>
                <a:lnTo>
                  <a:pt x="43" y="76"/>
                </a:lnTo>
                <a:lnTo>
                  <a:pt x="73" y="136"/>
                </a:lnTo>
                <a:lnTo>
                  <a:pt x="98" y="133"/>
                </a:lnTo>
                <a:lnTo>
                  <a:pt x="111" y="101"/>
                </a:lnTo>
                <a:lnTo>
                  <a:pt x="173" y="77"/>
                </a:lnTo>
                <a:lnTo>
                  <a:pt x="171" y="44"/>
                </a:lnTo>
                <a:lnTo>
                  <a:pt x="152" y="26"/>
                </a:lnTo>
                <a:lnTo>
                  <a:pt x="131" y="20"/>
                </a:lnTo>
                <a:lnTo>
                  <a:pt x="111" y="4"/>
                </a:lnTo>
                <a:lnTo>
                  <a:pt x="92" y="0"/>
                </a:lnTo>
                <a:lnTo>
                  <a:pt x="75" y="37"/>
                </a:lnTo>
                <a:lnTo>
                  <a:pt x="57" y="51"/>
                </a:lnTo>
                <a:close/>
              </a:path>
            </a:pathLst>
          </a:custGeom>
          <a:solidFill>
            <a:srgbClr val="FFD85B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1" name="Freeform 16">
            <a:extLst>
              <a:ext uri="{FF2B5EF4-FFF2-40B4-BE49-F238E27FC236}">
                <a16:creationId xmlns:a16="http://schemas.microsoft.com/office/drawing/2014/main" id="{8F38D9D6-F5BB-424B-A464-5834E2A1C071}"/>
              </a:ext>
            </a:extLst>
          </p:cNvPr>
          <p:cNvSpPr>
            <a:spLocks/>
          </p:cNvSpPr>
          <p:nvPr/>
        </p:nvSpPr>
        <p:spPr bwMode="auto">
          <a:xfrm rot="21249101">
            <a:off x="7653523" y="2803573"/>
            <a:ext cx="70026" cy="52431"/>
          </a:xfrm>
          <a:custGeom>
            <a:avLst/>
            <a:gdLst>
              <a:gd name="T0" fmla="*/ 2147483647 w 173"/>
              <a:gd name="T1" fmla="*/ 2147483647 h 136"/>
              <a:gd name="T2" fmla="*/ 2147483647 w 173"/>
              <a:gd name="T3" fmla="*/ 2147483647 h 136"/>
              <a:gd name="T4" fmla="*/ 0 w 173"/>
              <a:gd name="T5" fmla="*/ 2147483647 h 136"/>
              <a:gd name="T6" fmla="*/ 2147483647 w 173"/>
              <a:gd name="T7" fmla="*/ 2147483647 h 136"/>
              <a:gd name="T8" fmla="*/ 2147483647 w 173"/>
              <a:gd name="T9" fmla="*/ 2147483647 h 136"/>
              <a:gd name="T10" fmla="*/ 2147483647 w 173"/>
              <a:gd name="T11" fmla="*/ 2147483647 h 136"/>
              <a:gd name="T12" fmla="*/ 2147483647 w 173"/>
              <a:gd name="T13" fmla="*/ 2147483647 h 136"/>
              <a:gd name="T14" fmla="*/ 2147483647 w 173"/>
              <a:gd name="T15" fmla="*/ 2147483647 h 136"/>
              <a:gd name="T16" fmla="*/ 2147483647 w 173"/>
              <a:gd name="T17" fmla="*/ 2147483647 h 136"/>
              <a:gd name="T18" fmla="*/ 2147483647 w 173"/>
              <a:gd name="T19" fmla="*/ 2147483647 h 136"/>
              <a:gd name="T20" fmla="*/ 2147483647 w 173"/>
              <a:gd name="T21" fmla="*/ 2147483647 h 136"/>
              <a:gd name="T22" fmla="*/ 2147483647 w 173"/>
              <a:gd name="T23" fmla="*/ 2147483647 h 136"/>
              <a:gd name="T24" fmla="*/ 2147483647 w 173"/>
              <a:gd name="T25" fmla="*/ 2147483647 h 136"/>
              <a:gd name="T26" fmla="*/ 2147483647 w 173"/>
              <a:gd name="T27" fmla="*/ 0 h 136"/>
              <a:gd name="T28" fmla="*/ 2147483647 w 173"/>
              <a:gd name="T29" fmla="*/ 2147483647 h 136"/>
              <a:gd name="T30" fmla="*/ 2147483647 w 173"/>
              <a:gd name="T31" fmla="*/ 2147483647 h 1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73"/>
              <a:gd name="T49" fmla="*/ 0 h 136"/>
              <a:gd name="T50" fmla="*/ 173 w 173"/>
              <a:gd name="T51" fmla="*/ 136 h 1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73" h="136">
                <a:moveTo>
                  <a:pt x="57" y="51"/>
                </a:moveTo>
                <a:lnTo>
                  <a:pt x="11" y="57"/>
                </a:lnTo>
                <a:lnTo>
                  <a:pt x="0" y="70"/>
                </a:lnTo>
                <a:lnTo>
                  <a:pt x="12" y="77"/>
                </a:lnTo>
                <a:lnTo>
                  <a:pt x="43" y="76"/>
                </a:lnTo>
                <a:lnTo>
                  <a:pt x="73" y="136"/>
                </a:lnTo>
                <a:lnTo>
                  <a:pt x="98" y="133"/>
                </a:lnTo>
                <a:lnTo>
                  <a:pt x="111" y="101"/>
                </a:lnTo>
                <a:lnTo>
                  <a:pt x="173" y="77"/>
                </a:lnTo>
                <a:lnTo>
                  <a:pt x="171" y="44"/>
                </a:lnTo>
                <a:lnTo>
                  <a:pt x="152" y="26"/>
                </a:lnTo>
                <a:lnTo>
                  <a:pt x="131" y="20"/>
                </a:lnTo>
                <a:lnTo>
                  <a:pt x="111" y="4"/>
                </a:lnTo>
                <a:lnTo>
                  <a:pt x="92" y="0"/>
                </a:lnTo>
                <a:lnTo>
                  <a:pt x="75" y="37"/>
                </a:lnTo>
                <a:lnTo>
                  <a:pt x="57" y="5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2" name="Freeform 17" descr="Large grid">
            <a:extLst>
              <a:ext uri="{FF2B5EF4-FFF2-40B4-BE49-F238E27FC236}">
                <a16:creationId xmlns:a16="http://schemas.microsoft.com/office/drawing/2014/main" id="{AA9FF253-8E65-4D2D-A7EE-2160ABBD63F8}"/>
              </a:ext>
            </a:extLst>
          </p:cNvPr>
          <p:cNvSpPr>
            <a:spLocks/>
          </p:cNvSpPr>
          <p:nvPr/>
        </p:nvSpPr>
        <p:spPr bwMode="auto">
          <a:xfrm rot="21249101">
            <a:off x="7763053" y="2687240"/>
            <a:ext cx="391437" cy="283456"/>
          </a:xfrm>
          <a:custGeom>
            <a:avLst/>
            <a:gdLst>
              <a:gd name="T0" fmla="*/ 2147483647 w 937"/>
              <a:gd name="T1" fmla="*/ 0 h 739"/>
              <a:gd name="T2" fmla="*/ 2147483647 w 937"/>
              <a:gd name="T3" fmla="*/ 2147483647 h 739"/>
              <a:gd name="T4" fmla="*/ 2147483647 w 937"/>
              <a:gd name="T5" fmla="*/ 2147483647 h 739"/>
              <a:gd name="T6" fmla="*/ 2147483647 w 937"/>
              <a:gd name="T7" fmla="*/ 2147483647 h 739"/>
              <a:gd name="T8" fmla="*/ 2147483647 w 937"/>
              <a:gd name="T9" fmla="*/ 2147483647 h 739"/>
              <a:gd name="T10" fmla="*/ 2147483647 w 937"/>
              <a:gd name="T11" fmla="*/ 2147483647 h 739"/>
              <a:gd name="T12" fmla="*/ 2147483647 w 937"/>
              <a:gd name="T13" fmla="*/ 2147483647 h 739"/>
              <a:gd name="T14" fmla="*/ 2147483647 w 937"/>
              <a:gd name="T15" fmla="*/ 2147483647 h 739"/>
              <a:gd name="T16" fmla="*/ 2147483647 w 937"/>
              <a:gd name="T17" fmla="*/ 2147483647 h 739"/>
              <a:gd name="T18" fmla="*/ 2147483647 w 937"/>
              <a:gd name="T19" fmla="*/ 2147483647 h 739"/>
              <a:gd name="T20" fmla="*/ 2147483647 w 937"/>
              <a:gd name="T21" fmla="*/ 2147483647 h 739"/>
              <a:gd name="T22" fmla="*/ 2147483647 w 937"/>
              <a:gd name="T23" fmla="*/ 2147483647 h 739"/>
              <a:gd name="T24" fmla="*/ 2147483647 w 937"/>
              <a:gd name="T25" fmla="*/ 2147483647 h 739"/>
              <a:gd name="T26" fmla="*/ 2147483647 w 937"/>
              <a:gd name="T27" fmla="*/ 2147483647 h 739"/>
              <a:gd name="T28" fmla="*/ 2147483647 w 937"/>
              <a:gd name="T29" fmla="*/ 2147483647 h 739"/>
              <a:gd name="T30" fmla="*/ 2147483647 w 937"/>
              <a:gd name="T31" fmla="*/ 2147483647 h 739"/>
              <a:gd name="T32" fmla="*/ 2147483647 w 937"/>
              <a:gd name="T33" fmla="*/ 2147483647 h 739"/>
              <a:gd name="T34" fmla="*/ 2147483647 w 937"/>
              <a:gd name="T35" fmla="*/ 2147483647 h 739"/>
              <a:gd name="T36" fmla="*/ 2147483647 w 937"/>
              <a:gd name="T37" fmla="*/ 2147483647 h 739"/>
              <a:gd name="T38" fmla="*/ 2147483647 w 937"/>
              <a:gd name="T39" fmla="*/ 2147483647 h 739"/>
              <a:gd name="T40" fmla="*/ 2147483647 w 937"/>
              <a:gd name="T41" fmla="*/ 2147483647 h 739"/>
              <a:gd name="T42" fmla="*/ 2147483647 w 937"/>
              <a:gd name="T43" fmla="*/ 2147483647 h 739"/>
              <a:gd name="T44" fmla="*/ 2147483647 w 937"/>
              <a:gd name="T45" fmla="*/ 2147483647 h 739"/>
              <a:gd name="T46" fmla="*/ 2147483647 w 937"/>
              <a:gd name="T47" fmla="*/ 2147483647 h 739"/>
              <a:gd name="T48" fmla="*/ 2147483647 w 937"/>
              <a:gd name="T49" fmla="*/ 2147483647 h 739"/>
              <a:gd name="T50" fmla="*/ 2147483647 w 937"/>
              <a:gd name="T51" fmla="*/ 2147483647 h 739"/>
              <a:gd name="T52" fmla="*/ 2147483647 w 937"/>
              <a:gd name="T53" fmla="*/ 2147483647 h 739"/>
              <a:gd name="T54" fmla="*/ 2147483647 w 937"/>
              <a:gd name="T55" fmla="*/ 2147483647 h 739"/>
              <a:gd name="T56" fmla="*/ 2147483647 w 937"/>
              <a:gd name="T57" fmla="*/ 2147483647 h 739"/>
              <a:gd name="T58" fmla="*/ 2147483647 w 937"/>
              <a:gd name="T59" fmla="*/ 2147483647 h 739"/>
              <a:gd name="T60" fmla="*/ 2147483647 w 937"/>
              <a:gd name="T61" fmla="*/ 2147483647 h 739"/>
              <a:gd name="T62" fmla="*/ 2147483647 w 937"/>
              <a:gd name="T63" fmla="*/ 2147483647 h 739"/>
              <a:gd name="T64" fmla="*/ 2147483647 w 937"/>
              <a:gd name="T65" fmla="*/ 2147483647 h 739"/>
              <a:gd name="T66" fmla="*/ 2147483647 w 937"/>
              <a:gd name="T67" fmla="*/ 2147483647 h 739"/>
              <a:gd name="T68" fmla="*/ 2147483647 w 937"/>
              <a:gd name="T69" fmla="*/ 2147483647 h 739"/>
              <a:gd name="T70" fmla="*/ 2147483647 w 937"/>
              <a:gd name="T71" fmla="*/ 2147483647 h 739"/>
              <a:gd name="T72" fmla="*/ 2147483647 w 937"/>
              <a:gd name="T73" fmla="*/ 2147483647 h 739"/>
              <a:gd name="T74" fmla="*/ 2147483647 w 937"/>
              <a:gd name="T75" fmla="*/ 2147483647 h 739"/>
              <a:gd name="T76" fmla="*/ 2147483647 w 937"/>
              <a:gd name="T77" fmla="*/ 2147483647 h 739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37"/>
              <a:gd name="T118" fmla="*/ 0 h 739"/>
              <a:gd name="T119" fmla="*/ 937 w 937"/>
              <a:gd name="T120" fmla="*/ 739 h 739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37" h="739">
                <a:moveTo>
                  <a:pt x="395" y="18"/>
                </a:moveTo>
                <a:lnTo>
                  <a:pt x="401" y="0"/>
                </a:lnTo>
                <a:lnTo>
                  <a:pt x="430" y="27"/>
                </a:lnTo>
                <a:lnTo>
                  <a:pt x="457" y="14"/>
                </a:lnTo>
                <a:lnTo>
                  <a:pt x="593" y="34"/>
                </a:lnTo>
                <a:lnTo>
                  <a:pt x="611" y="53"/>
                </a:lnTo>
                <a:lnTo>
                  <a:pt x="653" y="63"/>
                </a:lnTo>
                <a:lnTo>
                  <a:pt x="799" y="50"/>
                </a:lnTo>
                <a:lnTo>
                  <a:pt x="837" y="32"/>
                </a:lnTo>
                <a:lnTo>
                  <a:pt x="842" y="5"/>
                </a:lnTo>
                <a:lnTo>
                  <a:pt x="864" y="7"/>
                </a:lnTo>
                <a:lnTo>
                  <a:pt x="886" y="28"/>
                </a:lnTo>
                <a:lnTo>
                  <a:pt x="896" y="53"/>
                </a:lnTo>
                <a:lnTo>
                  <a:pt x="889" y="81"/>
                </a:lnTo>
                <a:lnTo>
                  <a:pt x="856" y="122"/>
                </a:lnTo>
                <a:lnTo>
                  <a:pt x="815" y="225"/>
                </a:lnTo>
                <a:lnTo>
                  <a:pt x="833" y="270"/>
                </a:lnTo>
                <a:lnTo>
                  <a:pt x="831" y="332"/>
                </a:lnTo>
                <a:lnTo>
                  <a:pt x="850" y="369"/>
                </a:lnTo>
                <a:lnTo>
                  <a:pt x="853" y="391"/>
                </a:lnTo>
                <a:lnTo>
                  <a:pt x="847" y="417"/>
                </a:lnTo>
                <a:lnTo>
                  <a:pt x="804" y="464"/>
                </a:lnTo>
                <a:lnTo>
                  <a:pt x="797" y="491"/>
                </a:lnTo>
                <a:lnTo>
                  <a:pt x="812" y="516"/>
                </a:lnTo>
                <a:lnTo>
                  <a:pt x="891" y="506"/>
                </a:lnTo>
                <a:lnTo>
                  <a:pt x="935" y="563"/>
                </a:lnTo>
                <a:lnTo>
                  <a:pt x="937" y="617"/>
                </a:lnTo>
                <a:lnTo>
                  <a:pt x="903" y="621"/>
                </a:lnTo>
                <a:lnTo>
                  <a:pt x="837" y="563"/>
                </a:lnTo>
                <a:lnTo>
                  <a:pt x="844" y="614"/>
                </a:lnTo>
                <a:lnTo>
                  <a:pt x="813" y="696"/>
                </a:lnTo>
                <a:lnTo>
                  <a:pt x="822" y="724"/>
                </a:lnTo>
                <a:lnTo>
                  <a:pt x="820" y="722"/>
                </a:lnTo>
                <a:lnTo>
                  <a:pt x="758" y="710"/>
                </a:lnTo>
                <a:lnTo>
                  <a:pt x="702" y="723"/>
                </a:lnTo>
                <a:lnTo>
                  <a:pt x="677" y="738"/>
                </a:lnTo>
                <a:lnTo>
                  <a:pt x="648" y="739"/>
                </a:lnTo>
                <a:lnTo>
                  <a:pt x="565" y="677"/>
                </a:lnTo>
                <a:lnTo>
                  <a:pt x="544" y="647"/>
                </a:lnTo>
                <a:lnTo>
                  <a:pt x="487" y="630"/>
                </a:lnTo>
                <a:lnTo>
                  <a:pt x="440" y="598"/>
                </a:lnTo>
                <a:lnTo>
                  <a:pt x="381" y="590"/>
                </a:lnTo>
                <a:lnTo>
                  <a:pt x="291" y="609"/>
                </a:lnTo>
                <a:lnTo>
                  <a:pt x="248" y="647"/>
                </a:lnTo>
                <a:lnTo>
                  <a:pt x="220" y="654"/>
                </a:lnTo>
                <a:lnTo>
                  <a:pt x="200" y="675"/>
                </a:lnTo>
                <a:lnTo>
                  <a:pt x="223" y="505"/>
                </a:lnTo>
                <a:lnTo>
                  <a:pt x="219" y="486"/>
                </a:lnTo>
                <a:lnTo>
                  <a:pt x="169" y="482"/>
                </a:lnTo>
                <a:lnTo>
                  <a:pt x="159" y="510"/>
                </a:lnTo>
                <a:lnTo>
                  <a:pt x="133" y="529"/>
                </a:lnTo>
                <a:lnTo>
                  <a:pt x="110" y="500"/>
                </a:lnTo>
                <a:lnTo>
                  <a:pt x="90" y="504"/>
                </a:lnTo>
                <a:lnTo>
                  <a:pt x="63" y="497"/>
                </a:lnTo>
                <a:lnTo>
                  <a:pt x="47" y="458"/>
                </a:lnTo>
                <a:lnTo>
                  <a:pt x="24" y="430"/>
                </a:lnTo>
                <a:lnTo>
                  <a:pt x="19" y="394"/>
                </a:lnTo>
                <a:lnTo>
                  <a:pt x="29" y="361"/>
                </a:lnTo>
                <a:lnTo>
                  <a:pt x="67" y="352"/>
                </a:lnTo>
                <a:lnTo>
                  <a:pt x="59" y="341"/>
                </a:lnTo>
                <a:lnTo>
                  <a:pt x="11" y="336"/>
                </a:lnTo>
                <a:lnTo>
                  <a:pt x="13" y="291"/>
                </a:lnTo>
                <a:lnTo>
                  <a:pt x="21" y="280"/>
                </a:lnTo>
                <a:lnTo>
                  <a:pt x="14" y="264"/>
                </a:lnTo>
                <a:lnTo>
                  <a:pt x="0" y="263"/>
                </a:lnTo>
                <a:lnTo>
                  <a:pt x="8" y="192"/>
                </a:lnTo>
                <a:lnTo>
                  <a:pt x="22" y="178"/>
                </a:lnTo>
                <a:lnTo>
                  <a:pt x="112" y="146"/>
                </a:lnTo>
                <a:lnTo>
                  <a:pt x="113" y="131"/>
                </a:lnTo>
                <a:lnTo>
                  <a:pt x="125" y="119"/>
                </a:lnTo>
                <a:lnTo>
                  <a:pt x="154" y="109"/>
                </a:lnTo>
                <a:lnTo>
                  <a:pt x="175" y="87"/>
                </a:lnTo>
                <a:lnTo>
                  <a:pt x="242" y="85"/>
                </a:lnTo>
                <a:lnTo>
                  <a:pt x="249" y="51"/>
                </a:lnTo>
                <a:lnTo>
                  <a:pt x="284" y="69"/>
                </a:lnTo>
                <a:lnTo>
                  <a:pt x="353" y="59"/>
                </a:lnTo>
                <a:lnTo>
                  <a:pt x="370" y="43"/>
                </a:lnTo>
                <a:lnTo>
                  <a:pt x="365" y="21"/>
                </a:lnTo>
                <a:lnTo>
                  <a:pt x="395" y="18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3" name="Freeform 18">
            <a:extLst>
              <a:ext uri="{FF2B5EF4-FFF2-40B4-BE49-F238E27FC236}">
                <a16:creationId xmlns:a16="http://schemas.microsoft.com/office/drawing/2014/main" id="{D2E4693D-0769-4E2A-AA4B-1ED717AD350B}"/>
              </a:ext>
            </a:extLst>
          </p:cNvPr>
          <p:cNvSpPr>
            <a:spLocks/>
          </p:cNvSpPr>
          <p:nvPr/>
        </p:nvSpPr>
        <p:spPr bwMode="auto">
          <a:xfrm rot="21249101">
            <a:off x="7763053" y="2687240"/>
            <a:ext cx="391436" cy="283456"/>
          </a:xfrm>
          <a:custGeom>
            <a:avLst/>
            <a:gdLst>
              <a:gd name="T0" fmla="*/ 2147483647 w 937"/>
              <a:gd name="T1" fmla="*/ 0 h 739"/>
              <a:gd name="T2" fmla="*/ 2147483647 w 937"/>
              <a:gd name="T3" fmla="*/ 2147483647 h 739"/>
              <a:gd name="T4" fmla="*/ 2147483647 w 937"/>
              <a:gd name="T5" fmla="*/ 2147483647 h 739"/>
              <a:gd name="T6" fmla="*/ 2147483647 w 937"/>
              <a:gd name="T7" fmla="*/ 2147483647 h 739"/>
              <a:gd name="T8" fmla="*/ 2147483647 w 937"/>
              <a:gd name="T9" fmla="*/ 2147483647 h 739"/>
              <a:gd name="T10" fmla="*/ 2147483647 w 937"/>
              <a:gd name="T11" fmla="*/ 2147483647 h 739"/>
              <a:gd name="T12" fmla="*/ 2147483647 w 937"/>
              <a:gd name="T13" fmla="*/ 2147483647 h 739"/>
              <a:gd name="T14" fmla="*/ 2147483647 w 937"/>
              <a:gd name="T15" fmla="*/ 2147483647 h 739"/>
              <a:gd name="T16" fmla="*/ 2147483647 w 937"/>
              <a:gd name="T17" fmla="*/ 2147483647 h 739"/>
              <a:gd name="T18" fmla="*/ 2147483647 w 937"/>
              <a:gd name="T19" fmla="*/ 2147483647 h 739"/>
              <a:gd name="T20" fmla="*/ 2147483647 w 937"/>
              <a:gd name="T21" fmla="*/ 2147483647 h 739"/>
              <a:gd name="T22" fmla="*/ 2147483647 w 937"/>
              <a:gd name="T23" fmla="*/ 2147483647 h 739"/>
              <a:gd name="T24" fmla="*/ 2147483647 w 937"/>
              <a:gd name="T25" fmla="*/ 2147483647 h 739"/>
              <a:gd name="T26" fmla="*/ 2147483647 w 937"/>
              <a:gd name="T27" fmla="*/ 2147483647 h 739"/>
              <a:gd name="T28" fmla="*/ 2147483647 w 937"/>
              <a:gd name="T29" fmla="*/ 2147483647 h 739"/>
              <a:gd name="T30" fmla="*/ 2147483647 w 937"/>
              <a:gd name="T31" fmla="*/ 2147483647 h 739"/>
              <a:gd name="T32" fmla="*/ 2147483647 w 937"/>
              <a:gd name="T33" fmla="*/ 2147483647 h 739"/>
              <a:gd name="T34" fmla="*/ 2147483647 w 937"/>
              <a:gd name="T35" fmla="*/ 2147483647 h 739"/>
              <a:gd name="T36" fmla="*/ 2147483647 w 937"/>
              <a:gd name="T37" fmla="*/ 2147483647 h 739"/>
              <a:gd name="T38" fmla="*/ 2147483647 w 937"/>
              <a:gd name="T39" fmla="*/ 2147483647 h 739"/>
              <a:gd name="T40" fmla="*/ 2147483647 w 937"/>
              <a:gd name="T41" fmla="*/ 2147483647 h 739"/>
              <a:gd name="T42" fmla="*/ 2147483647 w 937"/>
              <a:gd name="T43" fmla="*/ 2147483647 h 739"/>
              <a:gd name="T44" fmla="*/ 2147483647 w 937"/>
              <a:gd name="T45" fmla="*/ 2147483647 h 739"/>
              <a:gd name="T46" fmla="*/ 2147483647 w 937"/>
              <a:gd name="T47" fmla="*/ 2147483647 h 739"/>
              <a:gd name="T48" fmla="*/ 2147483647 w 937"/>
              <a:gd name="T49" fmla="*/ 2147483647 h 739"/>
              <a:gd name="T50" fmla="*/ 2147483647 w 937"/>
              <a:gd name="T51" fmla="*/ 2147483647 h 739"/>
              <a:gd name="T52" fmla="*/ 2147483647 w 937"/>
              <a:gd name="T53" fmla="*/ 2147483647 h 739"/>
              <a:gd name="T54" fmla="*/ 2147483647 w 937"/>
              <a:gd name="T55" fmla="*/ 2147483647 h 739"/>
              <a:gd name="T56" fmla="*/ 2147483647 w 937"/>
              <a:gd name="T57" fmla="*/ 2147483647 h 739"/>
              <a:gd name="T58" fmla="*/ 2147483647 w 937"/>
              <a:gd name="T59" fmla="*/ 2147483647 h 739"/>
              <a:gd name="T60" fmla="*/ 2147483647 w 937"/>
              <a:gd name="T61" fmla="*/ 2147483647 h 739"/>
              <a:gd name="T62" fmla="*/ 2147483647 w 937"/>
              <a:gd name="T63" fmla="*/ 2147483647 h 739"/>
              <a:gd name="T64" fmla="*/ 2147483647 w 937"/>
              <a:gd name="T65" fmla="*/ 2147483647 h 739"/>
              <a:gd name="T66" fmla="*/ 2147483647 w 937"/>
              <a:gd name="T67" fmla="*/ 2147483647 h 739"/>
              <a:gd name="T68" fmla="*/ 2147483647 w 937"/>
              <a:gd name="T69" fmla="*/ 2147483647 h 739"/>
              <a:gd name="T70" fmla="*/ 2147483647 w 937"/>
              <a:gd name="T71" fmla="*/ 2147483647 h 739"/>
              <a:gd name="T72" fmla="*/ 2147483647 w 937"/>
              <a:gd name="T73" fmla="*/ 2147483647 h 739"/>
              <a:gd name="T74" fmla="*/ 2147483647 w 937"/>
              <a:gd name="T75" fmla="*/ 2147483647 h 739"/>
              <a:gd name="T76" fmla="*/ 2147483647 w 937"/>
              <a:gd name="T77" fmla="*/ 2147483647 h 739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37"/>
              <a:gd name="T118" fmla="*/ 0 h 739"/>
              <a:gd name="T119" fmla="*/ 937 w 937"/>
              <a:gd name="T120" fmla="*/ 739 h 739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37" h="739">
                <a:moveTo>
                  <a:pt x="395" y="18"/>
                </a:moveTo>
                <a:lnTo>
                  <a:pt x="401" y="0"/>
                </a:lnTo>
                <a:lnTo>
                  <a:pt x="430" y="27"/>
                </a:lnTo>
                <a:lnTo>
                  <a:pt x="457" y="14"/>
                </a:lnTo>
                <a:lnTo>
                  <a:pt x="593" y="34"/>
                </a:lnTo>
                <a:lnTo>
                  <a:pt x="611" y="53"/>
                </a:lnTo>
                <a:lnTo>
                  <a:pt x="653" y="63"/>
                </a:lnTo>
                <a:lnTo>
                  <a:pt x="799" y="50"/>
                </a:lnTo>
                <a:lnTo>
                  <a:pt x="837" y="32"/>
                </a:lnTo>
                <a:lnTo>
                  <a:pt x="842" y="5"/>
                </a:lnTo>
                <a:lnTo>
                  <a:pt x="864" y="7"/>
                </a:lnTo>
                <a:lnTo>
                  <a:pt x="886" y="28"/>
                </a:lnTo>
                <a:lnTo>
                  <a:pt x="896" y="53"/>
                </a:lnTo>
                <a:lnTo>
                  <a:pt x="889" y="81"/>
                </a:lnTo>
                <a:lnTo>
                  <a:pt x="856" y="122"/>
                </a:lnTo>
                <a:lnTo>
                  <a:pt x="815" y="225"/>
                </a:lnTo>
                <a:lnTo>
                  <a:pt x="833" y="270"/>
                </a:lnTo>
                <a:lnTo>
                  <a:pt x="831" y="332"/>
                </a:lnTo>
                <a:lnTo>
                  <a:pt x="850" y="369"/>
                </a:lnTo>
                <a:lnTo>
                  <a:pt x="853" y="391"/>
                </a:lnTo>
                <a:lnTo>
                  <a:pt x="847" y="417"/>
                </a:lnTo>
                <a:lnTo>
                  <a:pt x="804" y="464"/>
                </a:lnTo>
                <a:lnTo>
                  <a:pt x="797" y="491"/>
                </a:lnTo>
                <a:lnTo>
                  <a:pt x="812" y="516"/>
                </a:lnTo>
                <a:lnTo>
                  <a:pt x="891" y="506"/>
                </a:lnTo>
                <a:lnTo>
                  <a:pt x="935" y="563"/>
                </a:lnTo>
                <a:lnTo>
                  <a:pt x="937" y="617"/>
                </a:lnTo>
                <a:lnTo>
                  <a:pt x="903" y="621"/>
                </a:lnTo>
                <a:lnTo>
                  <a:pt x="837" y="563"/>
                </a:lnTo>
                <a:lnTo>
                  <a:pt x="844" y="614"/>
                </a:lnTo>
                <a:lnTo>
                  <a:pt x="813" y="696"/>
                </a:lnTo>
                <a:lnTo>
                  <a:pt x="822" y="724"/>
                </a:lnTo>
                <a:lnTo>
                  <a:pt x="820" y="722"/>
                </a:lnTo>
                <a:lnTo>
                  <a:pt x="758" y="710"/>
                </a:lnTo>
                <a:lnTo>
                  <a:pt x="702" y="723"/>
                </a:lnTo>
                <a:lnTo>
                  <a:pt x="677" y="738"/>
                </a:lnTo>
                <a:lnTo>
                  <a:pt x="648" y="739"/>
                </a:lnTo>
                <a:lnTo>
                  <a:pt x="565" y="677"/>
                </a:lnTo>
                <a:lnTo>
                  <a:pt x="544" y="647"/>
                </a:lnTo>
                <a:lnTo>
                  <a:pt x="487" y="630"/>
                </a:lnTo>
                <a:lnTo>
                  <a:pt x="440" y="598"/>
                </a:lnTo>
                <a:lnTo>
                  <a:pt x="381" y="590"/>
                </a:lnTo>
                <a:lnTo>
                  <a:pt x="291" y="609"/>
                </a:lnTo>
                <a:lnTo>
                  <a:pt x="248" y="647"/>
                </a:lnTo>
                <a:lnTo>
                  <a:pt x="220" y="654"/>
                </a:lnTo>
                <a:lnTo>
                  <a:pt x="200" y="675"/>
                </a:lnTo>
                <a:lnTo>
                  <a:pt x="223" y="505"/>
                </a:lnTo>
                <a:lnTo>
                  <a:pt x="219" y="486"/>
                </a:lnTo>
                <a:lnTo>
                  <a:pt x="169" y="482"/>
                </a:lnTo>
                <a:lnTo>
                  <a:pt x="159" y="510"/>
                </a:lnTo>
                <a:lnTo>
                  <a:pt x="133" y="529"/>
                </a:lnTo>
                <a:lnTo>
                  <a:pt x="110" y="500"/>
                </a:lnTo>
                <a:lnTo>
                  <a:pt x="90" y="504"/>
                </a:lnTo>
                <a:lnTo>
                  <a:pt x="63" y="497"/>
                </a:lnTo>
                <a:lnTo>
                  <a:pt x="47" y="458"/>
                </a:lnTo>
                <a:lnTo>
                  <a:pt x="24" y="430"/>
                </a:lnTo>
                <a:lnTo>
                  <a:pt x="19" y="394"/>
                </a:lnTo>
                <a:lnTo>
                  <a:pt x="29" y="361"/>
                </a:lnTo>
                <a:lnTo>
                  <a:pt x="67" y="352"/>
                </a:lnTo>
                <a:lnTo>
                  <a:pt x="59" y="341"/>
                </a:lnTo>
                <a:lnTo>
                  <a:pt x="11" y="336"/>
                </a:lnTo>
                <a:lnTo>
                  <a:pt x="13" y="291"/>
                </a:lnTo>
                <a:lnTo>
                  <a:pt x="21" y="280"/>
                </a:lnTo>
                <a:lnTo>
                  <a:pt x="14" y="264"/>
                </a:lnTo>
                <a:lnTo>
                  <a:pt x="0" y="263"/>
                </a:lnTo>
                <a:lnTo>
                  <a:pt x="8" y="192"/>
                </a:lnTo>
                <a:lnTo>
                  <a:pt x="22" y="178"/>
                </a:lnTo>
                <a:lnTo>
                  <a:pt x="112" y="146"/>
                </a:lnTo>
                <a:lnTo>
                  <a:pt x="113" y="131"/>
                </a:lnTo>
                <a:lnTo>
                  <a:pt x="125" y="119"/>
                </a:lnTo>
                <a:lnTo>
                  <a:pt x="154" y="109"/>
                </a:lnTo>
                <a:lnTo>
                  <a:pt x="175" y="87"/>
                </a:lnTo>
                <a:lnTo>
                  <a:pt x="242" y="85"/>
                </a:lnTo>
                <a:lnTo>
                  <a:pt x="249" y="51"/>
                </a:lnTo>
                <a:lnTo>
                  <a:pt x="284" y="69"/>
                </a:lnTo>
                <a:lnTo>
                  <a:pt x="353" y="59"/>
                </a:lnTo>
                <a:lnTo>
                  <a:pt x="370" y="43"/>
                </a:lnTo>
                <a:lnTo>
                  <a:pt x="365" y="21"/>
                </a:lnTo>
                <a:lnTo>
                  <a:pt x="395" y="18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4" name="Freeform 19" descr="Wide upward diagonal">
            <a:extLst>
              <a:ext uri="{FF2B5EF4-FFF2-40B4-BE49-F238E27FC236}">
                <a16:creationId xmlns:a16="http://schemas.microsoft.com/office/drawing/2014/main" id="{92C6970F-1D5C-4B4F-A7F0-997957C88B62}"/>
              </a:ext>
            </a:extLst>
          </p:cNvPr>
          <p:cNvSpPr>
            <a:spLocks/>
          </p:cNvSpPr>
          <p:nvPr/>
        </p:nvSpPr>
        <p:spPr bwMode="auto">
          <a:xfrm rot="21249101">
            <a:off x="6267333" y="3421278"/>
            <a:ext cx="861880" cy="1058456"/>
          </a:xfrm>
          <a:custGeom>
            <a:avLst/>
            <a:gdLst>
              <a:gd name="T0" fmla="*/ 2147483647 w 2065"/>
              <a:gd name="T1" fmla="*/ 2147483647 h 2763"/>
              <a:gd name="T2" fmla="*/ 2147483647 w 2065"/>
              <a:gd name="T3" fmla="*/ 2147483647 h 2763"/>
              <a:gd name="T4" fmla="*/ 2147483647 w 2065"/>
              <a:gd name="T5" fmla="*/ 2147483647 h 2763"/>
              <a:gd name="T6" fmla="*/ 2147483647 w 2065"/>
              <a:gd name="T7" fmla="*/ 2147483647 h 2763"/>
              <a:gd name="T8" fmla="*/ 2147483647 w 2065"/>
              <a:gd name="T9" fmla="*/ 2147483647 h 2763"/>
              <a:gd name="T10" fmla="*/ 2147483647 w 2065"/>
              <a:gd name="T11" fmla="*/ 2147483647 h 2763"/>
              <a:gd name="T12" fmla="*/ 2147483647 w 2065"/>
              <a:gd name="T13" fmla="*/ 2147483647 h 2763"/>
              <a:gd name="T14" fmla="*/ 2147483647 w 2065"/>
              <a:gd name="T15" fmla="*/ 2147483647 h 2763"/>
              <a:gd name="T16" fmla="*/ 2147483647 w 2065"/>
              <a:gd name="T17" fmla="*/ 2147483647 h 2763"/>
              <a:gd name="T18" fmla="*/ 2147483647 w 2065"/>
              <a:gd name="T19" fmla="*/ 2147483647 h 2763"/>
              <a:gd name="T20" fmla="*/ 2147483647 w 2065"/>
              <a:gd name="T21" fmla="*/ 2147483647 h 2763"/>
              <a:gd name="T22" fmla="*/ 2147483647 w 2065"/>
              <a:gd name="T23" fmla="*/ 2147483647 h 2763"/>
              <a:gd name="T24" fmla="*/ 2147483647 w 2065"/>
              <a:gd name="T25" fmla="*/ 2147483647 h 2763"/>
              <a:gd name="T26" fmla="*/ 2147483647 w 2065"/>
              <a:gd name="T27" fmla="*/ 2147483647 h 2763"/>
              <a:gd name="T28" fmla="*/ 2147483647 w 2065"/>
              <a:gd name="T29" fmla="*/ 2147483647 h 2763"/>
              <a:gd name="T30" fmla="*/ 2147483647 w 2065"/>
              <a:gd name="T31" fmla="*/ 2147483647 h 2763"/>
              <a:gd name="T32" fmla="*/ 2147483647 w 2065"/>
              <a:gd name="T33" fmla="*/ 2147483647 h 2763"/>
              <a:gd name="T34" fmla="*/ 2147483647 w 2065"/>
              <a:gd name="T35" fmla="*/ 2147483647 h 2763"/>
              <a:gd name="T36" fmla="*/ 2147483647 w 2065"/>
              <a:gd name="T37" fmla="*/ 2147483647 h 2763"/>
              <a:gd name="T38" fmla="*/ 2147483647 w 2065"/>
              <a:gd name="T39" fmla="*/ 2147483647 h 2763"/>
              <a:gd name="T40" fmla="*/ 2147483647 w 2065"/>
              <a:gd name="T41" fmla="*/ 2147483647 h 2763"/>
              <a:gd name="T42" fmla="*/ 2147483647 w 2065"/>
              <a:gd name="T43" fmla="*/ 2147483647 h 2763"/>
              <a:gd name="T44" fmla="*/ 2147483647 w 2065"/>
              <a:gd name="T45" fmla="*/ 2147483647 h 2763"/>
              <a:gd name="T46" fmla="*/ 2147483647 w 2065"/>
              <a:gd name="T47" fmla="*/ 2147483647 h 2763"/>
              <a:gd name="T48" fmla="*/ 2147483647 w 2065"/>
              <a:gd name="T49" fmla="*/ 2147483647 h 2763"/>
              <a:gd name="T50" fmla="*/ 2147483647 w 2065"/>
              <a:gd name="T51" fmla="*/ 2147483647 h 2763"/>
              <a:gd name="T52" fmla="*/ 2147483647 w 2065"/>
              <a:gd name="T53" fmla="*/ 2147483647 h 2763"/>
              <a:gd name="T54" fmla="*/ 0 w 2065"/>
              <a:gd name="T55" fmla="*/ 2147483647 h 2763"/>
              <a:gd name="T56" fmla="*/ 2147483647 w 2065"/>
              <a:gd name="T57" fmla="*/ 2147483647 h 2763"/>
              <a:gd name="T58" fmla="*/ 2147483647 w 2065"/>
              <a:gd name="T59" fmla="*/ 2147483647 h 2763"/>
              <a:gd name="T60" fmla="*/ 2147483647 w 2065"/>
              <a:gd name="T61" fmla="*/ 2147483647 h 2763"/>
              <a:gd name="T62" fmla="*/ 2147483647 w 2065"/>
              <a:gd name="T63" fmla="*/ 2147483647 h 2763"/>
              <a:gd name="T64" fmla="*/ 2147483647 w 2065"/>
              <a:gd name="T65" fmla="*/ 2147483647 h 2763"/>
              <a:gd name="T66" fmla="*/ 2147483647 w 2065"/>
              <a:gd name="T67" fmla="*/ 2147483647 h 2763"/>
              <a:gd name="T68" fmla="*/ 2147483647 w 2065"/>
              <a:gd name="T69" fmla="*/ 2147483647 h 2763"/>
              <a:gd name="T70" fmla="*/ 2147483647 w 2065"/>
              <a:gd name="T71" fmla="*/ 2147483647 h 2763"/>
              <a:gd name="T72" fmla="*/ 2147483647 w 2065"/>
              <a:gd name="T73" fmla="*/ 2147483647 h 2763"/>
              <a:gd name="T74" fmla="*/ 2147483647 w 2065"/>
              <a:gd name="T75" fmla="*/ 2147483647 h 2763"/>
              <a:gd name="T76" fmla="*/ 2147483647 w 2065"/>
              <a:gd name="T77" fmla="*/ 2147483647 h 2763"/>
              <a:gd name="T78" fmla="*/ 2147483647 w 2065"/>
              <a:gd name="T79" fmla="*/ 2147483647 h 2763"/>
              <a:gd name="T80" fmla="*/ 2147483647 w 2065"/>
              <a:gd name="T81" fmla="*/ 2147483647 h 2763"/>
              <a:gd name="T82" fmla="*/ 2147483647 w 2065"/>
              <a:gd name="T83" fmla="*/ 2147483647 h 2763"/>
              <a:gd name="T84" fmla="*/ 2147483647 w 2065"/>
              <a:gd name="T85" fmla="*/ 2147483647 h 2763"/>
              <a:gd name="T86" fmla="*/ 2147483647 w 2065"/>
              <a:gd name="T87" fmla="*/ 2147483647 h 2763"/>
              <a:gd name="T88" fmla="*/ 2147483647 w 2065"/>
              <a:gd name="T89" fmla="*/ 2147483647 h 2763"/>
              <a:gd name="T90" fmla="*/ 2147483647 w 2065"/>
              <a:gd name="T91" fmla="*/ 2147483647 h 2763"/>
              <a:gd name="T92" fmla="*/ 2147483647 w 2065"/>
              <a:gd name="T93" fmla="*/ 2147483647 h 2763"/>
              <a:gd name="T94" fmla="*/ 2147483647 w 2065"/>
              <a:gd name="T95" fmla="*/ 2147483647 h 2763"/>
              <a:gd name="T96" fmla="*/ 2147483647 w 2065"/>
              <a:gd name="T97" fmla="*/ 2147483647 h 2763"/>
              <a:gd name="T98" fmla="*/ 2147483647 w 2065"/>
              <a:gd name="T99" fmla="*/ 2147483647 h 2763"/>
              <a:gd name="T100" fmla="*/ 2147483647 w 2065"/>
              <a:gd name="T101" fmla="*/ 2147483647 h 2763"/>
              <a:gd name="T102" fmla="*/ 2147483647 w 2065"/>
              <a:gd name="T103" fmla="*/ 2147483647 h 2763"/>
              <a:gd name="T104" fmla="*/ 2147483647 w 2065"/>
              <a:gd name="T105" fmla="*/ 2147483647 h 2763"/>
              <a:gd name="T106" fmla="*/ 2147483647 w 2065"/>
              <a:gd name="T107" fmla="*/ 2147483647 h 2763"/>
              <a:gd name="T108" fmla="*/ 2147483647 w 2065"/>
              <a:gd name="T109" fmla="*/ 2147483647 h 2763"/>
              <a:gd name="T110" fmla="*/ 2147483647 w 2065"/>
              <a:gd name="T111" fmla="*/ 2147483647 h 2763"/>
              <a:gd name="T112" fmla="*/ 2147483647 w 2065"/>
              <a:gd name="T113" fmla="*/ 2147483647 h 2763"/>
              <a:gd name="T114" fmla="*/ 2147483647 w 2065"/>
              <a:gd name="T115" fmla="*/ 2147483647 h 2763"/>
              <a:gd name="T116" fmla="*/ 2147483647 w 2065"/>
              <a:gd name="T117" fmla="*/ 2147483647 h 276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065"/>
              <a:gd name="T178" fmla="*/ 0 h 2763"/>
              <a:gd name="T179" fmla="*/ 2065 w 2065"/>
              <a:gd name="T180" fmla="*/ 2763 h 276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065" h="2763">
                <a:moveTo>
                  <a:pt x="1247" y="395"/>
                </a:moveTo>
                <a:lnTo>
                  <a:pt x="1241" y="376"/>
                </a:lnTo>
                <a:lnTo>
                  <a:pt x="1260" y="342"/>
                </a:lnTo>
                <a:lnTo>
                  <a:pt x="1290" y="325"/>
                </a:lnTo>
                <a:lnTo>
                  <a:pt x="1314" y="301"/>
                </a:lnTo>
                <a:lnTo>
                  <a:pt x="1318" y="267"/>
                </a:lnTo>
                <a:lnTo>
                  <a:pt x="1304" y="251"/>
                </a:lnTo>
                <a:lnTo>
                  <a:pt x="1238" y="266"/>
                </a:lnTo>
                <a:lnTo>
                  <a:pt x="1213" y="263"/>
                </a:lnTo>
                <a:lnTo>
                  <a:pt x="1200" y="235"/>
                </a:lnTo>
                <a:lnTo>
                  <a:pt x="1157" y="211"/>
                </a:lnTo>
                <a:lnTo>
                  <a:pt x="1138" y="232"/>
                </a:lnTo>
                <a:lnTo>
                  <a:pt x="1117" y="229"/>
                </a:lnTo>
                <a:lnTo>
                  <a:pt x="1118" y="200"/>
                </a:lnTo>
                <a:lnTo>
                  <a:pt x="1089" y="196"/>
                </a:lnTo>
                <a:lnTo>
                  <a:pt x="1076" y="180"/>
                </a:lnTo>
                <a:lnTo>
                  <a:pt x="1104" y="153"/>
                </a:lnTo>
                <a:lnTo>
                  <a:pt x="1110" y="120"/>
                </a:lnTo>
                <a:lnTo>
                  <a:pt x="1097" y="75"/>
                </a:lnTo>
                <a:lnTo>
                  <a:pt x="1039" y="47"/>
                </a:lnTo>
                <a:lnTo>
                  <a:pt x="1012" y="45"/>
                </a:lnTo>
                <a:lnTo>
                  <a:pt x="1017" y="28"/>
                </a:lnTo>
                <a:lnTo>
                  <a:pt x="983" y="38"/>
                </a:lnTo>
                <a:lnTo>
                  <a:pt x="898" y="2"/>
                </a:lnTo>
                <a:lnTo>
                  <a:pt x="867" y="0"/>
                </a:lnTo>
                <a:lnTo>
                  <a:pt x="858" y="38"/>
                </a:lnTo>
                <a:lnTo>
                  <a:pt x="907" y="153"/>
                </a:lnTo>
                <a:lnTo>
                  <a:pt x="851" y="176"/>
                </a:lnTo>
                <a:lnTo>
                  <a:pt x="846" y="189"/>
                </a:lnTo>
                <a:lnTo>
                  <a:pt x="829" y="205"/>
                </a:lnTo>
                <a:lnTo>
                  <a:pt x="853" y="211"/>
                </a:lnTo>
                <a:lnTo>
                  <a:pt x="867" y="224"/>
                </a:lnTo>
                <a:lnTo>
                  <a:pt x="856" y="247"/>
                </a:lnTo>
                <a:lnTo>
                  <a:pt x="864" y="272"/>
                </a:lnTo>
                <a:lnTo>
                  <a:pt x="880" y="292"/>
                </a:lnTo>
                <a:lnTo>
                  <a:pt x="873" y="306"/>
                </a:lnTo>
                <a:lnTo>
                  <a:pt x="856" y="306"/>
                </a:lnTo>
                <a:lnTo>
                  <a:pt x="850" y="336"/>
                </a:lnTo>
                <a:lnTo>
                  <a:pt x="895" y="380"/>
                </a:lnTo>
                <a:lnTo>
                  <a:pt x="887" y="387"/>
                </a:lnTo>
                <a:lnTo>
                  <a:pt x="799" y="377"/>
                </a:lnTo>
                <a:lnTo>
                  <a:pt x="772" y="418"/>
                </a:lnTo>
                <a:lnTo>
                  <a:pt x="759" y="486"/>
                </a:lnTo>
                <a:lnTo>
                  <a:pt x="769" y="569"/>
                </a:lnTo>
                <a:lnTo>
                  <a:pt x="740" y="485"/>
                </a:lnTo>
                <a:lnTo>
                  <a:pt x="710" y="471"/>
                </a:lnTo>
                <a:lnTo>
                  <a:pt x="701" y="511"/>
                </a:lnTo>
                <a:lnTo>
                  <a:pt x="675" y="509"/>
                </a:lnTo>
                <a:lnTo>
                  <a:pt x="676" y="460"/>
                </a:lnTo>
                <a:lnTo>
                  <a:pt x="661" y="419"/>
                </a:lnTo>
                <a:lnTo>
                  <a:pt x="602" y="397"/>
                </a:lnTo>
                <a:lnTo>
                  <a:pt x="493" y="400"/>
                </a:lnTo>
                <a:lnTo>
                  <a:pt x="476" y="429"/>
                </a:lnTo>
                <a:lnTo>
                  <a:pt x="457" y="443"/>
                </a:lnTo>
                <a:lnTo>
                  <a:pt x="439" y="468"/>
                </a:lnTo>
                <a:lnTo>
                  <a:pt x="441" y="478"/>
                </a:lnTo>
                <a:lnTo>
                  <a:pt x="480" y="497"/>
                </a:lnTo>
                <a:lnTo>
                  <a:pt x="512" y="537"/>
                </a:lnTo>
                <a:lnTo>
                  <a:pt x="515" y="575"/>
                </a:lnTo>
                <a:lnTo>
                  <a:pt x="509" y="570"/>
                </a:lnTo>
                <a:lnTo>
                  <a:pt x="496" y="531"/>
                </a:lnTo>
                <a:lnTo>
                  <a:pt x="435" y="535"/>
                </a:lnTo>
                <a:lnTo>
                  <a:pt x="362" y="709"/>
                </a:lnTo>
                <a:lnTo>
                  <a:pt x="295" y="739"/>
                </a:lnTo>
                <a:lnTo>
                  <a:pt x="297" y="779"/>
                </a:lnTo>
                <a:lnTo>
                  <a:pt x="363" y="823"/>
                </a:lnTo>
                <a:lnTo>
                  <a:pt x="350" y="869"/>
                </a:lnTo>
                <a:lnTo>
                  <a:pt x="314" y="903"/>
                </a:lnTo>
                <a:lnTo>
                  <a:pt x="270" y="924"/>
                </a:lnTo>
                <a:lnTo>
                  <a:pt x="254" y="969"/>
                </a:lnTo>
                <a:lnTo>
                  <a:pt x="228" y="1006"/>
                </a:lnTo>
                <a:lnTo>
                  <a:pt x="195" y="1008"/>
                </a:lnTo>
                <a:lnTo>
                  <a:pt x="148" y="976"/>
                </a:lnTo>
                <a:lnTo>
                  <a:pt x="106" y="969"/>
                </a:lnTo>
                <a:lnTo>
                  <a:pt x="69" y="1232"/>
                </a:lnTo>
                <a:lnTo>
                  <a:pt x="38" y="1258"/>
                </a:lnTo>
                <a:lnTo>
                  <a:pt x="29" y="1287"/>
                </a:lnTo>
                <a:lnTo>
                  <a:pt x="35" y="1364"/>
                </a:lnTo>
                <a:lnTo>
                  <a:pt x="31" y="1386"/>
                </a:lnTo>
                <a:lnTo>
                  <a:pt x="45" y="1417"/>
                </a:lnTo>
                <a:lnTo>
                  <a:pt x="44" y="1462"/>
                </a:lnTo>
                <a:lnTo>
                  <a:pt x="60" y="1504"/>
                </a:lnTo>
                <a:lnTo>
                  <a:pt x="55" y="1536"/>
                </a:lnTo>
                <a:lnTo>
                  <a:pt x="0" y="1597"/>
                </a:lnTo>
                <a:lnTo>
                  <a:pt x="28" y="1622"/>
                </a:lnTo>
                <a:lnTo>
                  <a:pt x="12" y="1651"/>
                </a:lnTo>
                <a:lnTo>
                  <a:pt x="9" y="1682"/>
                </a:lnTo>
                <a:lnTo>
                  <a:pt x="32" y="1749"/>
                </a:lnTo>
                <a:lnTo>
                  <a:pt x="27" y="1801"/>
                </a:lnTo>
                <a:lnTo>
                  <a:pt x="2" y="1824"/>
                </a:lnTo>
                <a:lnTo>
                  <a:pt x="72" y="1915"/>
                </a:lnTo>
                <a:lnTo>
                  <a:pt x="89" y="1964"/>
                </a:lnTo>
                <a:lnTo>
                  <a:pt x="388" y="2103"/>
                </a:lnTo>
                <a:lnTo>
                  <a:pt x="370" y="2151"/>
                </a:lnTo>
                <a:lnTo>
                  <a:pt x="279" y="2238"/>
                </a:lnTo>
                <a:lnTo>
                  <a:pt x="207" y="2391"/>
                </a:lnTo>
                <a:lnTo>
                  <a:pt x="183" y="2556"/>
                </a:lnTo>
                <a:lnTo>
                  <a:pt x="188" y="2570"/>
                </a:lnTo>
                <a:lnTo>
                  <a:pt x="217" y="2603"/>
                </a:lnTo>
                <a:lnTo>
                  <a:pt x="490" y="2601"/>
                </a:lnTo>
                <a:lnTo>
                  <a:pt x="647" y="2687"/>
                </a:lnTo>
                <a:lnTo>
                  <a:pt x="695" y="2675"/>
                </a:lnTo>
                <a:lnTo>
                  <a:pt x="738" y="2678"/>
                </a:lnTo>
                <a:lnTo>
                  <a:pt x="775" y="2694"/>
                </a:lnTo>
                <a:lnTo>
                  <a:pt x="793" y="2735"/>
                </a:lnTo>
                <a:lnTo>
                  <a:pt x="834" y="2763"/>
                </a:lnTo>
                <a:lnTo>
                  <a:pt x="859" y="2751"/>
                </a:lnTo>
                <a:lnTo>
                  <a:pt x="877" y="2723"/>
                </a:lnTo>
                <a:lnTo>
                  <a:pt x="910" y="2698"/>
                </a:lnTo>
                <a:lnTo>
                  <a:pt x="960" y="2709"/>
                </a:lnTo>
                <a:lnTo>
                  <a:pt x="1015" y="2751"/>
                </a:lnTo>
                <a:lnTo>
                  <a:pt x="1074" y="2758"/>
                </a:lnTo>
                <a:lnTo>
                  <a:pt x="1167" y="2711"/>
                </a:lnTo>
                <a:lnTo>
                  <a:pt x="1316" y="2709"/>
                </a:lnTo>
                <a:lnTo>
                  <a:pt x="1337" y="2689"/>
                </a:lnTo>
                <a:lnTo>
                  <a:pt x="1386" y="2710"/>
                </a:lnTo>
                <a:lnTo>
                  <a:pt x="1451" y="2717"/>
                </a:lnTo>
                <a:lnTo>
                  <a:pt x="1466" y="2753"/>
                </a:lnTo>
                <a:lnTo>
                  <a:pt x="1503" y="2740"/>
                </a:lnTo>
                <a:lnTo>
                  <a:pt x="1503" y="2706"/>
                </a:lnTo>
                <a:lnTo>
                  <a:pt x="1480" y="2633"/>
                </a:lnTo>
                <a:lnTo>
                  <a:pt x="1482" y="2560"/>
                </a:lnTo>
                <a:lnTo>
                  <a:pt x="1508" y="2512"/>
                </a:lnTo>
                <a:lnTo>
                  <a:pt x="1610" y="2482"/>
                </a:lnTo>
                <a:lnTo>
                  <a:pt x="1649" y="2405"/>
                </a:lnTo>
                <a:lnTo>
                  <a:pt x="1727" y="2380"/>
                </a:lnTo>
                <a:lnTo>
                  <a:pt x="1736" y="2346"/>
                </a:lnTo>
                <a:lnTo>
                  <a:pt x="1429" y="1995"/>
                </a:lnTo>
                <a:lnTo>
                  <a:pt x="1432" y="1865"/>
                </a:lnTo>
                <a:lnTo>
                  <a:pt x="1383" y="1836"/>
                </a:lnTo>
                <a:lnTo>
                  <a:pt x="1352" y="1789"/>
                </a:lnTo>
                <a:lnTo>
                  <a:pt x="1356" y="1752"/>
                </a:lnTo>
                <a:lnTo>
                  <a:pt x="1364" y="1734"/>
                </a:lnTo>
                <a:lnTo>
                  <a:pt x="1422" y="1802"/>
                </a:lnTo>
                <a:lnTo>
                  <a:pt x="1433" y="1800"/>
                </a:lnTo>
                <a:lnTo>
                  <a:pt x="1460" y="1747"/>
                </a:lnTo>
                <a:lnTo>
                  <a:pt x="1679" y="1679"/>
                </a:lnTo>
                <a:lnTo>
                  <a:pt x="1711" y="1633"/>
                </a:lnTo>
                <a:lnTo>
                  <a:pt x="1875" y="1588"/>
                </a:lnTo>
                <a:lnTo>
                  <a:pt x="1897" y="1496"/>
                </a:lnTo>
                <a:lnTo>
                  <a:pt x="1937" y="1509"/>
                </a:lnTo>
                <a:lnTo>
                  <a:pt x="1988" y="1602"/>
                </a:lnTo>
                <a:lnTo>
                  <a:pt x="2016" y="1604"/>
                </a:lnTo>
                <a:lnTo>
                  <a:pt x="2065" y="1414"/>
                </a:lnTo>
                <a:lnTo>
                  <a:pt x="2061" y="1396"/>
                </a:lnTo>
                <a:lnTo>
                  <a:pt x="2002" y="1314"/>
                </a:lnTo>
                <a:lnTo>
                  <a:pt x="1988" y="934"/>
                </a:lnTo>
                <a:lnTo>
                  <a:pt x="1934" y="886"/>
                </a:lnTo>
                <a:lnTo>
                  <a:pt x="1935" y="857"/>
                </a:lnTo>
                <a:lnTo>
                  <a:pt x="1983" y="762"/>
                </a:lnTo>
                <a:lnTo>
                  <a:pt x="1997" y="647"/>
                </a:lnTo>
                <a:lnTo>
                  <a:pt x="1965" y="543"/>
                </a:lnTo>
                <a:lnTo>
                  <a:pt x="1879" y="507"/>
                </a:lnTo>
                <a:lnTo>
                  <a:pt x="1874" y="454"/>
                </a:lnTo>
                <a:lnTo>
                  <a:pt x="1846" y="398"/>
                </a:lnTo>
                <a:lnTo>
                  <a:pt x="1809" y="399"/>
                </a:lnTo>
                <a:lnTo>
                  <a:pt x="1788" y="377"/>
                </a:lnTo>
                <a:lnTo>
                  <a:pt x="1776" y="374"/>
                </a:lnTo>
                <a:lnTo>
                  <a:pt x="1770" y="344"/>
                </a:lnTo>
                <a:lnTo>
                  <a:pt x="1741" y="322"/>
                </a:lnTo>
                <a:lnTo>
                  <a:pt x="1722" y="295"/>
                </a:lnTo>
                <a:lnTo>
                  <a:pt x="1629" y="309"/>
                </a:lnTo>
                <a:lnTo>
                  <a:pt x="1601" y="325"/>
                </a:lnTo>
                <a:lnTo>
                  <a:pt x="1613" y="304"/>
                </a:lnTo>
                <a:lnTo>
                  <a:pt x="1676" y="266"/>
                </a:lnTo>
                <a:lnTo>
                  <a:pt x="1650" y="259"/>
                </a:lnTo>
                <a:lnTo>
                  <a:pt x="1617" y="263"/>
                </a:lnTo>
                <a:lnTo>
                  <a:pt x="1558" y="320"/>
                </a:lnTo>
                <a:lnTo>
                  <a:pt x="1536" y="355"/>
                </a:lnTo>
                <a:lnTo>
                  <a:pt x="1519" y="365"/>
                </a:lnTo>
                <a:lnTo>
                  <a:pt x="1522" y="341"/>
                </a:lnTo>
                <a:lnTo>
                  <a:pt x="1446" y="350"/>
                </a:lnTo>
                <a:lnTo>
                  <a:pt x="1381" y="393"/>
                </a:lnTo>
                <a:lnTo>
                  <a:pt x="1391" y="415"/>
                </a:lnTo>
                <a:lnTo>
                  <a:pt x="1355" y="411"/>
                </a:lnTo>
                <a:lnTo>
                  <a:pt x="1311" y="391"/>
                </a:lnTo>
                <a:lnTo>
                  <a:pt x="1252" y="418"/>
                </a:lnTo>
                <a:lnTo>
                  <a:pt x="1247" y="395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5" name="Freeform 20" descr="Large confetti">
            <a:extLst>
              <a:ext uri="{FF2B5EF4-FFF2-40B4-BE49-F238E27FC236}">
                <a16:creationId xmlns:a16="http://schemas.microsoft.com/office/drawing/2014/main" id="{084EB3DB-0930-461A-A1F0-7924DA0BF114}"/>
              </a:ext>
            </a:extLst>
          </p:cNvPr>
          <p:cNvSpPr>
            <a:spLocks/>
          </p:cNvSpPr>
          <p:nvPr/>
        </p:nvSpPr>
        <p:spPr bwMode="auto">
          <a:xfrm rot="21249101">
            <a:off x="6951450" y="3470432"/>
            <a:ext cx="46686" cy="55709"/>
          </a:xfrm>
          <a:custGeom>
            <a:avLst/>
            <a:gdLst>
              <a:gd name="T0" fmla="*/ 2147483647 w 115"/>
              <a:gd name="T1" fmla="*/ 2147483647 h 143"/>
              <a:gd name="T2" fmla="*/ 2147483647 w 115"/>
              <a:gd name="T3" fmla="*/ 2147483647 h 143"/>
              <a:gd name="T4" fmla="*/ 2147483647 w 115"/>
              <a:gd name="T5" fmla="*/ 2147483647 h 143"/>
              <a:gd name="T6" fmla="*/ 2147483647 w 115"/>
              <a:gd name="T7" fmla="*/ 2147483647 h 143"/>
              <a:gd name="T8" fmla="*/ 2147483647 w 115"/>
              <a:gd name="T9" fmla="*/ 2147483647 h 143"/>
              <a:gd name="T10" fmla="*/ 2147483647 w 115"/>
              <a:gd name="T11" fmla="*/ 2147483647 h 143"/>
              <a:gd name="T12" fmla="*/ 2147483647 w 115"/>
              <a:gd name="T13" fmla="*/ 2147483647 h 143"/>
              <a:gd name="T14" fmla="*/ 2147483647 w 115"/>
              <a:gd name="T15" fmla="*/ 2147483647 h 143"/>
              <a:gd name="T16" fmla="*/ 0 w 115"/>
              <a:gd name="T17" fmla="*/ 2147483647 h 143"/>
              <a:gd name="T18" fmla="*/ 2147483647 w 115"/>
              <a:gd name="T19" fmla="*/ 2147483647 h 143"/>
              <a:gd name="T20" fmla="*/ 2147483647 w 115"/>
              <a:gd name="T21" fmla="*/ 2147483647 h 143"/>
              <a:gd name="T22" fmla="*/ 2147483647 w 115"/>
              <a:gd name="T23" fmla="*/ 2147483647 h 143"/>
              <a:gd name="T24" fmla="*/ 2147483647 w 115"/>
              <a:gd name="T25" fmla="*/ 2147483647 h 143"/>
              <a:gd name="T26" fmla="*/ 2147483647 w 115"/>
              <a:gd name="T27" fmla="*/ 2147483647 h 143"/>
              <a:gd name="T28" fmla="*/ 2147483647 w 115"/>
              <a:gd name="T29" fmla="*/ 2147483647 h 143"/>
              <a:gd name="T30" fmla="*/ 2147483647 w 115"/>
              <a:gd name="T31" fmla="*/ 2147483647 h 143"/>
              <a:gd name="T32" fmla="*/ 2147483647 w 115"/>
              <a:gd name="T33" fmla="*/ 2147483647 h 143"/>
              <a:gd name="T34" fmla="*/ 2147483647 w 115"/>
              <a:gd name="T35" fmla="*/ 0 h 143"/>
              <a:gd name="T36" fmla="*/ 2147483647 w 115"/>
              <a:gd name="T37" fmla="*/ 2147483647 h 143"/>
              <a:gd name="T38" fmla="*/ 2147483647 w 115"/>
              <a:gd name="T39" fmla="*/ 2147483647 h 143"/>
              <a:gd name="T40" fmla="*/ 2147483647 w 115"/>
              <a:gd name="T41" fmla="*/ 2147483647 h 143"/>
              <a:gd name="T42" fmla="*/ 2147483647 w 115"/>
              <a:gd name="T43" fmla="*/ 2147483647 h 143"/>
              <a:gd name="T44" fmla="*/ 2147483647 w 115"/>
              <a:gd name="T45" fmla="*/ 2147483647 h 14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15"/>
              <a:gd name="T70" fmla="*/ 0 h 143"/>
              <a:gd name="T71" fmla="*/ 115 w 115"/>
              <a:gd name="T72" fmla="*/ 143 h 143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15" h="143">
                <a:moveTo>
                  <a:pt x="101" y="81"/>
                </a:moveTo>
                <a:lnTo>
                  <a:pt x="101" y="105"/>
                </a:lnTo>
                <a:lnTo>
                  <a:pt x="112" y="127"/>
                </a:lnTo>
                <a:lnTo>
                  <a:pt x="108" y="143"/>
                </a:lnTo>
                <a:lnTo>
                  <a:pt x="89" y="128"/>
                </a:lnTo>
                <a:lnTo>
                  <a:pt x="66" y="132"/>
                </a:lnTo>
                <a:lnTo>
                  <a:pt x="53" y="143"/>
                </a:lnTo>
                <a:lnTo>
                  <a:pt x="21" y="133"/>
                </a:lnTo>
                <a:lnTo>
                  <a:pt x="0" y="110"/>
                </a:lnTo>
                <a:lnTo>
                  <a:pt x="12" y="95"/>
                </a:lnTo>
                <a:lnTo>
                  <a:pt x="15" y="76"/>
                </a:lnTo>
                <a:lnTo>
                  <a:pt x="8" y="45"/>
                </a:lnTo>
                <a:lnTo>
                  <a:pt x="26" y="42"/>
                </a:lnTo>
                <a:lnTo>
                  <a:pt x="72" y="69"/>
                </a:lnTo>
                <a:lnTo>
                  <a:pt x="67" y="50"/>
                </a:lnTo>
                <a:lnTo>
                  <a:pt x="46" y="32"/>
                </a:lnTo>
                <a:lnTo>
                  <a:pt x="33" y="13"/>
                </a:lnTo>
                <a:lnTo>
                  <a:pt x="44" y="0"/>
                </a:lnTo>
                <a:lnTo>
                  <a:pt x="64" y="6"/>
                </a:lnTo>
                <a:lnTo>
                  <a:pt x="67" y="24"/>
                </a:lnTo>
                <a:lnTo>
                  <a:pt x="97" y="30"/>
                </a:lnTo>
                <a:lnTo>
                  <a:pt x="115" y="40"/>
                </a:lnTo>
                <a:lnTo>
                  <a:pt x="101" y="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6" name="Freeform 21" descr="Large grid">
            <a:extLst>
              <a:ext uri="{FF2B5EF4-FFF2-40B4-BE49-F238E27FC236}">
                <a16:creationId xmlns:a16="http://schemas.microsoft.com/office/drawing/2014/main" id="{43BE9DFF-6B28-4972-9E9B-68220521045B}"/>
              </a:ext>
            </a:extLst>
          </p:cNvPr>
          <p:cNvSpPr>
            <a:spLocks/>
          </p:cNvSpPr>
          <p:nvPr/>
        </p:nvSpPr>
        <p:spPr bwMode="auto">
          <a:xfrm rot="21249101">
            <a:off x="6951450" y="3470432"/>
            <a:ext cx="46686" cy="55709"/>
          </a:xfrm>
          <a:custGeom>
            <a:avLst/>
            <a:gdLst>
              <a:gd name="T0" fmla="*/ 2147483647 w 115"/>
              <a:gd name="T1" fmla="*/ 2147483647 h 143"/>
              <a:gd name="T2" fmla="*/ 2147483647 w 115"/>
              <a:gd name="T3" fmla="*/ 2147483647 h 143"/>
              <a:gd name="T4" fmla="*/ 2147483647 w 115"/>
              <a:gd name="T5" fmla="*/ 2147483647 h 143"/>
              <a:gd name="T6" fmla="*/ 2147483647 w 115"/>
              <a:gd name="T7" fmla="*/ 2147483647 h 143"/>
              <a:gd name="T8" fmla="*/ 2147483647 w 115"/>
              <a:gd name="T9" fmla="*/ 2147483647 h 143"/>
              <a:gd name="T10" fmla="*/ 2147483647 w 115"/>
              <a:gd name="T11" fmla="*/ 2147483647 h 143"/>
              <a:gd name="T12" fmla="*/ 2147483647 w 115"/>
              <a:gd name="T13" fmla="*/ 2147483647 h 143"/>
              <a:gd name="T14" fmla="*/ 2147483647 w 115"/>
              <a:gd name="T15" fmla="*/ 2147483647 h 143"/>
              <a:gd name="T16" fmla="*/ 0 w 115"/>
              <a:gd name="T17" fmla="*/ 2147483647 h 143"/>
              <a:gd name="T18" fmla="*/ 2147483647 w 115"/>
              <a:gd name="T19" fmla="*/ 2147483647 h 143"/>
              <a:gd name="T20" fmla="*/ 2147483647 w 115"/>
              <a:gd name="T21" fmla="*/ 2147483647 h 143"/>
              <a:gd name="T22" fmla="*/ 2147483647 w 115"/>
              <a:gd name="T23" fmla="*/ 2147483647 h 143"/>
              <a:gd name="T24" fmla="*/ 2147483647 w 115"/>
              <a:gd name="T25" fmla="*/ 2147483647 h 143"/>
              <a:gd name="T26" fmla="*/ 2147483647 w 115"/>
              <a:gd name="T27" fmla="*/ 2147483647 h 143"/>
              <a:gd name="T28" fmla="*/ 2147483647 w 115"/>
              <a:gd name="T29" fmla="*/ 2147483647 h 143"/>
              <a:gd name="T30" fmla="*/ 2147483647 w 115"/>
              <a:gd name="T31" fmla="*/ 2147483647 h 143"/>
              <a:gd name="T32" fmla="*/ 2147483647 w 115"/>
              <a:gd name="T33" fmla="*/ 2147483647 h 143"/>
              <a:gd name="T34" fmla="*/ 2147483647 w 115"/>
              <a:gd name="T35" fmla="*/ 0 h 143"/>
              <a:gd name="T36" fmla="*/ 2147483647 w 115"/>
              <a:gd name="T37" fmla="*/ 2147483647 h 143"/>
              <a:gd name="T38" fmla="*/ 2147483647 w 115"/>
              <a:gd name="T39" fmla="*/ 2147483647 h 143"/>
              <a:gd name="T40" fmla="*/ 2147483647 w 115"/>
              <a:gd name="T41" fmla="*/ 2147483647 h 143"/>
              <a:gd name="T42" fmla="*/ 2147483647 w 115"/>
              <a:gd name="T43" fmla="*/ 2147483647 h 143"/>
              <a:gd name="T44" fmla="*/ 2147483647 w 115"/>
              <a:gd name="T45" fmla="*/ 2147483647 h 14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15"/>
              <a:gd name="T70" fmla="*/ 0 h 143"/>
              <a:gd name="T71" fmla="*/ 115 w 115"/>
              <a:gd name="T72" fmla="*/ 143 h 143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15" h="143">
                <a:moveTo>
                  <a:pt x="101" y="81"/>
                </a:moveTo>
                <a:lnTo>
                  <a:pt x="101" y="105"/>
                </a:lnTo>
                <a:lnTo>
                  <a:pt x="112" y="127"/>
                </a:lnTo>
                <a:lnTo>
                  <a:pt x="108" y="143"/>
                </a:lnTo>
                <a:lnTo>
                  <a:pt x="89" y="128"/>
                </a:lnTo>
                <a:lnTo>
                  <a:pt x="66" y="132"/>
                </a:lnTo>
                <a:lnTo>
                  <a:pt x="53" y="143"/>
                </a:lnTo>
                <a:lnTo>
                  <a:pt x="21" y="133"/>
                </a:lnTo>
                <a:lnTo>
                  <a:pt x="0" y="110"/>
                </a:lnTo>
                <a:lnTo>
                  <a:pt x="12" y="95"/>
                </a:lnTo>
                <a:lnTo>
                  <a:pt x="15" y="76"/>
                </a:lnTo>
                <a:lnTo>
                  <a:pt x="8" y="45"/>
                </a:lnTo>
                <a:lnTo>
                  <a:pt x="26" y="42"/>
                </a:lnTo>
                <a:lnTo>
                  <a:pt x="72" y="69"/>
                </a:lnTo>
                <a:lnTo>
                  <a:pt x="67" y="50"/>
                </a:lnTo>
                <a:lnTo>
                  <a:pt x="46" y="32"/>
                </a:lnTo>
                <a:lnTo>
                  <a:pt x="33" y="13"/>
                </a:lnTo>
                <a:lnTo>
                  <a:pt x="44" y="0"/>
                </a:lnTo>
                <a:lnTo>
                  <a:pt x="64" y="6"/>
                </a:lnTo>
                <a:lnTo>
                  <a:pt x="67" y="24"/>
                </a:lnTo>
                <a:lnTo>
                  <a:pt x="97" y="30"/>
                </a:lnTo>
                <a:lnTo>
                  <a:pt x="115" y="40"/>
                </a:lnTo>
                <a:lnTo>
                  <a:pt x="101" y="8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7" name="Freeform 22" descr="70%">
            <a:extLst>
              <a:ext uri="{FF2B5EF4-FFF2-40B4-BE49-F238E27FC236}">
                <a16:creationId xmlns:a16="http://schemas.microsoft.com/office/drawing/2014/main" id="{E6741CBA-612D-421E-BB3C-A38A32A7017E}"/>
              </a:ext>
            </a:extLst>
          </p:cNvPr>
          <p:cNvSpPr>
            <a:spLocks/>
          </p:cNvSpPr>
          <p:nvPr/>
        </p:nvSpPr>
        <p:spPr bwMode="auto">
          <a:xfrm rot="21249101">
            <a:off x="5530136" y="2554432"/>
            <a:ext cx="98757" cy="73732"/>
          </a:xfrm>
          <a:custGeom>
            <a:avLst/>
            <a:gdLst>
              <a:gd name="T0" fmla="*/ 2147483647 w 235"/>
              <a:gd name="T1" fmla="*/ 2147483647 h 188"/>
              <a:gd name="T2" fmla="*/ 2147483647 w 235"/>
              <a:gd name="T3" fmla="*/ 0 h 188"/>
              <a:gd name="T4" fmla="*/ 2147483647 w 235"/>
              <a:gd name="T5" fmla="*/ 2147483647 h 188"/>
              <a:gd name="T6" fmla="*/ 2147483647 w 235"/>
              <a:gd name="T7" fmla="*/ 2147483647 h 188"/>
              <a:gd name="T8" fmla="*/ 2147483647 w 235"/>
              <a:gd name="T9" fmla="*/ 2147483647 h 188"/>
              <a:gd name="T10" fmla="*/ 2147483647 w 235"/>
              <a:gd name="T11" fmla="*/ 2147483647 h 188"/>
              <a:gd name="T12" fmla="*/ 2147483647 w 235"/>
              <a:gd name="T13" fmla="*/ 2147483647 h 188"/>
              <a:gd name="T14" fmla="*/ 2147483647 w 235"/>
              <a:gd name="T15" fmla="*/ 2147483647 h 188"/>
              <a:gd name="T16" fmla="*/ 2147483647 w 235"/>
              <a:gd name="T17" fmla="*/ 2147483647 h 188"/>
              <a:gd name="T18" fmla="*/ 2147483647 w 235"/>
              <a:gd name="T19" fmla="*/ 2147483647 h 188"/>
              <a:gd name="T20" fmla="*/ 2147483647 w 235"/>
              <a:gd name="T21" fmla="*/ 2147483647 h 188"/>
              <a:gd name="T22" fmla="*/ 2147483647 w 235"/>
              <a:gd name="T23" fmla="*/ 2147483647 h 188"/>
              <a:gd name="T24" fmla="*/ 0 w 235"/>
              <a:gd name="T25" fmla="*/ 2147483647 h 188"/>
              <a:gd name="T26" fmla="*/ 2147483647 w 235"/>
              <a:gd name="T27" fmla="*/ 2147483647 h 188"/>
              <a:gd name="T28" fmla="*/ 2147483647 w 235"/>
              <a:gd name="T29" fmla="*/ 2147483647 h 188"/>
              <a:gd name="T30" fmla="*/ 2147483647 w 235"/>
              <a:gd name="T31" fmla="*/ 2147483647 h 188"/>
              <a:gd name="T32" fmla="*/ 2147483647 w 235"/>
              <a:gd name="T33" fmla="*/ 2147483647 h 188"/>
              <a:gd name="T34" fmla="*/ 2147483647 w 235"/>
              <a:gd name="T35" fmla="*/ 2147483647 h 188"/>
              <a:gd name="T36" fmla="*/ 2147483647 w 235"/>
              <a:gd name="T37" fmla="*/ 2147483647 h 188"/>
              <a:gd name="T38" fmla="*/ 2147483647 w 235"/>
              <a:gd name="T39" fmla="*/ 2147483647 h 188"/>
              <a:gd name="T40" fmla="*/ 2147483647 w 235"/>
              <a:gd name="T41" fmla="*/ 2147483647 h 188"/>
              <a:gd name="T42" fmla="*/ 2147483647 w 235"/>
              <a:gd name="T43" fmla="*/ 2147483647 h 188"/>
              <a:gd name="T44" fmla="*/ 2147483647 w 235"/>
              <a:gd name="T45" fmla="*/ 2147483647 h 188"/>
              <a:gd name="T46" fmla="*/ 2147483647 w 235"/>
              <a:gd name="T47" fmla="*/ 2147483647 h 188"/>
              <a:gd name="T48" fmla="*/ 2147483647 w 235"/>
              <a:gd name="T49" fmla="*/ 2147483647 h 188"/>
              <a:gd name="T50" fmla="*/ 2147483647 w 235"/>
              <a:gd name="T51" fmla="*/ 2147483647 h 188"/>
              <a:gd name="T52" fmla="*/ 2147483647 w 235"/>
              <a:gd name="T53" fmla="*/ 2147483647 h 188"/>
              <a:gd name="T54" fmla="*/ 2147483647 w 235"/>
              <a:gd name="T55" fmla="*/ 2147483647 h 18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35"/>
              <a:gd name="T85" fmla="*/ 0 h 188"/>
              <a:gd name="T86" fmla="*/ 235 w 235"/>
              <a:gd name="T87" fmla="*/ 188 h 188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35" h="188">
                <a:moveTo>
                  <a:pt x="235" y="4"/>
                </a:moveTo>
                <a:lnTo>
                  <a:pt x="214" y="0"/>
                </a:lnTo>
                <a:lnTo>
                  <a:pt x="109" y="27"/>
                </a:lnTo>
                <a:lnTo>
                  <a:pt x="104" y="40"/>
                </a:lnTo>
                <a:lnTo>
                  <a:pt x="103" y="60"/>
                </a:lnTo>
                <a:lnTo>
                  <a:pt x="81" y="59"/>
                </a:lnTo>
                <a:lnTo>
                  <a:pt x="64" y="33"/>
                </a:lnTo>
                <a:lnTo>
                  <a:pt x="41" y="61"/>
                </a:lnTo>
                <a:lnTo>
                  <a:pt x="23" y="105"/>
                </a:lnTo>
                <a:lnTo>
                  <a:pt x="31" y="144"/>
                </a:lnTo>
                <a:lnTo>
                  <a:pt x="8" y="157"/>
                </a:lnTo>
                <a:lnTo>
                  <a:pt x="3" y="166"/>
                </a:lnTo>
                <a:lnTo>
                  <a:pt x="0" y="188"/>
                </a:lnTo>
                <a:lnTo>
                  <a:pt x="41" y="184"/>
                </a:lnTo>
                <a:lnTo>
                  <a:pt x="51" y="167"/>
                </a:lnTo>
                <a:lnTo>
                  <a:pt x="68" y="164"/>
                </a:lnTo>
                <a:lnTo>
                  <a:pt x="87" y="151"/>
                </a:lnTo>
                <a:lnTo>
                  <a:pt x="108" y="161"/>
                </a:lnTo>
                <a:lnTo>
                  <a:pt x="142" y="149"/>
                </a:lnTo>
                <a:lnTo>
                  <a:pt x="156" y="127"/>
                </a:lnTo>
                <a:lnTo>
                  <a:pt x="146" y="120"/>
                </a:lnTo>
                <a:lnTo>
                  <a:pt x="153" y="101"/>
                </a:lnTo>
                <a:lnTo>
                  <a:pt x="174" y="88"/>
                </a:lnTo>
                <a:lnTo>
                  <a:pt x="192" y="93"/>
                </a:lnTo>
                <a:lnTo>
                  <a:pt x="214" y="85"/>
                </a:lnTo>
                <a:lnTo>
                  <a:pt x="205" y="83"/>
                </a:lnTo>
                <a:lnTo>
                  <a:pt x="201" y="67"/>
                </a:lnTo>
                <a:lnTo>
                  <a:pt x="235" y="4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8" name="Freeform 23" descr="70%">
            <a:extLst>
              <a:ext uri="{FF2B5EF4-FFF2-40B4-BE49-F238E27FC236}">
                <a16:creationId xmlns:a16="http://schemas.microsoft.com/office/drawing/2014/main" id="{8F3B0BA0-2FC2-4FC4-AB97-40368F3405C7}"/>
              </a:ext>
            </a:extLst>
          </p:cNvPr>
          <p:cNvSpPr>
            <a:spLocks/>
          </p:cNvSpPr>
          <p:nvPr/>
        </p:nvSpPr>
        <p:spPr bwMode="auto">
          <a:xfrm rot="21249101">
            <a:off x="5530136" y="2554432"/>
            <a:ext cx="98757" cy="73732"/>
          </a:xfrm>
          <a:custGeom>
            <a:avLst/>
            <a:gdLst>
              <a:gd name="T0" fmla="*/ 2147483647 w 235"/>
              <a:gd name="T1" fmla="*/ 2147483647 h 188"/>
              <a:gd name="T2" fmla="*/ 2147483647 w 235"/>
              <a:gd name="T3" fmla="*/ 0 h 188"/>
              <a:gd name="T4" fmla="*/ 2147483647 w 235"/>
              <a:gd name="T5" fmla="*/ 2147483647 h 188"/>
              <a:gd name="T6" fmla="*/ 2147483647 w 235"/>
              <a:gd name="T7" fmla="*/ 2147483647 h 188"/>
              <a:gd name="T8" fmla="*/ 2147483647 w 235"/>
              <a:gd name="T9" fmla="*/ 2147483647 h 188"/>
              <a:gd name="T10" fmla="*/ 2147483647 w 235"/>
              <a:gd name="T11" fmla="*/ 2147483647 h 188"/>
              <a:gd name="T12" fmla="*/ 2147483647 w 235"/>
              <a:gd name="T13" fmla="*/ 2147483647 h 188"/>
              <a:gd name="T14" fmla="*/ 2147483647 w 235"/>
              <a:gd name="T15" fmla="*/ 2147483647 h 188"/>
              <a:gd name="T16" fmla="*/ 2147483647 w 235"/>
              <a:gd name="T17" fmla="*/ 2147483647 h 188"/>
              <a:gd name="T18" fmla="*/ 2147483647 w 235"/>
              <a:gd name="T19" fmla="*/ 2147483647 h 188"/>
              <a:gd name="T20" fmla="*/ 2147483647 w 235"/>
              <a:gd name="T21" fmla="*/ 2147483647 h 188"/>
              <a:gd name="T22" fmla="*/ 2147483647 w 235"/>
              <a:gd name="T23" fmla="*/ 2147483647 h 188"/>
              <a:gd name="T24" fmla="*/ 0 w 235"/>
              <a:gd name="T25" fmla="*/ 2147483647 h 188"/>
              <a:gd name="T26" fmla="*/ 2147483647 w 235"/>
              <a:gd name="T27" fmla="*/ 2147483647 h 188"/>
              <a:gd name="T28" fmla="*/ 2147483647 w 235"/>
              <a:gd name="T29" fmla="*/ 2147483647 h 188"/>
              <a:gd name="T30" fmla="*/ 2147483647 w 235"/>
              <a:gd name="T31" fmla="*/ 2147483647 h 188"/>
              <a:gd name="T32" fmla="*/ 2147483647 w 235"/>
              <a:gd name="T33" fmla="*/ 2147483647 h 188"/>
              <a:gd name="T34" fmla="*/ 2147483647 w 235"/>
              <a:gd name="T35" fmla="*/ 2147483647 h 188"/>
              <a:gd name="T36" fmla="*/ 2147483647 w 235"/>
              <a:gd name="T37" fmla="*/ 2147483647 h 188"/>
              <a:gd name="T38" fmla="*/ 2147483647 w 235"/>
              <a:gd name="T39" fmla="*/ 2147483647 h 188"/>
              <a:gd name="T40" fmla="*/ 2147483647 w 235"/>
              <a:gd name="T41" fmla="*/ 2147483647 h 188"/>
              <a:gd name="T42" fmla="*/ 2147483647 w 235"/>
              <a:gd name="T43" fmla="*/ 2147483647 h 188"/>
              <a:gd name="T44" fmla="*/ 2147483647 w 235"/>
              <a:gd name="T45" fmla="*/ 2147483647 h 188"/>
              <a:gd name="T46" fmla="*/ 2147483647 w 235"/>
              <a:gd name="T47" fmla="*/ 2147483647 h 188"/>
              <a:gd name="T48" fmla="*/ 2147483647 w 235"/>
              <a:gd name="T49" fmla="*/ 2147483647 h 188"/>
              <a:gd name="T50" fmla="*/ 2147483647 w 235"/>
              <a:gd name="T51" fmla="*/ 2147483647 h 188"/>
              <a:gd name="T52" fmla="*/ 2147483647 w 235"/>
              <a:gd name="T53" fmla="*/ 2147483647 h 188"/>
              <a:gd name="T54" fmla="*/ 2147483647 w 235"/>
              <a:gd name="T55" fmla="*/ 2147483647 h 18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35"/>
              <a:gd name="T85" fmla="*/ 0 h 188"/>
              <a:gd name="T86" fmla="*/ 235 w 235"/>
              <a:gd name="T87" fmla="*/ 188 h 188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35" h="188">
                <a:moveTo>
                  <a:pt x="235" y="4"/>
                </a:moveTo>
                <a:lnTo>
                  <a:pt x="214" y="0"/>
                </a:lnTo>
                <a:lnTo>
                  <a:pt x="109" y="27"/>
                </a:lnTo>
                <a:lnTo>
                  <a:pt x="104" y="40"/>
                </a:lnTo>
                <a:lnTo>
                  <a:pt x="103" y="60"/>
                </a:lnTo>
                <a:lnTo>
                  <a:pt x="81" y="59"/>
                </a:lnTo>
                <a:lnTo>
                  <a:pt x="64" y="33"/>
                </a:lnTo>
                <a:lnTo>
                  <a:pt x="41" y="61"/>
                </a:lnTo>
                <a:lnTo>
                  <a:pt x="23" y="105"/>
                </a:lnTo>
                <a:lnTo>
                  <a:pt x="31" y="144"/>
                </a:lnTo>
                <a:lnTo>
                  <a:pt x="8" y="157"/>
                </a:lnTo>
                <a:lnTo>
                  <a:pt x="3" y="166"/>
                </a:lnTo>
                <a:lnTo>
                  <a:pt x="0" y="188"/>
                </a:lnTo>
                <a:lnTo>
                  <a:pt x="41" y="184"/>
                </a:lnTo>
                <a:lnTo>
                  <a:pt x="51" y="167"/>
                </a:lnTo>
                <a:lnTo>
                  <a:pt x="68" y="164"/>
                </a:lnTo>
                <a:lnTo>
                  <a:pt x="87" y="151"/>
                </a:lnTo>
                <a:lnTo>
                  <a:pt x="108" y="161"/>
                </a:lnTo>
                <a:lnTo>
                  <a:pt x="142" y="149"/>
                </a:lnTo>
                <a:lnTo>
                  <a:pt x="156" y="127"/>
                </a:lnTo>
                <a:lnTo>
                  <a:pt x="146" y="120"/>
                </a:lnTo>
                <a:lnTo>
                  <a:pt x="153" y="101"/>
                </a:lnTo>
                <a:lnTo>
                  <a:pt x="174" y="88"/>
                </a:lnTo>
                <a:lnTo>
                  <a:pt x="192" y="93"/>
                </a:lnTo>
                <a:lnTo>
                  <a:pt x="214" y="85"/>
                </a:lnTo>
                <a:lnTo>
                  <a:pt x="205" y="83"/>
                </a:lnTo>
                <a:lnTo>
                  <a:pt x="201" y="67"/>
                </a:lnTo>
                <a:lnTo>
                  <a:pt x="235" y="4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39" name="Freeform 24" descr="70%">
            <a:extLst>
              <a:ext uri="{FF2B5EF4-FFF2-40B4-BE49-F238E27FC236}">
                <a16:creationId xmlns:a16="http://schemas.microsoft.com/office/drawing/2014/main" id="{4C7BED4F-C403-4B5D-99AD-94B8D39DA96C}"/>
              </a:ext>
            </a:extLst>
          </p:cNvPr>
          <p:cNvSpPr>
            <a:spLocks/>
          </p:cNvSpPr>
          <p:nvPr/>
        </p:nvSpPr>
        <p:spPr bwMode="auto">
          <a:xfrm rot="21249101">
            <a:off x="5492429" y="2636356"/>
            <a:ext cx="34116" cy="22939"/>
          </a:xfrm>
          <a:custGeom>
            <a:avLst/>
            <a:gdLst>
              <a:gd name="T0" fmla="*/ 2147483647 w 84"/>
              <a:gd name="T1" fmla="*/ 2147483647 h 60"/>
              <a:gd name="T2" fmla="*/ 2147483647 w 84"/>
              <a:gd name="T3" fmla="*/ 2147483647 h 60"/>
              <a:gd name="T4" fmla="*/ 2147483647 w 84"/>
              <a:gd name="T5" fmla="*/ 2147483647 h 60"/>
              <a:gd name="T6" fmla="*/ 2147483647 w 84"/>
              <a:gd name="T7" fmla="*/ 0 h 60"/>
              <a:gd name="T8" fmla="*/ 0 w 84"/>
              <a:gd name="T9" fmla="*/ 2147483647 h 60"/>
              <a:gd name="T10" fmla="*/ 2147483647 w 84"/>
              <a:gd name="T11" fmla="*/ 2147483647 h 60"/>
              <a:gd name="T12" fmla="*/ 2147483647 w 84"/>
              <a:gd name="T13" fmla="*/ 2147483647 h 60"/>
              <a:gd name="T14" fmla="*/ 2147483647 w 84"/>
              <a:gd name="T15" fmla="*/ 2147483647 h 6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4"/>
              <a:gd name="T25" fmla="*/ 0 h 60"/>
              <a:gd name="T26" fmla="*/ 84 w 84"/>
              <a:gd name="T27" fmla="*/ 60 h 6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4" h="60">
                <a:moveTo>
                  <a:pt x="71" y="31"/>
                </a:moveTo>
                <a:lnTo>
                  <a:pt x="84" y="28"/>
                </a:lnTo>
                <a:lnTo>
                  <a:pt x="67" y="14"/>
                </a:lnTo>
                <a:lnTo>
                  <a:pt x="7" y="0"/>
                </a:lnTo>
                <a:lnTo>
                  <a:pt x="0" y="11"/>
                </a:lnTo>
                <a:lnTo>
                  <a:pt x="19" y="45"/>
                </a:lnTo>
                <a:lnTo>
                  <a:pt x="52" y="60"/>
                </a:lnTo>
                <a:lnTo>
                  <a:pt x="71" y="3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0" name="Freeform 25" descr="70%">
            <a:extLst>
              <a:ext uri="{FF2B5EF4-FFF2-40B4-BE49-F238E27FC236}">
                <a16:creationId xmlns:a16="http://schemas.microsoft.com/office/drawing/2014/main" id="{18C23681-C32C-457D-8252-C9523DA67C14}"/>
              </a:ext>
            </a:extLst>
          </p:cNvPr>
          <p:cNvSpPr>
            <a:spLocks/>
          </p:cNvSpPr>
          <p:nvPr/>
        </p:nvSpPr>
        <p:spPr bwMode="auto">
          <a:xfrm rot="21249101">
            <a:off x="5492429" y="2636356"/>
            <a:ext cx="34116" cy="22939"/>
          </a:xfrm>
          <a:custGeom>
            <a:avLst/>
            <a:gdLst>
              <a:gd name="T0" fmla="*/ 2147483647 w 84"/>
              <a:gd name="T1" fmla="*/ 2147483647 h 60"/>
              <a:gd name="T2" fmla="*/ 2147483647 w 84"/>
              <a:gd name="T3" fmla="*/ 2147483647 h 60"/>
              <a:gd name="T4" fmla="*/ 2147483647 w 84"/>
              <a:gd name="T5" fmla="*/ 2147483647 h 60"/>
              <a:gd name="T6" fmla="*/ 2147483647 w 84"/>
              <a:gd name="T7" fmla="*/ 0 h 60"/>
              <a:gd name="T8" fmla="*/ 0 w 84"/>
              <a:gd name="T9" fmla="*/ 2147483647 h 60"/>
              <a:gd name="T10" fmla="*/ 2147483647 w 84"/>
              <a:gd name="T11" fmla="*/ 2147483647 h 60"/>
              <a:gd name="T12" fmla="*/ 2147483647 w 84"/>
              <a:gd name="T13" fmla="*/ 2147483647 h 60"/>
              <a:gd name="T14" fmla="*/ 2147483647 w 84"/>
              <a:gd name="T15" fmla="*/ 2147483647 h 6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4"/>
              <a:gd name="T25" fmla="*/ 0 h 60"/>
              <a:gd name="T26" fmla="*/ 84 w 84"/>
              <a:gd name="T27" fmla="*/ 60 h 6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4" h="60">
                <a:moveTo>
                  <a:pt x="71" y="31"/>
                </a:moveTo>
                <a:lnTo>
                  <a:pt x="84" y="28"/>
                </a:lnTo>
                <a:lnTo>
                  <a:pt x="67" y="14"/>
                </a:lnTo>
                <a:lnTo>
                  <a:pt x="7" y="0"/>
                </a:lnTo>
                <a:lnTo>
                  <a:pt x="0" y="11"/>
                </a:lnTo>
                <a:lnTo>
                  <a:pt x="19" y="45"/>
                </a:lnTo>
                <a:lnTo>
                  <a:pt x="52" y="60"/>
                </a:lnTo>
                <a:lnTo>
                  <a:pt x="71" y="31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1" name="Freeform 26">
            <a:extLst>
              <a:ext uri="{FF2B5EF4-FFF2-40B4-BE49-F238E27FC236}">
                <a16:creationId xmlns:a16="http://schemas.microsoft.com/office/drawing/2014/main" id="{8A229157-5C4D-4068-8644-E3064FBF4631}"/>
              </a:ext>
            </a:extLst>
          </p:cNvPr>
          <p:cNvSpPr>
            <a:spLocks/>
          </p:cNvSpPr>
          <p:nvPr/>
        </p:nvSpPr>
        <p:spPr bwMode="auto">
          <a:xfrm rot="21249101">
            <a:off x="5287733" y="2572457"/>
            <a:ext cx="777486" cy="1158402"/>
          </a:xfrm>
          <a:custGeom>
            <a:avLst/>
            <a:gdLst>
              <a:gd name="T0" fmla="*/ 2147483647 w 1865"/>
              <a:gd name="T1" fmla="*/ 2147483647 h 3027"/>
              <a:gd name="T2" fmla="*/ 2147483647 w 1865"/>
              <a:gd name="T3" fmla="*/ 2147483647 h 3027"/>
              <a:gd name="T4" fmla="*/ 2147483647 w 1865"/>
              <a:gd name="T5" fmla="*/ 2147483647 h 3027"/>
              <a:gd name="T6" fmla="*/ 2147483647 w 1865"/>
              <a:gd name="T7" fmla="*/ 2147483647 h 3027"/>
              <a:gd name="T8" fmla="*/ 2147483647 w 1865"/>
              <a:gd name="T9" fmla="*/ 2147483647 h 3027"/>
              <a:gd name="T10" fmla="*/ 2147483647 w 1865"/>
              <a:gd name="T11" fmla="*/ 2147483647 h 3027"/>
              <a:gd name="T12" fmla="*/ 2147483647 w 1865"/>
              <a:gd name="T13" fmla="*/ 2147483647 h 3027"/>
              <a:gd name="T14" fmla="*/ 2147483647 w 1865"/>
              <a:gd name="T15" fmla="*/ 2147483647 h 3027"/>
              <a:gd name="T16" fmla="*/ 2147483647 w 1865"/>
              <a:gd name="T17" fmla="*/ 2147483647 h 3027"/>
              <a:gd name="T18" fmla="*/ 2147483647 w 1865"/>
              <a:gd name="T19" fmla="*/ 2147483647 h 3027"/>
              <a:gd name="T20" fmla="*/ 2147483647 w 1865"/>
              <a:gd name="T21" fmla="*/ 2147483647 h 3027"/>
              <a:gd name="T22" fmla="*/ 2147483647 w 1865"/>
              <a:gd name="T23" fmla="*/ 2147483647 h 3027"/>
              <a:gd name="T24" fmla="*/ 2147483647 w 1865"/>
              <a:gd name="T25" fmla="*/ 2147483647 h 3027"/>
              <a:gd name="T26" fmla="*/ 2147483647 w 1865"/>
              <a:gd name="T27" fmla="*/ 2147483647 h 3027"/>
              <a:gd name="T28" fmla="*/ 2147483647 w 1865"/>
              <a:gd name="T29" fmla="*/ 2147483647 h 3027"/>
              <a:gd name="T30" fmla="*/ 2147483647 w 1865"/>
              <a:gd name="T31" fmla="*/ 2147483647 h 3027"/>
              <a:gd name="T32" fmla="*/ 2147483647 w 1865"/>
              <a:gd name="T33" fmla="*/ 2147483647 h 3027"/>
              <a:gd name="T34" fmla="*/ 2147483647 w 1865"/>
              <a:gd name="T35" fmla="*/ 2147483647 h 3027"/>
              <a:gd name="T36" fmla="*/ 2147483647 w 1865"/>
              <a:gd name="T37" fmla="*/ 2147483647 h 3027"/>
              <a:gd name="T38" fmla="*/ 2147483647 w 1865"/>
              <a:gd name="T39" fmla="*/ 2147483647 h 3027"/>
              <a:gd name="T40" fmla="*/ 2147483647 w 1865"/>
              <a:gd name="T41" fmla="*/ 2147483647 h 3027"/>
              <a:gd name="T42" fmla="*/ 2147483647 w 1865"/>
              <a:gd name="T43" fmla="*/ 2147483647 h 3027"/>
              <a:gd name="T44" fmla="*/ 2147483647 w 1865"/>
              <a:gd name="T45" fmla="*/ 2147483647 h 3027"/>
              <a:gd name="T46" fmla="*/ 2147483647 w 1865"/>
              <a:gd name="T47" fmla="*/ 2147483647 h 3027"/>
              <a:gd name="T48" fmla="*/ 2147483647 w 1865"/>
              <a:gd name="T49" fmla="*/ 2147483647 h 3027"/>
              <a:gd name="T50" fmla="*/ 2147483647 w 1865"/>
              <a:gd name="T51" fmla="*/ 2147483647 h 3027"/>
              <a:gd name="T52" fmla="*/ 2147483647 w 1865"/>
              <a:gd name="T53" fmla="*/ 2147483647 h 3027"/>
              <a:gd name="T54" fmla="*/ 2147483647 w 1865"/>
              <a:gd name="T55" fmla="*/ 2147483647 h 3027"/>
              <a:gd name="T56" fmla="*/ 2147483647 w 1865"/>
              <a:gd name="T57" fmla="*/ 2147483647 h 3027"/>
              <a:gd name="T58" fmla="*/ 2147483647 w 1865"/>
              <a:gd name="T59" fmla="*/ 2147483647 h 3027"/>
              <a:gd name="T60" fmla="*/ 2147483647 w 1865"/>
              <a:gd name="T61" fmla="*/ 2147483647 h 3027"/>
              <a:gd name="T62" fmla="*/ 2147483647 w 1865"/>
              <a:gd name="T63" fmla="*/ 2147483647 h 3027"/>
              <a:gd name="T64" fmla="*/ 2147483647 w 1865"/>
              <a:gd name="T65" fmla="*/ 2147483647 h 3027"/>
              <a:gd name="T66" fmla="*/ 2147483647 w 1865"/>
              <a:gd name="T67" fmla="*/ 2147483647 h 3027"/>
              <a:gd name="T68" fmla="*/ 2147483647 w 1865"/>
              <a:gd name="T69" fmla="*/ 2147483647 h 3027"/>
              <a:gd name="T70" fmla="*/ 2147483647 w 1865"/>
              <a:gd name="T71" fmla="*/ 2147483647 h 3027"/>
              <a:gd name="T72" fmla="*/ 2147483647 w 1865"/>
              <a:gd name="T73" fmla="*/ 2147483647 h 3027"/>
              <a:gd name="T74" fmla="*/ 2147483647 w 1865"/>
              <a:gd name="T75" fmla="*/ 2147483647 h 3027"/>
              <a:gd name="T76" fmla="*/ 2147483647 w 1865"/>
              <a:gd name="T77" fmla="*/ 2147483647 h 3027"/>
              <a:gd name="T78" fmla="*/ 2147483647 w 1865"/>
              <a:gd name="T79" fmla="*/ 2147483647 h 3027"/>
              <a:gd name="T80" fmla="*/ 2147483647 w 1865"/>
              <a:gd name="T81" fmla="*/ 2147483647 h 3027"/>
              <a:gd name="T82" fmla="*/ 2147483647 w 1865"/>
              <a:gd name="T83" fmla="*/ 2147483647 h 3027"/>
              <a:gd name="T84" fmla="*/ 2147483647 w 1865"/>
              <a:gd name="T85" fmla="*/ 2147483647 h 3027"/>
              <a:gd name="T86" fmla="*/ 2147483647 w 1865"/>
              <a:gd name="T87" fmla="*/ 2147483647 h 3027"/>
              <a:gd name="T88" fmla="*/ 2147483647 w 1865"/>
              <a:gd name="T89" fmla="*/ 2147483647 h 3027"/>
              <a:gd name="T90" fmla="*/ 2147483647 w 1865"/>
              <a:gd name="T91" fmla="*/ 2147483647 h 3027"/>
              <a:gd name="T92" fmla="*/ 2147483647 w 1865"/>
              <a:gd name="T93" fmla="*/ 2147483647 h 3027"/>
              <a:gd name="T94" fmla="*/ 2147483647 w 1865"/>
              <a:gd name="T95" fmla="*/ 2147483647 h 3027"/>
              <a:gd name="T96" fmla="*/ 2147483647 w 1865"/>
              <a:gd name="T97" fmla="*/ 2147483647 h 3027"/>
              <a:gd name="T98" fmla="*/ 2147483647 w 1865"/>
              <a:gd name="T99" fmla="*/ 2147483647 h 3027"/>
              <a:gd name="T100" fmla="*/ 2147483647 w 1865"/>
              <a:gd name="T101" fmla="*/ 2147483647 h 3027"/>
              <a:gd name="T102" fmla="*/ 0 w 1865"/>
              <a:gd name="T103" fmla="*/ 2147483647 h 3027"/>
              <a:gd name="T104" fmla="*/ 2147483647 w 1865"/>
              <a:gd name="T105" fmla="*/ 2147483647 h 3027"/>
              <a:gd name="T106" fmla="*/ 2147483647 w 1865"/>
              <a:gd name="T107" fmla="*/ 2147483647 h 3027"/>
              <a:gd name="T108" fmla="*/ 2147483647 w 1865"/>
              <a:gd name="T109" fmla="*/ 2147483647 h 302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865"/>
              <a:gd name="T166" fmla="*/ 0 h 3027"/>
              <a:gd name="T167" fmla="*/ 1865 w 1865"/>
              <a:gd name="T168" fmla="*/ 3027 h 302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865" h="3027">
                <a:moveTo>
                  <a:pt x="747" y="2947"/>
                </a:moveTo>
                <a:lnTo>
                  <a:pt x="750" y="2950"/>
                </a:lnTo>
                <a:lnTo>
                  <a:pt x="769" y="2932"/>
                </a:lnTo>
                <a:lnTo>
                  <a:pt x="810" y="2933"/>
                </a:lnTo>
                <a:lnTo>
                  <a:pt x="847" y="2958"/>
                </a:lnTo>
                <a:lnTo>
                  <a:pt x="871" y="2955"/>
                </a:lnTo>
                <a:lnTo>
                  <a:pt x="868" y="2922"/>
                </a:lnTo>
                <a:lnTo>
                  <a:pt x="971" y="2951"/>
                </a:lnTo>
                <a:lnTo>
                  <a:pt x="987" y="2942"/>
                </a:lnTo>
                <a:lnTo>
                  <a:pt x="1017" y="2937"/>
                </a:lnTo>
                <a:lnTo>
                  <a:pt x="1034" y="2898"/>
                </a:lnTo>
                <a:lnTo>
                  <a:pt x="1053" y="2924"/>
                </a:lnTo>
                <a:lnTo>
                  <a:pt x="1077" y="2939"/>
                </a:lnTo>
                <a:lnTo>
                  <a:pt x="1114" y="2941"/>
                </a:lnTo>
                <a:lnTo>
                  <a:pt x="1119" y="2959"/>
                </a:lnTo>
                <a:lnTo>
                  <a:pt x="1136" y="2983"/>
                </a:lnTo>
                <a:lnTo>
                  <a:pt x="1296" y="3002"/>
                </a:lnTo>
                <a:lnTo>
                  <a:pt x="1339" y="3027"/>
                </a:lnTo>
                <a:lnTo>
                  <a:pt x="1551" y="3022"/>
                </a:lnTo>
                <a:lnTo>
                  <a:pt x="1558" y="3009"/>
                </a:lnTo>
                <a:lnTo>
                  <a:pt x="1663" y="2968"/>
                </a:lnTo>
                <a:lnTo>
                  <a:pt x="1685" y="2926"/>
                </a:lnTo>
                <a:lnTo>
                  <a:pt x="1679" y="2907"/>
                </a:lnTo>
                <a:lnTo>
                  <a:pt x="1532" y="2867"/>
                </a:lnTo>
                <a:lnTo>
                  <a:pt x="1537" y="2828"/>
                </a:lnTo>
                <a:lnTo>
                  <a:pt x="1525" y="2799"/>
                </a:lnTo>
                <a:lnTo>
                  <a:pt x="1571" y="2795"/>
                </a:lnTo>
                <a:lnTo>
                  <a:pt x="1584" y="2776"/>
                </a:lnTo>
                <a:lnTo>
                  <a:pt x="1608" y="2758"/>
                </a:lnTo>
                <a:lnTo>
                  <a:pt x="1602" y="2745"/>
                </a:lnTo>
                <a:lnTo>
                  <a:pt x="1584" y="2729"/>
                </a:lnTo>
                <a:lnTo>
                  <a:pt x="1641" y="2716"/>
                </a:lnTo>
                <a:lnTo>
                  <a:pt x="1657" y="2733"/>
                </a:lnTo>
                <a:lnTo>
                  <a:pt x="1691" y="2731"/>
                </a:lnTo>
                <a:lnTo>
                  <a:pt x="1704" y="2709"/>
                </a:lnTo>
                <a:lnTo>
                  <a:pt x="1706" y="2672"/>
                </a:lnTo>
                <a:lnTo>
                  <a:pt x="1724" y="2678"/>
                </a:lnTo>
                <a:lnTo>
                  <a:pt x="1756" y="2671"/>
                </a:lnTo>
                <a:lnTo>
                  <a:pt x="1797" y="2641"/>
                </a:lnTo>
                <a:lnTo>
                  <a:pt x="1861" y="2505"/>
                </a:lnTo>
                <a:lnTo>
                  <a:pt x="1865" y="2438"/>
                </a:lnTo>
                <a:lnTo>
                  <a:pt x="1843" y="2379"/>
                </a:lnTo>
                <a:lnTo>
                  <a:pt x="1784" y="2323"/>
                </a:lnTo>
                <a:lnTo>
                  <a:pt x="1644" y="2301"/>
                </a:lnTo>
                <a:lnTo>
                  <a:pt x="1591" y="2345"/>
                </a:lnTo>
                <a:lnTo>
                  <a:pt x="1578" y="2325"/>
                </a:lnTo>
                <a:lnTo>
                  <a:pt x="1527" y="2299"/>
                </a:lnTo>
                <a:lnTo>
                  <a:pt x="1552" y="2266"/>
                </a:lnTo>
                <a:lnTo>
                  <a:pt x="1614" y="2223"/>
                </a:lnTo>
                <a:lnTo>
                  <a:pt x="1631" y="2201"/>
                </a:lnTo>
                <a:lnTo>
                  <a:pt x="1641" y="2165"/>
                </a:lnTo>
                <a:lnTo>
                  <a:pt x="1594" y="2052"/>
                </a:lnTo>
                <a:lnTo>
                  <a:pt x="1577" y="2035"/>
                </a:lnTo>
                <a:lnTo>
                  <a:pt x="1539" y="1969"/>
                </a:lnTo>
                <a:lnTo>
                  <a:pt x="1557" y="1965"/>
                </a:lnTo>
                <a:lnTo>
                  <a:pt x="1588" y="2016"/>
                </a:lnTo>
                <a:lnTo>
                  <a:pt x="1635" y="2035"/>
                </a:lnTo>
                <a:lnTo>
                  <a:pt x="1637" y="2034"/>
                </a:lnTo>
                <a:lnTo>
                  <a:pt x="1644" y="1972"/>
                </a:lnTo>
                <a:lnTo>
                  <a:pt x="1565" y="1672"/>
                </a:lnTo>
                <a:lnTo>
                  <a:pt x="1479" y="1617"/>
                </a:lnTo>
                <a:lnTo>
                  <a:pt x="1470" y="1600"/>
                </a:lnTo>
                <a:lnTo>
                  <a:pt x="1450" y="1396"/>
                </a:lnTo>
                <a:lnTo>
                  <a:pt x="1478" y="1255"/>
                </a:lnTo>
                <a:lnTo>
                  <a:pt x="1429" y="1165"/>
                </a:lnTo>
                <a:lnTo>
                  <a:pt x="1419" y="1116"/>
                </a:lnTo>
                <a:lnTo>
                  <a:pt x="1337" y="1029"/>
                </a:lnTo>
                <a:lnTo>
                  <a:pt x="1319" y="1018"/>
                </a:lnTo>
                <a:lnTo>
                  <a:pt x="1251" y="1022"/>
                </a:lnTo>
                <a:lnTo>
                  <a:pt x="1203" y="990"/>
                </a:lnTo>
                <a:lnTo>
                  <a:pt x="1203" y="982"/>
                </a:lnTo>
                <a:lnTo>
                  <a:pt x="1221" y="958"/>
                </a:lnTo>
                <a:lnTo>
                  <a:pt x="1249" y="943"/>
                </a:lnTo>
                <a:lnTo>
                  <a:pt x="1319" y="955"/>
                </a:lnTo>
                <a:lnTo>
                  <a:pt x="1355" y="949"/>
                </a:lnTo>
                <a:lnTo>
                  <a:pt x="1335" y="886"/>
                </a:lnTo>
                <a:lnTo>
                  <a:pt x="1321" y="872"/>
                </a:lnTo>
                <a:lnTo>
                  <a:pt x="1321" y="851"/>
                </a:lnTo>
                <a:lnTo>
                  <a:pt x="1353" y="864"/>
                </a:lnTo>
                <a:lnTo>
                  <a:pt x="1379" y="856"/>
                </a:lnTo>
                <a:lnTo>
                  <a:pt x="1410" y="832"/>
                </a:lnTo>
                <a:lnTo>
                  <a:pt x="1426" y="806"/>
                </a:lnTo>
                <a:lnTo>
                  <a:pt x="1494" y="753"/>
                </a:lnTo>
                <a:lnTo>
                  <a:pt x="1568" y="633"/>
                </a:lnTo>
                <a:lnTo>
                  <a:pt x="1634" y="593"/>
                </a:lnTo>
                <a:lnTo>
                  <a:pt x="1655" y="527"/>
                </a:lnTo>
                <a:lnTo>
                  <a:pt x="1652" y="494"/>
                </a:lnTo>
                <a:lnTo>
                  <a:pt x="1436" y="421"/>
                </a:lnTo>
                <a:lnTo>
                  <a:pt x="1400" y="396"/>
                </a:lnTo>
                <a:lnTo>
                  <a:pt x="1262" y="397"/>
                </a:lnTo>
                <a:lnTo>
                  <a:pt x="1230" y="411"/>
                </a:lnTo>
                <a:lnTo>
                  <a:pt x="1220" y="394"/>
                </a:lnTo>
                <a:lnTo>
                  <a:pt x="1237" y="371"/>
                </a:lnTo>
                <a:lnTo>
                  <a:pt x="1241" y="361"/>
                </a:lnTo>
                <a:lnTo>
                  <a:pt x="1210" y="359"/>
                </a:lnTo>
                <a:lnTo>
                  <a:pt x="1215" y="344"/>
                </a:lnTo>
                <a:lnTo>
                  <a:pt x="1269" y="346"/>
                </a:lnTo>
                <a:lnTo>
                  <a:pt x="1310" y="325"/>
                </a:lnTo>
                <a:lnTo>
                  <a:pt x="1256" y="301"/>
                </a:lnTo>
                <a:lnTo>
                  <a:pt x="1272" y="275"/>
                </a:lnTo>
                <a:lnTo>
                  <a:pt x="1274" y="281"/>
                </a:lnTo>
                <a:lnTo>
                  <a:pt x="1321" y="252"/>
                </a:lnTo>
                <a:lnTo>
                  <a:pt x="1403" y="233"/>
                </a:lnTo>
                <a:lnTo>
                  <a:pt x="1445" y="193"/>
                </a:lnTo>
                <a:lnTo>
                  <a:pt x="1499" y="180"/>
                </a:lnTo>
                <a:lnTo>
                  <a:pt x="1539" y="98"/>
                </a:lnTo>
                <a:lnTo>
                  <a:pt x="1504" y="70"/>
                </a:lnTo>
                <a:lnTo>
                  <a:pt x="1308" y="45"/>
                </a:lnTo>
                <a:lnTo>
                  <a:pt x="1306" y="39"/>
                </a:lnTo>
                <a:lnTo>
                  <a:pt x="1247" y="2"/>
                </a:lnTo>
                <a:lnTo>
                  <a:pt x="1209" y="0"/>
                </a:lnTo>
                <a:lnTo>
                  <a:pt x="1154" y="44"/>
                </a:lnTo>
                <a:lnTo>
                  <a:pt x="1132" y="94"/>
                </a:lnTo>
                <a:lnTo>
                  <a:pt x="1094" y="84"/>
                </a:lnTo>
                <a:lnTo>
                  <a:pt x="1078" y="132"/>
                </a:lnTo>
                <a:lnTo>
                  <a:pt x="1056" y="134"/>
                </a:lnTo>
                <a:lnTo>
                  <a:pt x="1056" y="153"/>
                </a:lnTo>
                <a:lnTo>
                  <a:pt x="1072" y="190"/>
                </a:lnTo>
                <a:lnTo>
                  <a:pt x="962" y="205"/>
                </a:lnTo>
                <a:lnTo>
                  <a:pt x="937" y="276"/>
                </a:lnTo>
                <a:lnTo>
                  <a:pt x="954" y="299"/>
                </a:lnTo>
                <a:lnTo>
                  <a:pt x="946" y="302"/>
                </a:lnTo>
                <a:lnTo>
                  <a:pt x="926" y="290"/>
                </a:lnTo>
                <a:lnTo>
                  <a:pt x="913" y="292"/>
                </a:lnTo>
                <a:lnTo>
                  <a:pt x="896" y="345"/>
                </a:lnTo>
                <a:lnTo>
                  <a:pt x="917" y="355"/>
                </a:lnTo>
                <a:lnTo>
                  <a:pt x="958" y="362"/>
                </a:lnTo>
                <a:lnTo>
                  <a:pt x="948" y="377"/>
                </a:lnTo>
                <a:lnTo>
                  <a:pt x="926" y="380"/>
                </a:lnTo>
                <a:lnTo>
                  <a:pt x="944" y="394"/>
                </a:lnTo>
                <a:lnTo>
                  <a:pt x="914" y="415"/>
                </a:lnTo>
                <a:lnTo>
                  <a:pt x="905" y="428"/>
                </a:lnTo>
                <a:lnTo>
                  <a:pt x="900" y="452"/>
                </a:lnTo>
                <a:lnTo>
                  <a:pt x="892" y="451"/>
                </a:lnTo>
                <a:lnTo>
                  <a:pt x="872" y="463"/>
                </a:lnTo>
                <a:lnTo>
                  <a:pt x="867" y="477"/>
                </a:lnTo>
                <a:lnTo>
                  <a:pt x="851" y="484"/>
                </a:lnTo>
                <a:lnTo>
                  <a:pt x="834" y="504"/>
                </a:lnTo>
                <a:lnTo>
                  <a:pt x="813" y="553"/>
                </a:lnTo>
                <a:lnTo>
                  <a:pt x="773" y="549"/>
                </a:lnTo>
                <a:lnTo>
                  <a:pt x="751" y="554"/>
                </a:lnTo>
                <a:lnTo>
                  <a:pt x="749" y="566"/>
                </a:lnTo>
                <a:lnTo>
                  <a:pt x="781" y="582"/>
                </a:lnTo>
                <a:lnTo>
                  <a:pt x="772" y="615"/>
                </a:lnTo>
                <a:lnTo>
                  <a:pt x="800" y="666"/>
                </a:lnTo>
                <a:lnTo>
                  <a:pt x="895" y="634"/>
                </a:lnTo>
                <a:lnTo>
                  <a:pt x="897" y="642"/>
                </a:lnTo>
                <a:lnTo>
                  <a:pt x="889" y="661"/>
                </a:lnTo>
                <a:lnTo>
                  <a:pt x="782" y="789"/>
                </a:lnTo>
                <a:lnTo>
                  <a:pt x="777" y="804"/>
                </a:lnTo>
                <a:lnTo>
                  <a:pt x="761" y="819"/>
                </a:lnTo>
                <a:lnTo>
                  <a:pt x="729" y="888"/>
                </a:lnTo>
                <a:lnTo>
                  <a:pt x="749" y="890"/>
                </a:lnTo>
                <a:lnTo>
                  <a:pt x="753" y="906"/>
                </a:lnTo>
                <a:lnTo>
                  <a:pt x="639" y="1046"/>
                </a:lnTo>
                <a:lnTo>
                  <a:pt x="636" y="1057"/>
                </a:lnTo>
                <a:lnTo>
                  <a:pt x="659" y="1065"/>
                </a:lnTo>
                <a:lnTo>
                  <a:pt x="675" y="1054"/>
                </a:lnTo>
                <a:lnTo>
                  <a:pt x="777" y="934"/>
                </a:lnTo>
                <a:lnTo>
                  <a:pt x="794" y="842"/>
                </a:lnTo>
                <a:lnTo>
                  <a:pt x="872" y="796"/>
                </a:lnTo>
                <a:lnTo>
                  <a:pt x="862" y="818"/>
                </a:lnTo>
                <a:lnTo>
                  <a:pt x="815" y="868"/>
                </a:lnTo>
                <a:lnTo>
                  <a:pt x="800" y="906"/>
                </a:lnTo>
                <a:lnTo>
                  <a:pt x="814" y="897"/>
                </a:lnTo>
                <a:lnTo>
                  <a:pt x="825" y="899"/>
                </a:lnTo>
                <a:lnTo>
                  <a:pt x="835" y="885"/>
                </a:lnTo>
                <a:lnTo>
                  <a:pt x="846" y="882"/>
                </a:lnTo>
                <a:lnTo>
                  <a:pt x="864" y="906"/>
                </a:lnTo>
                <a:lnTo>
                  <a:pt x="871" y="904"/>
                </a:lnTo>
                <a:lnTo>
                  <a:pt x="888" y="856"/>
                </a:lnTo>
                <a:lnTo>
                  <a:pt x="914" y="885"/>
                </a:lnTo>
                <a:lnTo>
                  <a:pt x="928" y="913"/>
                </a:lnTo>
                <a:lnTo>
                  <a:pt x="906" y="911"/>
                </a:lnTo>
                <a:lnTo>
                  <a:pt x="879" y="942"/>
                </a:lnTo>
                <a:lnTo>
                  <a:pt x="854" y="994"/>
                </a:lnTo>
                <a:lnTo>
                  <a:pt x="860" y="1015"/>
                </a:lnTo>
                <a:lnTo>
                  <a:pt x="874" y="1041"/>
                </a:lnTo>
                <a:lnTo>
                  <a:pt x="867" y="1079"/>
                </a:lnTo>
                <a:lnTo>
                  <a:pt x="741" y="1213"/>
                </a:lnTo>
                <a:lnTo>
                  <a:pt x="731" y="1246"/>
                </a:lnTo>
                <a:lnTo>
                  <a:pt x="715" y="1219"/>
                </a:lnTo>
                <a:lnTo>
                  <a:pt x="701" y="1236"/>
                </a:lnTo>
                <a:lnTo>
                  <a:pt x="699" y="1329"/>
                </a:lnTo>
                <a:lnTo>
                  <a:pt x="709" y="1347"/>
                </a:lnTo>
                <a:lnTo>
                  <a:pt x="720" y="1346"/>
                </a:lnTo>
                <a:lnTo>
                  <a:pt x="733" y="1296"/>
                </a:lnTo>
                <a:lnTo>
                  <a:pt x="742" y="1286"/>
                </a:lnTo>
                <a:lnTo>
                  <a:pt x="756" y="1286"/>
                </a:lnTo>
                <a:lnTo>
                  <a:pt x="817" y="1369"/>
                </a:lnTo>
                <a:lnTo>
                  <a:pt x="836" y="1351"/>
                </a:lnTo>
                <a:lnTo>
                  <a:pt x="847" y="1322"/>
                </a:lnTo>
                <a:lnTo>
                  <a:pt x="929" y="1360"/>
                </a:lnTo>
                <a:lnTo>
                  <a:pt x="997" y="1352"/>
                </a:lnTo>
                <a:lnTo>
                  <a:pt x="1008" y="1343"/>
                </a:lnTo>
                <a:lnTo>
                  <a:pt x="1040" y="1337"/>
                </a:lnTo>
                <a:lnTo>
                  <a:pt x="1113" y="1371"/>
                </a:lnTo>
                <a:lnTo>
                  <a:pt x="1098" y="1378"/>
                </a:lnTo>
                <a:lnTo>
                  <a:pt x="1083" y="1373"/>
                </a:lnTo>
                <a:lnTo>
                  <a:pt x="1044" y="1389"/>
                </a:lnTo>
                <a:lnTo>
                  <a:pt x="951" y="1497"/>
                </a:lnTo>
                <a:lnTo>
                  <a:pt x="951" y="1526"/>
                </a:lnTo>
                <a:lnTo>
                  <a:pt x="966" y="1568"/>
                </a:lnTo>
                <a:lnTo>
                  <a:pt x="967" y="1602"/>
                </a:lnTo>
                <a:lnTo>
                  <a:pt x="970" y="1607"/>
                </a:lnTo>
                <a:lnTo>
                  <a:pt x="980" y="1599"/>
                </a:lnTo>
                <a:lnTo>
                  <a:pt x="988" y="1656"/>
                </a:lnTo>
                <a:lnTo>
                  <a:pt x="1046" y="1655"/>
                </a:lnTo>
                <a:lnTo>
                  <a:pt x="1087" y="1634"/>
                </a:lnTo>
                <a:lnTo>
                  <a:pt x="1100" y="1646"/>
                </a:lnTo>
                <a:lnTo>
                  <a:pt x="1078" y="1663"/>
                </a:lnTo>
                <a:lnTo>
                  <a:pt x="1052" y="1726"/>
                </a:lnTo>
                <a:lnTo>
                  <a:pt x="1026" y="1741"/>
                </a:lnTo>
                <a:lnTo>
                  <a:pt x="997" y="1780"/>
                </a:lnTo>
                <a:lnTo>
                  <a:pt x="1030" y="1802"/>
                </a:lnTo>
                <a:lnTo>
                  <a:pt x="998" y="1824"/>
                </a:lnTo>
                <a:lnTo>
                  <a:pt x="960" y="1879"/>
                </a:lnTo>
                <a:lnTo>
                  <a:pt x="965" y="1900"/>
                </a:lnTo>
                <a:lnTo>
                  <a:pt x="980" y="1916"/>
                </a:lnTo>
                <a:lnTo>
                  <a:pt x="964" y="1920"/>
                </a:lnTo>
                <a:lnTo>
                  <a:pt x="935" y="1944"/>
                </a:lnTo>
                <a:lnTo>
                  <a:pt x="787" y="1890"/>
                </a:lnTo>
                <a:lnTo>
                  <a:pt x="543" y="1990"/>
                </a:lnTo>
                <a:lnTo>
                  <a:pt x="558" y="2010"/>
                </a:lnTo>
                <a:lnTo>
                  <a:pt x="625" y="1990"/>
                </a:lnTo>
                <a:lnTo>
                  <a:pt x="670" y="1997"/>
                </a:lnTo>
                <a:lnTo>
                  <a:pt x="640" y="2129"/>
                </a:lnTo>
                <a:lnTo>
                  <a:pt x="657" y="2152"/>
                </a:lnTo>
                <a:lnTo>
                  <a:pt x="589" y="2224"/>
                </a:lnTo>
                <a:lnTo>
                  <a:pt x="305" y="2284"/>
                </a:lnTo>
                <a:lnTo>
                  <a:pt x="315" y="2374"/>
                </a:lnTo>
                <a:lnTo>
                  <a:pt x="322" y="2387"/>
                </a:lnTo>
                <a:lnTo>
                  <a:pt x="343" y="2399"/>
                </a:lnTo>
                <a:lnTo>
                  <a:pt x="375" y="2397"/>
                </a:lnTo>
                <a:lnTo>
                  <a:pt x="422" y="2376"/>
                </a:lnTo>
                <a:lnTo>
                  <a:pt x="463" y="2373"/>
                </a:lnTo>
                <a:lnTo>
                  <a:pt x="474" y="2384"/>
                </a:lnTo>
                <a:lnTo>
                  <a:pt x="467" y="2438"/>
                </a:lnTo>
                <a:lnTo>
                  <a:pt x="476" y="2457"/>
                </a:lnTo>
                <a:lnTo>
                  <a:pt x="523" y="2475"/>
                </a:lnTo>
                <a:lnTo>
                  <a:pt x="559" y="2458"/>
                </a:lnTo>
                <a:lnTo>
                  <a:pt x="573" y="2460"/>
                </a:lnTo>
                <a:lnTo>
                  <a:pt x="582" y="2472"/>
                </a:lnTo>
                <a:lnTo>
                  <a:pt x="616" y="2568"/>
                </a:lnTo>
                <a:lnTo>
                  <a:pt x="637" y="2583"/>
                </a:lnTo>
                <a:lnTo>
                  <a:pt x="670" y="2592"/>
                </a:lnTo>
                <a:lnTo>
                  <a:pt x="700" y="2583"/>
                </a:lnTo>
                <a:lnTo>
                  <a:pt x="728" y="2561"/>
                </a:lnTo>
                <a:lnTo>
                  <a:pt x="861" y="2522"/>
                </a:lnTo>
                <a:lnTo>
                  <a:pt x="854" y="2549"/>
                </a:lnTo>
                <a:lnTo>
                  <a:pt x="739" y="2630"/>
                </a:lnTo>
                <a:lnTo>
                  <a:pt x="721" y="2657"/>
                </a:lnTo>
                <a:lnTo>
                  <a:pt x="704" y="2669"/>
                </a:lnTo>
                <a:lnTo>
                  <a:pt x="462" y="2614"/>
                </a:lnTo>
                <a:lnTo>
                  <a:pt x="427" y="2647"/>
                </a:lnTo>
                <a:lnTo>
                  <a:pt x="379" y="2662"/>
                </a:lnTo>
                <a:lnTo>
                  <a:pt x="335" y="2708"/>
                </a:lnTo>
                <a:lnTo>
                  <a:pt x="30" y="2855"/>
                </a:lnTo>
                <a:lnTo>
                  <a:pt x="7" y="2883"/>
                </a:lnTo>
                <a:lnTo>
                  <a:pt x="0" y="2901"/>
                </a:lnTo>
                <a:lnTo>
                  <a:pt x="22" y="2877"/>
                </a:lnTo>
                <a:lnTo>
                  <a:pt x="40" y="2872"/>
                </a:lnTo>
                <a:lnTo>
                  <a:pt x="74" y="2916"/>
                </a:lnTo>
                <a:lnTo>
                  <a:pt x="95" y="2917"/>
                </a:lnTo>
                <a:lnTo>
                  <a:pt x="101" y="2939"/>
                </a:lnTo>
                <a:lnTo>
                  <a:pt x="124" y="2927"/>
                </a:lnTo>
                <a:lnTo>
                  <a:pt x="148" y="2898"/>
                </a:lnTo>
                <a:lnTo>
                  <a:pt x="200" y="2888"/>
                </a:lnTo>
                <a:lnTo>
                  <a:pt x="240" y="2853"/>
                </a:lnTo>
                <a:lnTo>
                  <a:pt x="359" y="2891"/>
                </a:lnTo>
                <a:lnTo>
                  <a:pt x="427" y="2945"/>
                </a:lnTo>
                <a:lnTo>
                  <a:pt x="458" y="2958"/>
                </a:lnTo>
                <a:lnTo>
                  <a:pt x="496" y="2933"/>
                </a:lnTo>
                <a:lnTo>
                  <a:pt x="543" y="2845"/>
                </a:lnTo>
                <a:lnTo>
                  <a:pt x="557" y="2845"/>
                </a:lnTo>
                <a:lnTo>
                  <a:pt x="588" y="2858"/>
                </a:lnTo>
                <a:lnTo>
                  <a:pt x="703" y="2852"/>
                </a:lnTo>
                <a:lnTo>
                  <a:pt x="747" y="2947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2" name="Freeform 27" descr="Large checker board">
            <a:extLst>
              <a:ext uri="{FF2B5EF4-FFF2-40B4-BE49-F238E27FC236}">
                <a16:creationId xmlns:a16="http://schemas.microsoft.com/office/drawing/2014/main" id="{1806BFE2-83BE-42C8-A0C3-0385A2835A35}"/>
              </a:ext>
            </a:extLst>
          </p:cNvPr>
          <p:cNvSpPr>
            <a:spLocks/>
          </p:cNvSpPr>
          <p:nvPr/>
        </p:nvSpPr>
        <p:spPr bwMode="auto">
          <a:xfrm rot="21249101">
            <a:off x="5287733" y="2572457"/>
            <a:ext cx="777486" cy="1158402"/>
          </a:xfrm>
          <a:custGeom>
            <a:avLst/>
            <a:gdLst>
              <a:gd name="T0" fmla="*/ 2147483647 w 1865"/>
              <a:gd name="T1" fmla="*/ 2147483647 h 3027"/>
              <a:gd name="T2" fmla="*/ 2147483647 w 1865"/>
              <a:gd name="T3" fmla="*/ 2147483647 h 3027"/>
              <a:gd name="T4" fmla="*/ 2147483647 w 1865"/>
              <a:gd name="T5" fmla="*/ 2147483647 h 3027"/>
              <a:gd name="T6" fmla="*/ 2147483647 w 1865"/>
              <a:gd name="T7" fmla="*/ 2147483647 h 3027"/>
              <a:gd name="T8" fmla="*/ 2147483647 w 1865"/>
              <a:gd name="T9" fmla="*/ 2147483647 h 3027"/>
              <a:gd name="T10" fmla="*/ 2147483647 w 1865"/>
              <a:gd name="T11" fmla="*/ 2147483647 h 3027"/>
              <a:gd name="T12" fmla="*/ 2147483647 w 1865"/>
              <a:gd name="T13" fmla="*/ 2147483647 h 3027"/>
              <a:gd name="T14" fmla="*/ 2147483647 w 1865"/>
              <a:gd name="T15" fmla="*/ 2147483647 h 3027"/>
              <a:gd name="T16" fmla="*/ 2147483647 w 1865"/>
              <a:gd name="T17" fmla="*/ 2147483647 h 3027"/>
              <a:gd name="T18" fmla="*/ 2147483647 w 1865"/>
              <a:gd name="T19" fmla="*/ 2147483647 h 3027"/>
              <a:gd name="T20" fmla="*/ 2147483647 w 1865"/>
              <a:gd name="T21" fmla="*/ 2147483647 h 3027"/>
              <a:gd name="T22" fmla="*/ 2147483647 w 1865"/>
              <a:gd name="T23" fmla="*/ 2147483647 h 3027"/>
              <a:gd name="T24" fmla="*/ 2147483647 w 1865"/>
              <a:gd name="T25" fmla="*/ 2147483647 h 3027"/>
              <a:gd name="T26" fmla="*/ 2147483647 w 1865"/>
              <a:gd name="T27" fmla="*/ 2147483647 h 3027"/>
              <a:gd name="T28" fmla="*/ 2147483647 w 1865"/>
              <a:gd name="T29" fmla="*/ 2147483647 h 3027"/>
              <a:gd name="T30" fmla="*/ 2147483647 w 1865"/>
              <a:gd name="T31" fmla="*/ 2147483647 h 3027"/>
              <a:gd name="T32" fmla="*/ 2147483647 w 1865"/>
              <a:gd name="T33" fmla="*/ 2147483647 h 3027"/>
              <a:gd name="T34" fmla="*/ 2147483647 w 1865"/>
              <a:gd name="T35" fmla="*/ 2147483647 h 3027"/>
              <a:gd name="T36" fmla="*/ 2147483647 w 1865"/>
              <a:gd name="T37" fmla="*/ 2147483647 h 3027"/>
              <a:gd name="T38" fmla="*/ 2147483647 w 1865"/>
              <a:gd name="T39" fmla="*/ 2147483647 h 3027"/>
              <a:gd name="T40" fmla="*/ 2147483647 w 1865"/>
              <a:gd name="T41" fmla="*/ 2147483647 h 3027"/>
              <a:gd name="T42" fmla="*/ 2147483647 w 1865"/>
              <a:gd name="T43" fmla="*/ 2147483647 h 3027"/>
              <a:gd name="T44" fmla="*/ 2147483647 w 1865"/>
              <a:gd name="T45" fmla="*/ 2147483647 h 3027"/>
              <a:gd name="T46" fmla="*/ 2147483647 w 1865"/>
              <a:gd name="T47" fmla="*/ 2147483647 h 3027"/>
              <a:gd name="T48" fmla="*/ 2147483647 w 1865"/>
              <a:gd name="T49" fmla="*/ 2147483647 h 3027"/>
              <a:gd name="T50" fmla="*/ 2147483647 w 1865"/>
              <a:gd name="T51" fmla="*/ 2147483647 h 3027"/>
              <a:gd name="T52" fmla="*/ 2147483647 w 1865"/>
              <a:gd name="T53" fmla="*/ 2147483647 h 3027"/>
              <a:gd name="T54" fmla="*/ 2147483647 w 1865"/>
              <a:gd name="T55" fmla="*/ 2147483647 h 3027"/>
              <a:gd name="T56" fmla="*/ 2147483647 w 1865"/>
              <a:gd name="T57" fmla="*/ 2147483647 h 3027"/>
              <a:gd name="T58" fmla="*/ 2147483647 w 1865"/>
              <a:gd name="T59" fmla="*/ 2147483647 h 3027"/>
              <a:gd name="T60" fmla="*/ 2147483647 w 1865"/>
              <a:gd name="T61" fmla="*/ 2147483647 h 3027"/>
              <a:gd name="T62" fmla="*/ 2147483647 w 1865"/>
              <a:gd name="T63" fmla="*/ 2147483647 h 3027"/>
              <a:gd name="T64" fmla="*/ 2147483647 w 1865"/>
              <a:gd name="T65" fmla="*/ 2147483647 h 3027"/>
              <a:gd name="T66" fmla="*/ 2147483647 w 1865"/>
              <a:gd name="T67" fmla="*/ 2147483647 h 3027"/>
              <a:gd name="T68" fmla="*/ 2147483647 w 1865"/>
              <a:gd name="T69" fmla="*/ 2147483647 h 3027"/>
              <a:gd name="T70" fmla="*/ 2147483647 w 1865"/>
              <a:gd name="T71" fmla="*/ 2147483647 h 3027"/>
              <a:gd name="T72" fmla="*/ 2147483647 w 1865"/>
              <a:gd name="T73" fmla="*/ 2147483647 h 3027"/>
              <a:gd name="T74" fmla="*/ 2147483647 w 1865"/>
              <a:gd name="T75" fmla="*/ 2147483647 h 3027"/>
              <a:gd name="T76" fmla="*/ 2147483647 w 1865"/>
              <a:gd name="T77" fmla="*/ 2147483647 h 3027"/>
              <a:gd name="T78" fmla="*/ 2147483647 w 1865"/>
              <a:gd name="T79" fmla="*/ 2147483647 h 3027"/>
              <a:gd name="T80" fmla="*/ 2147483647 w 1865"/>
              <a:gd name="T81" fmla="*/ 2147483647 h 3027"/>
              <a:gd name="T82" fmla="*/ 2147483647 w 1865"/>
              <a:gd name="T83" fmla="*/ 2147483647 h 3027"/>
              <a:gd name="T84" fmla="*/ 2147483647 w 1865"/>
              <a:gd name="T85" fmla="*/ 2147483647 h 3027"/>
              <a:gd name="T86" fmla="*/ 2147483647 w 1865"/>
              <a:gd name="T87" fmla="*/ 2147483647 h 3027"/>
              <a:gd name="T88" fmla="*/ 2147483647 w 1865"/>
              <a:gd name="T89" fmla="*/ 2147483647 h 3027"/>
              <a:gd name="T90" fmla="*/ 2147483647 w 1865"/>
              <a:gd name="T91" fmla="*/ 2147483647 h 3027"/>
              <a:gd name="T92" fmla="*/ 2147483647 w 1865"/>
              <a:gd name="T93" fmla="*/ 2147483647 h 3027"/>
              <a:gd name="T94" fmla="*/ 2147483647 w 1865"/>
              <a:gd name="T95" fmla="*/ 2147483647 h 3027"/>
              <a:gd name="T96" fmla="*/ 2147483647 w 1865"/>
              <a:gd name="T97" fmla="*/ 2147483647 h 3027"/>
              <a:gd name="T98" fmla="*/ 2147483647 w 1865"/>
              <a:gd name="T99" fmla="*/ 2147483647 h 3027"/>
              <a:gd name="T100" fmla="*/ 2147483647 w 1865"/>
              <a:gd name="T101" fmla="*/ 2147483647 h 3027"/>
              <a:gd name="T102" fmla="*/ 0 w 1865"/>
              <a:gd name="T103" fmla="*/ 2147483647 h 3027"/>
              <a:gd name="T104" fmla="*/ 2147483647 w 1865"/>
              <a:gd name="T105" fmla="*/ 2147483647 h 3027"/>
              <a:gd name="T106" fmla="*/ 2147483647 w 1865"/>
              <a:gd name="T107" fmla="*/ 2147483647 h 3027"/>
              <a:gd name="T108" fmla="*/ 2147483647 w 1865"/>
              <a:gd name="T109" fmla="*/ 2147483647 h 302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865"/>
              <a:gd name="T166" fmla="*/ 0 h 3027"/>
              <a:gd name="T167" fmla="*/ 1865 w 1865"/>
              <a:gd name="T168" fmla="*/ 3027 h 302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865" h="3027">
                <a:moveTo>
                  <a:pt x="747" y="2947"/>
                </a:moveTo>
                <a:lnTo>
                  <a:pt x="750" y="2950"/>
                </a:lnTo>
                <a:lnTo>
                  <a:pt x="769" y="2932"/>
                </a:lnTo>
                <a:lnTo>
                  <a:pt x="810" y="2933"/>
                </a:lnTo>
                <a:lnTo>
                  <a:pt x="847" y="2958"/>
                </a:lnTo>
                <a:lnTo>
                  <a:pt x="871" y="2955"/>
                </a:lnTo>
                <a:lnTo>
                  <a:pt x="868" y="2922"/>
                </a:lnTo>
                <a:lnTo>
                  <a:pt x="971" y="2951"/>
                </a:lnTo>
                <a:lnTo>
                  <a:pt x="987" y="2942"/>
                </a:lnTo>
                <a:lnTo>
                  <a:pt x="1017" y="2937"/>
                </a:lnTo>
                <a:lnTo>
                  <a:pt x="1034" y="2898"/>
                </a:lnTo>
                <a:lnTo>
                  <a:pt x="1053" y="2924"/>
                </a:lnTo>
                <a:lnTo>
                  <a:pt x="1077" y="2939"/>
                </a:lnTo>
                <a:lnTo>
                  <a:pt x="1114" y="2941"/>
                </a:lnTo>
                <a:lnTo>
                  <a:pt x="1119" y="2959"/>
                </a:lnTo>
                <a:lnTo>
                  <a:pt x="1136" y="2983"/>
                </a:lnTo>
                <a:lnTo>
                  <a:pt x="1296" y="3002"/>
                </a:lnTo>
                <a:lnTo>
                  <a:pt x="1339" y="3027"/>
                </a:lnTo>
                <a:lnTo>
                  <a:pt x="1551" y="3022"/>
                </a:lnTo>
                <a:lnTo>
                  <a:pt x="1558" y="3009"/>
                </a:lnTo>
                <a:lnTo>
                  <a:pt x="1663" y="2968"/>
                </a:lnTo>
                <a:lnTo>
                  <a:pt x="1685" y="2926"/>
                </a:lnTo>
                <a:lnTo>
                  <a:pt x="1679" y="2907"/>
                </a:lnTo>
                <a:lnTo>
                  <a:pt x="1532" y="2867"/>
                </a:lnTo>
                <a:lnTo>
                  <a:pt x="1537" y="2828"/>
                </a:lnTo>
                <a:lnTo>
                  <a:pt x="1525" y="2799"/>
                </a:lnTo>
                <a:lnTo>
                  <a:pt x="1571" y="2795"/>
                </a:lnTo>
                <a:lnTo>
                  <a:pt x="1584" y="2776"/>
                </a:lnTo>
                <a:lnTo>
                  <a:pt x="1608" y="2758"/>
                </a:lnTo>
                <a:lnTo>
                  <a:pt x="1602" y="2745"/>
                </a:lnTo>
                <a:lnTo>
                  <a:pt x="1584" y="2729"/>
                </a:lnTo>
                <a:lnTo>
                  <a:pt x="1641" y="2716"/>
                </a:lnTo>
                <a:lnTo>
                  <a:pt x="1657" y="2733"/>
                </a:lnTo>
                <a:lnTo>
                  <a:pt x="1691" y="2731"/>
                </a:lnTo>
                <a:lnTo>
                  <a:pt x="1704" y="2709"/>
                </a:lnTo>
                <a:lnTo>
                  <a:pt x="1706" y="2672"/>
                </a:lnTo>
                <a:lnTo>
                  <a:pt x="1724" y="2678"/>
                </a:lnTo>
                <a:lnTo>
                  <a:pt x="1756" y="2671"/>
                </a:lnTo>
                <a:lnTo>
                  <a:pt x="1797" y="2641"/>
                </a:lnTo>
                <a:lnTo>
                  <a:pt x="1861" y="2505"/>
                </a:lnTo>
                <a:lnTo>
                  <a:pt x="1865" y="2438"/>
                </a:lnTo>
                <a:lnTo>
                  <a:pt x="1843" y="2379"/>
                </a:lnTo>
                <a:lnTo>
                  <a:pt x="1784" y="2323"/>
                </a:lnTo>
                <a:lnTo>
                  <a:pt x="1644" y="2301"/>
                </a:lnTo>
                <a:lnTo>
                  <a:pt x="1591" y="2345"/>
                </a:lnTo>
                <a:lnTo>
                  <a:pt x="1578" y="2325"/>
                </a:lnTo>
                <a:lnTo>
                  <a:pt x="1527" y="2299"/>
                </a:lnTo>
                <a:lnTo>
                  <a:pt x="1552" y="2266"/>
                </a:lnTo>
                <a:lnTo>
                  <a:pt x="1614" y="2223"/>
                </a:lnTo>
                <a:lnTo>
                  <a:pt x="1631" y="2201"/>
                </a:lnTo>
                <a:lnTo>
                  <a:pt x="1641" y="2165"/>
                </a:lnTo>
                <a:lnTo>
                  <a:pt x="1594" y="2052"/>
                </a:lnTo>
                <a:lnTo>
                  <a:pt x="1577" y="2035"/>
                </a:lnTo>
                <a:lnTo>
                  <a:pt x="1539" y="1969"/>
                </a:lnTo>
                <a:lnTo>
                  <a:pt x="1557" y="1965"/>
                </a:lnTo>
                <a:lnTo>
                  <a:pt x="1588" y="2016"/>
                </a:lnTo>
                <a:lnTo>
                  <a:pt x="1635" y="2035"/>
                </a:lnTo>
                <a:lnTo>
                  <a:pt x="1637" y="2034"/>
                </a:lnTo>
                <a:lnTo>
                  <a:pt x="1644" y="1972"/>
                </a:lnTo>
                <a:lnTo>
                  <a:pt x="1565" y="1672"/>
                </a:lnTo>
                <a:lnTo>
                  <a:pt x="1479" y="1617"/>
                </a:lnTo>
                <a:lnTo>
                  <a:pt x="1470" y="1600"/>
                </a:lnTo>
                <a:lnTo>
                  <a:pt x="1450" y="1396"/>
                </a:lnTo>
                <a:lnTo>
                  <a:pt x="1478" y="1255"/>
                </a:lnTo>
                <a:lnTo>
                  <a:pt x="1429" y="1165"/>
                </a:lnTo>
                <a:lnTo>
                  <a:pt x="1419" y="1116"/>
                </a:lnTo>
                <a:lnTo>
                  <a:pt x="1337" y="1029"/>
                </a:lnTo>
                <a:lnTo>
                  <a:pt x="1319" y="1018"/>
                </a:lnTo>
                <a:lnTo>
                  <a:pt x="1251" y="1022"/>
                </a:lnTo>
                <a:lnTo>
                  <a:pt x="1203" y="990"/>
                </a:lnTo>
                <a:lnTo>
                  <a:pt x="1203" y="982"/>
                </a:lnTo>
                <a:lnTo>
                  <a:pt x="1221" y="958"/>
                </a:lnTo>
                <a:lnTo>
                  <a:pt x="1249" y="943"/>
                </a:lnTo>
                <a:lnTo>
                  <a:pt x="1319" y="955"/>
                </a:lnTo>
                <a:lnTo>
                  <a:pt x="1355" y="949"/>
                </a:lnTo>
                <a:lnTo>
                  <a:pt x="1335" y="886"/>
                </a:lnTo>
                <a:lnTo>
                  <a:pt x="1321" y="872"/>
                </a:lnTo>
                <a:lnTo>
                  <a:pt x="1321" y="851"/>
                </a:lnTo>
                <a:lnTo>
                  <a:pt x="1353" y="864"/>
                </a:lnTo>
                <a:lnTo>
                  <a:pt x="1379" y="856"/>
                </a:lnTo>
                <a:lnTo>
                  <a:pt x="1410" y="832"/>
                </a:lnTo>
                <a:lnTo>
                  <a:pt x="1426" y="806"/>
                </a:lnTo>
                <a:lnTo>
                  <a:pt x="1494" y="753"/>
                </a:lnTo>
                <a:lnTo>
                  <a:pt x="1568" y="633"/>
                </a:lnTo>
                <a:lnTo>
                  <a:pt x="1634" y="593"/>
                </a:lnTo>
                <a:lnTo>
                  <a:pt x="1655" y="527"/>
                </a:lnTo>
                <a:lnTo>
                  <a:pt x="1652" y="494"/>
                </a:lnTo>
                <a:lnTo>
                  <a:pt x="1436" y="421"/>
                </a:lnTo>
                <a:lnTo>
                  <a:pt x="1400" y="396"/>
                </a:lnTo>
                <a:lnTo>
                  <a:pt x="1262" y="397"/>
                </a:lnTo>
                <a:lnTo>
                  <a:pt x="1230" y="411"/>
                </a:lnTo>
                <a:lnTo>
                  <a:pt x="1220" y="394"/>
                </a:lnTo>
                <a:lnTo>
                  <a:pt x="1237" y="371"/>
                </a:lnTo>
                <a:lnTo>
                  <a:pt x="1241" y="361"/>
                </a:lnTo>
                <a:lnTo>
                  <a:pt x="1210" y="359"/>
                </a:lnTo>
                <a:lnTo>
                  <a:pt x="1215" y="344"/>
                </a:lnTo>
                <a:lnTo>
                  <a:pt x="1269" y="346"/>
                </a:lnTo>
                <a:lnTo>
                  <a:pt x="1310" y="325"/>
                </a:lnTo>
                <a:lnTo>
                  <a:pt x="1256" y="301"/>
                </a:lnTo>
                <a:lnTo>
                  <a:pt x="1272" y="275"/>
                </a:lnTo>
                <a:lnTo>
                  <a:pt x="1274" y="281"/>
                </a:lnTo>
                <a:lnTo>
                  <a:pt x="1321" y="252"/>
                </a:lnTo>
                <a:lnTo>
                  <a:pt x="1403" y="233"/>
                </a:lnTo>
                <a:lnTo>
                  <a:pt x="1445" y="193"/>
                </a:lnTo>
                <a:lnTo>
                  <a:pt x="1499" y="180"/>
                </a:lnTo>
                <a:lnTo>
                  <a:pt x="1539" y="98"/>
                </a:lnTo>
                <a:lnTo>
                  <a:pt x="1504" y="70"/>
                </a:lnTo>
                <a:lnTo>
                  <a:pt x="1308" y="45"/>
                </a:lnTo>
                <a:lnTo>
                  <a:pt x="1306" y="39"/>
                </a:lnTo>
                <a:lnTo>
                  <a:pt x="1247" y="2"/>
                </a:lnTo>
                <a:lnTo>
                  <a:pt x="1209" y="0"/>
                </a:lnTo>
                <a:lnTo>
                  <a:pt x="1154" y="44"/>
                </a:lnTo>
                <a:lnTo>
                  <a:pt x="1132" y="94"/>
                </a:lnTo>
                <a:lnTo>
                  <a:pt x="1094" y="84"/>
                </a:lnTo>
                <a:lnTo>
                  <a:pt x="1078" y="132"/>
                </a:lnTo>
                <a:lnTo>
                  <a:pt x="1056" y="134"/>
                </a:lnTo>
                <a:lnTo>
                  <a:pt x="1056" y="153"/>
                </a:lnTo>
                <a:lnTo>
                  <a:pt x="1072" y="190"/>
                </a:lnTo>
                <a:lnTo>
                  <a:pt x="962" y="205"/>
                </a:lnTo>
                <a:lnTo>
                  <a:pt x="937" y="276"/>
                </a:lnTo>
                <a:lnTo>
                  <a:pt x="954" y="299"/>
                </a:lnTo>
                <a:lnTo>
                  <a:pt x="946" y="302"/>
                </a:lnTo>
                <a:lnTo>
                  <a:pt x="926" y="290"/>
                </a:lnTo>
                <a:lnTo>
                  <a:pt x="913" y="292"/>
                </a:lnTo>
                <a:lnTo>
                  <a:pt x="896" y="345"/>
                </a:lnTo>
                <a:lnTo>
                  <a:pt x="917" y="355"/>
                </a:lnTo>
                <a:lnTo>
                  <a:pt x="958" y="362"/>
                </a:lnTo>
                <a:lnTo>
                  <a:pt x="948" y="377"/>
                </a:lnTo>
                <a:lnTo>
                  <a:pt x="926" y="380"/>
                </a:lnTo>
                <a:lnTo>
                  <a:pt x="944" y="394"/>
                </a:lnTo>
                <a:lnTo>
                  <a:pt x="914" y="415"/>
                </a:lnTo>
                <a:lnTo>
                  <a:pt x="905" y="428"/>
                </a:lnTo>
                <a:lnTo>
                  <a:pt x="900" y="452"/>
                </a:lnTo>
                <a:lnTo>
                  <a:pt x="892" y="451"/>
                </a:lnTo>
                <a:lnTo>
                  <a:pt x="872" y="463"/>
                </a:lnTo>
                <a:lnTo>
                  <a:pt x="867" y="477"/>
                </a:lnTo>
                <a:lnTo>
                  <a:pt x="851" y="484"/>
                </a:lnTo>
                <a:lnTo>
                  <a:pt x="834" y="504"/>
                </a:lnTo>
                <a:lnTo>
                  <a:pt x="813" y="553"/>
                </a:lnTo>
                <a:lnTo>
                  <a:pt x="773" y="549"/>
                </a:lnTo>
                <a:lnTo>
                  <a:pt x="751" y="554"/>
                </a:lnTo>
                <a:lnTo>
                  <a:pt x="749" y="566"/>
                </a:lnTo>
                <a:lnTo>
                  <a:pt x="781" y="582"/>
                </a:lnTo>
                <a:lnTo>
                  <a:pt x="772" y="615"/>
                </a:lnTo>
                <a:lnTo>
                  <a:pt x="800" y="666"/>
                </a:lnTo>
                <a:lnTo>
                  <a:pt x="895" y="634"/>
                </a:lnTo>
                <a:lnTo>
                  <a:pt x="897" y="642"/>
                </a:lnTo>
                <a:lnTo>
                  <a:pt x="889" y="661"/>
                </a:lnTo>
                <a:lnTo>
                  <a:pt x="782" y="789"/>
                </a:lnTo>
                <a:lnTo>
                  <a:pt x="777" y="804"/>
                </a:lnTo>
                <a:lnTo>
                  <a:pt x="761" y="819"/>
                </a:lnTo>
                <a:lnTo>
                  <a:pt x="729" y="888"/>
                </a:lnTo>
                <a:lnTo>
                  <a:pt x="749" y="890"/>
                </a:lnTo>
                <a:lnTo>
                  <a:pt x="753" y="906"/>
                </a:lnTo>
                <a:lnTo>
                  <a:pt x="639" y="1046"/>
                </a:lnTo>
                <a:lnTo>
                  <a:pt x="636" y="1057"/>
                </a:lnTo>
                <a:lnTo>
                  <a:pt x="659" y="1065"/>
                </a:lnTo>
                <a:lnTo>
                  <a:pt x="675" y="1054"/>
                </a:lnTo>
                <a:lnTo>
                  <a:pt x="777" y="934"/>
                </a:lnTo>
                <a:lnTo>
                  <a:pt x="794" y="842"/>
                </a:lnTo>
                <a:lnTo>
                  <a:pt x="872" y="796"/>
                </a:lnTo>
                <a:lnTo>
                  <a:pt x="862" y="818"/>
                </a:lnTo>
                <a:lnTo>
                  <a:pt x="815" y="868"/>
                </a:lnTo>
                <a:lnTo>
                  <a:pt x="800" y="906"/>
                </a:lnTo>
                <a:lnTo>
                  <a:pt x="814" y="897"/>
                </a:lnTo>
                <a:lnTo>
                  <a:pt x="825" y="899"/>
                </a:lnTo>
                <a:lnTo>
                  <a:pt x="835" y="885"/>
                </a:lnTo>
                <a:lnTo>
                  <a:pt x="846" y="882"/>
                </a:lnTo>
                <a:lnTo>
                  <a:pt x="864" y="906"/>
                </a:lnTo>
                <a:lnTo>
                  <a:pt x="871" y="904"/>
                </a:lnTo>
                <a:lnTo>
                  <a:pt x="888" y="856"/>
                </a:lnTo>
                <a:lnTo>
                  <a:pt x="914" y="885"/>
                </a:lnTo>
                <a:lnTo>
                  <a:pt x="928" y="913"/>
                </a:lnTo>
                <a:lnTo>
                  <a:pt x="906" y="911"/>
                </a:lnTo>
                <a:lnTo>
                  <a:pt x="879" y="942"/>
                </a:lnTo>
                <a:lnTo>
                  <a:pt x="854" y="994"/>
                </a:lnTo>
                <a:lnTo>
                  <a:pt x="860" y="1015"/>
                </a:lnTo>
                <a:lnTo>
                  <a:pt x="874" y="1041"/>
                </a:lnTo>
                <a:lnTo>
                  <a:pt x="867" y="1079"/>
                </a:lnTo>
                <a:lnTo>
                  <a:pt x="741" y="1213"/>
                </a:lnTo>
                <a:lnTo>
                  <a:pt x="731" y="1246"/>
                </a:lnTo>
                <a:lnTo>
                  <a:pt x="715" y="1219"/>
                </a:lnTo>
                <a:lnTo>
                  <a:pt x="701" y="1236"/>
                </a:lnTo>
                <a:lnTo>
                  <a:pt x="699" y="1329"/>
                </a:lnTo>
                <a:lnTo>
                  <a:pt x="709" y="1347"/>
                </a:lnTo>
                <a:lnTo>
                  <a:pt x="720" y="1346"/>
                </a:lnTo>
                <a:lnTo>
                  <a:pt x="733" y="1296"/>
                </a:lnTo>
                <a:lnTo>
                  <a:pt x="742" y="1286"/>
                </a:lnTo>
                <a:lnTo>
                  <a:pt x="756" y="1286"/>
                </a:lnTo>
                <a:lnTo>
                  <a:pt x="817" y="1369"/>
                </a:lnTo>
                <a:lnTo>
                  <a:pt x="836" y="1351"/>
                </a:lnTo>
                <a:lnTo>
                  <a:pt x="847" y="1322"/>
                </a:lnTo>
                <a:lnTo>
                  <a:pt x="929" y="1360"/>
                </a:lnTo>
                <a:lnTo>
                  <a:pt x="997" y="1352"/>
                </a:lnTo>
                <a:lnTo>
                  <a:pt x="1008" y="1343"/>
                </a:lnTo>
                <a:lnTo>
                  <a:pt x="1040" y="1337"/>
                </a:lnTo>
                <a:lnTo>
                  <a:pt x="1113" y="1371"/>
                </a:lnTo>
                <a:lnTo>
                  <a:pt x="1098" y="1378"/>
                </a:lnTo>
                <a:lnTo>
                  <a:pt x="1083" y="1373"/>
                </a:lnTo>
                <a:lnTo>
                  <a:pt x="1044" y="1389"/>
                </a:lnTo>
                <a:lnTo>
                  <a:pt x="951" y="1497"/>
                </a:lnTo>
                <a:lnTo>
                  <a:pt x="951" y="1526"/>
                </a:lnTo>
                <a:lnTo>
                  <a:pt x="966" y="1568"/>
                </a:lnTo>
                <a:lnTo>
                  <a:pt x="967" y="1602"/>
                </a:lnTo>
                <a:lnTo>
                  <a:pt x="970" y="1607"/>
                </a:lnTo>
                <a:lnTo>
                  <a:pt x="980" y="1599"/>
                </a:lnTo>
                <a:lnTo>
                  <a:pt x="988" y="1656"/>
                </a:lnTo>
                <a:lnTo>
                  <a:pt x="1046" y="1655"/>
                </a:lnTo>
                <a:lnTo>
                  <a:pt x="1087" y="1634"/>
                </a:lnTo>
                <a:lnTo>
                  <a:pt x="1100" y="1646"/>
                </a:lnTo>
                <a:lnTo>
                  <a:pt x="1078" y="1663"/>
                </a:lnTo>
                <a:lnTo>
                  <a:pt x="1052" y="1726"/>
                </a:lnTo>
                <a:lnTo>
                  <a:pt x="1026" y="1741"/>
                </a:lnTo>
                <a:lnTo>
                  <a:pt x="997" y="1780"/>
                </a:lnTo>
                <a:lnTo>
                  <a:pt x="1030" y="1802"/>
                </a:lnTo>
                <a:lnTo>
                  <a:pt x="998" y="1824"/>
                </a:lnTo>
                <a:lnTo>
                  <a:pt x="960" y="1879"/>
                </a:lnTo>
                <a:lnTo>
                  <a:pt x="965" y="1900"/>
                </a:lnTo>
                <a:lnTo>
                  <a:pt x="980" y="1916"/>
                </a:lnTo>
                <a:lnTo>
                  <a:pt x="964" y="1920"/>
                </a:lnTo>
                <a:lnTo>
                  <a:pt x="935" y="1944"/>
                </a:lnTo>
                <a:lnTo>
                  <a:pt x="787" y="1890"/>
                </a:lnTo>
                <a:lnTo>
                  <a:pt x="543" y="1990"/>
                </a:lnTo>
                <a:lnTo>
                  <a:pt x="558" y="2010"/>
                </a:lnTo>
                <a:lnTo>
                  <a:pt x="625" y="1990"/>
                </a:lnTo>
                <a:lnTo>
                  <a:pt x="670" y="1997"/>
                </a:lnTo>
                <a:lnTo>
                  <a:pt x="640" y="2129"/>
                </a:lnTo>
                <a:lnTo>
                  <a:pt x="657" y="2152"/>
                </a:lnTo>
                <a:lnTo>
                  <a:pt x="589" y="2224"/>
                </a:lnTo>
                <a:lnTo>
                  <a:pt x="305" y="2284"/>
                </a:lnTo>
                <a:lnTo>
                  <a:pt x="315" y="2374"/>
                </a:lnTo>
                <a:lnTo>
                  <a:pt x="322" y="2387"/>
                </a:lnTo>
                <a:lnTo>
                  <a:pt x="343" y="2399"/>
                </a:lnTo>
                <a:lnTo>
                  <a:pt x="375" y="2397"/>
                </a:lnTo>
                <a:lnTo>
                  <a:pt x="422" y="2376"/>
                </a:lnTo>
                <a:lnTo>
                  <a:pt x="463" y="2373"/>
                </a:lnTo>
                <a:lnTo>
                  <a:pt x="474" y="2384"/>
                </a:lnTo>
                <a:lnTo>
                  <a:pt x="467" y="2438"/>
                </a:lnTo>
                <a:lnTo>
                  <a:pt x="476" y="2457"/>
                </a:lnTo>
                <a:lnTo>
                  <a:pt x="523" y="2475"/>
                </a:lnTo>
                <a:lnTo>
                  <a:pt x="559" y="2458"/>
                </a:lnTo>
                <a:lnTo>
                  <a:pt x="573" y="2460"/>
                </a:lnTo>
                <a:lnTo>
                  <a:pt x="582" y="2472"/>
                </a:lnTo>
                <a:lnTo>
                  <a:pt x="616" y="2568"/>
                </a:lnTo>
                <a:lnTo>
                  <a:pt x="637" y="2583"/>
                </a:lnTo>
                <a:lnTo>
                  <a:pt x="670" y="2592"/>
                </a:lnTo>
                <a:lnTo>
                  <a:pt x="700" y="2583"/>
                </a:lnTo>
                <a:lnTo>
                  <a:pt x="728" y="2561"/>
                </a:lnTo>
                <a:lnTo>
                  <a:pt x="861" y="2522"/>
                </a:lnTo>
                <a:lnTo>
                  <a:pt x="854" y="2549"/>
                </a:lnTo>
                <a:lnTo>
                  <a:pt x="739" y="2630"/>
                </a:lnTo>
                <a:lnTo>
                  <a:pt x="721" y="2657"/>
                </a:lnTo>
                <a:lnTo>
                  <a:pt x="704" y="2669"/>
                </a:lnTo>
                <a:lnTo>
                  <a:pt x="462" y="2614"/>
                </a:lnTo>
                <a:lnTo>
                  <a:pt x="427" y="2647"/>
                </a:lnTo>
                <a:lnTo>
                  <a:pt x="379" y="2662"/>
                </a:lnTo>
                <a:lnTo>
                  <a:pt x="335" y="2708"/>
                </a:lnTo>
                <a:lnTo>
                  <a:pt x="30" y="2855"/>
                </a:lnTo>
                <a:lnTo>
                  <a:pt x="7" y="2883"/>
                </a:lnTo>
                <a:lnTo>
                  <a:pt x="0" y="2901"/>
                </a:lnTo>
                <a:lnTo>
                  <a:pt x="22" y="2877"/>
                </a:lnTo>
                <a:lnTo>
                  <a:pt x="40" y="2872"/>
                </a:lnTo>
                <a:lnTo>
                  <a:pt x="74" y="2916"/>
                </a:lnTo>
                <a:lnTo>
                  <a:pt x="95" y="2917"/>
                </a:lnTo>
                <a:lnTo>
                  <a:pt x="101" y="2939"/>
                </a:lnTo>
                <a:lnTo>
                  <a:pt x="124" y="2927"/>
                </a:lnTo>
                <a:lnTo>
                  <a:pt x="148" y="2898"/>
                </a:lnTo>
                <a:lnTo>
                  <a:pt x="200" y="2888"/>
                </a:lnTo>
                <a:lnTo>
                  <a:pt x="240" y="2853"/>
                </a:lnTo>
                <a:lnTo>
                  <a:pt x="359" y="2891"/>
                </a:lnTo>
                <a:lnTo>
                  <a:pt x="427" y="2945"/>
                </a:lnTo>
                <a:lnTo>
                  <a:pt x="458" y="2958"/>
                </a:lnTo>
                <a:lnTo>
                  <a:pt x="496" y="2933"/>
                </a:lnTo>
                <a:lnTo>
                  <a:pt x="543" y="2845"/>
                </a:lnTo>
                <a:lnTo>
                  <a:pt x="557" y="2845"/>
                </a:lnTo>
                <a:lnTo>
                  <a:pt x="588" y="2858"/>
                </a:lnTo>
                <a:lnTo>
                  <a:pt x="703" y="2852"/>
                </a:lnTo>
                <a:lnTo>
                  <a:pt x="747" y="2947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3" name="Freeform 28">
            <a:extLst>
              <a:ext uri="{FF2B5EF4-FFF2-40B4-BE49-F238E27FC236}">
                <a16:creationId xmlns:a16="http://schemas.microsoft.com/office/drawing/2014/main" id="{4C06DBE3-CC5E-4FA7-A5E7-98359237A0E2}"/>
              </a:ext>
            </a:extLst>
          </p:cNvPr>
          <p:cNvSpPr>
            <a:spLocks/>
          </p:cNvSpPr>
          <p:nvPr/>
        </p:nvSpPr>
        <p:spPr bwMode="auto">
          <a:xfrm rot="21249101">
            <a:off x="5763562" y="3698089"/>
            <a:ext cx="35912" cy="19662"/>
          </a:xfrm>
          <a:custGeom>
            <a:avLst/>
            <a:gdLst>
              <a:gd name="T0" fmla="*/ 2147483647 w 85"/>
              <a:gd name="T1" fmla="*/ 2147483647 h 52"/>
              <a:gd name="T2" fmla="*/ 2147483647 w 85"/>
              <a:gd name="T3" fmla="*/ 0 h 52"/>
              <a:gd name="T4" fmla="*/ 2147483647 w 85"/>
              <a:gd name="T5" fmla="*/ 2147483647 h 52"/>
              <a:gd name="T6" fmla="*/ 0 w 85"/>
              <a:gd name="T7" fmla="*/ 2147483647 h 52"/>
              <a:gd name="T8" fmla="*/ 2147483647 w 85"/>
              <a:gd name="T9" fmla="*/ 2147483647 h 52"/>
              <a:gd name="T10" fmla="*/ 2147483647 w 85"/>
              <a:gd name="T11" fmla="*/ 2147483647 h 52"/>
              <a:gd name="T12" fmla="*/ 2147483647 w 85"/>
              <a:gd name="T13" fmla="*/ 2147483647 h 52"/>
              <a:gd name="T14" fmla="*/ 2147483647 w 85"/>
              <a:gd name="T15" fmla="*/ 2147483647 h 52"/>
              <a:gd name="T16" fmla="*/ 2147483647 w 85"/>
              <a:gd name="T17" fmla="*/ 2147483647 h 52"/>
              <a:gd name="T18" fmla="*/ 2147483647 w 85"/>
              <a:gd name="T19" fmla="*/ 2147483647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5"/>
              <a:gd name="T31" fmla="*/ 0 h 52"/>
              <a:gd name="T32" fmla="*/ 85 w 85"/>
              <a:gd name="T33" fmla="*/ 52 h 5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5" h="52">
                <a:moveTo>
                  <a:pt x="62" y="13"/>
                </a:moveTo>
                <a:lnTo>
                  <a:pt x="57" y="0"/>
                </a:lnTo>
                <a:lnTo>
                  <a:pt x="10" y="9"/>
                </a:lnTo>
                <a:lnTo>
                  <a:pt x="0" y="18"/>
                </a:lnTo>
                <a:lnTo>
                  <a:pt x="4" y="30"/>
                </a:lnTo>
                <a:lnTo>
                  <a:pt x="33" y="49"/>
                </a:lnTo>
                <a:lnTo>
                  <a:pt x="59" y="52"/>
                </a:lnTo>
                <a:lnTo>
                  <a:pt x="85" y="35"/>
                </a:lnTo>
                <a:lnTo>
                  <a:pt x="85" y="27"/>
                </a:lnTo>
                <a:lnTo>
                  <a:pt x="62" y="13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4" name="Freeform 29">
            <a:extLst>
              <a:ext uri="{FF2B5EF4-FFF2-40B4-BE49-F238E27FC236}">
                <a16:creationId xmlns:a16="http://schemas.microsoft.com/office/drawing/2014/main" id="{816E39F9-F109-4BB3-92E2-55C43A7C2789}"/>
              </a:ext>
            </a:extLst>
          </p:cNvPr>
          <p:cNvSpPr>
            <a:spLocks/>
          </p:cNvSpPr>
          <p:nvPr/>
        </p:nvSpPr>
        <p:spPr bwMode="auto">
          <a:xfrm rot="21249101">
            <a:off x="5763562" y="3698089"/>
            <a:ext cx="35912" cy="19662"/>
          </a:xfrm>
          <a:custGeom>
            <a:avLst/>
            <a:gdLst>
              <a:gd name="T0" fmla="*/ 2147483647 w 85"/>
              <a:gd name="T1" fmla="*/ 2147483647 h 52"/>
              <a:gd name="T2" fmla="*/ 2147483647 w 85"/>
              <a:gd name="T3" fmla="*/ 0 h 52"/>
              <a:gd name="T4" fmla="*/ 2147483647 w 85"/>
              <a:gd name="T5" fmla="*/ 2147483647 h 52"/>
              <a:gd name="T6" fmla="*/ 0 w 85"/>
              <a:gd name="T7" fmla="*/ 2147483647 h 52"/>
              <a:gd name="T8" fmla="*/ 2147483647 w 85"/>
              <a:gd name="T9" fmla="*/ 2147483647 h 52"/>
              <a:gd name="T10" fmla="*/ 2147483647 w 85"/>
              <a:gd name="T11" fmla="*/ 2147483647 h 52"/>
              <a:gd name="T12" fmla="*/ 2147483647 w 85"/>
              <a:gd name="T13" fmla="*/ 2147483647 h 52"/>
              <a:gd name="T14" fmla="*/ 2147483647 w 85"/>
              <a:gd name="T15" fmla="*/ 2147483647 h 52"/>
              <a:gd name="T16" fmla="*/ 2147483647 w 85"/>
              <a:gd name="T17" fmla="*/ 2147483647 h 52"/>
              <a:gd name="T18" fmla="*/ 2147483647 w 85"/>
              <a:gd name="T19" fmla="*/ 2147483647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5"/>
              <a:gd name="T31" fmla="*/ 0 h 52"/>
              <a:gd name="T32" fmla="*/ 85 w 85"/>
              <a:gd name="T33" fmla="*/ 52 h 5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5" h="52">
                <a:moveTo>
                  <a:pt x="62" y="13"/>
                </a:moveTo>
                <a:lnTo>
                  <a:pt x="57" y="0"/>
                </a:lnTo>
                <a:lnTo>
                  <a:pt x="10" y="9"/>
                </a:lnTo>
                <a:lnTo>
                  <a:pt x="0" y="18"/>
                </a:lnTo>
                <a:lnTo>
                  <a:pt x="4" y="30"/>
                </a:lnTo>
                <a:lnTo>
                  <a:pt x="33" y="49"/>
                </a:lnTo>
                <a:lnTo>
                  <a:pt x="59" y="52"/>
                </a:lnTo>
                <a:lnTo>
                  <a:pt x="85" y="35"/>
                </a:lnTo>
                <a:lnTo>
                  <a:pt x="85" y="27"/>
                </a:lnTo>
                <a:lnTo>
                  <a:pt x="62" y="13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5" name="Freeform 30" descr="70%">
            <a:extLst>
              <a:ext uri="{FF2B5EF4-FFF2-40B4-BE49-F238E27FC236}">
                <a16:creationId xmlns:a16="http://schemas.microsoft.com/office/drawing/2014/main" id="{C5E5DC83-AFA9-4767-9AC9-F1214713A877}"/>
              </a:ext>
            </a:extLst>
          </p:cNvPr>
          <p:cNvSpPr>
            <a:spLocks/>
          </p:cNvSpPr>
          <p:nvPr/>
        </p:nvSpPr>
        <p:spPr bwMode="auto">
          <a:xfrm rot="21249101">
            <a:off x="5584003" y="3275362"/>
            <a:ext cx="19752" cy="27854"/>
          </a:xfrm>
          <a:custGeom>
            <a:avLst/>
            <a:gdLst>
              <a:gd name="T0" fmla="*/ 2147483647 w 50"/>
              <a:gd name="T1" fmla="*/ 2147483647 h 74"/>
              <a:gd name="T2" fmla="*/ 2147483647 w 50"/>
              <a:gd name="T3" fmla="*/ 2147483647 h 74"/>
              <a:gd name="T4" fmla="*/ 2147483647 w 50"/>
              <a:gd name="T5" fmla="*/ 2147483647 h 74"/>
              <a:gd name="T6" fmla="*/ 0 w 50"/>
              <a:gd name="T7" fmla="*/ 0 h 74"/>
              <a:gd name="T8" fmla="*/ 2147483647 w 50"/>
              <a:gd name="T9" fmla="*/ 2147483647 h 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0"/>
              <a:gd name="T16" fmla="*/ 0 h 74"/>
              <a:gd name="T17" fmla="*/ 50 w 50"/>
              <a:gd name="T18" fmla="*/ 74 h 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0" h="74">
                <a:moveTo>
                  <a:pt x="22" y="74"/>
                </a:moveTo>
                <a:lnTo>
                  <a:pt x="50" y="60"/>
                </a:lnTo>
                <a:lnTo>
                  <a:pt x="18" y="8"/>
                </a:lnTo>
                <a:lnTo>
                  <a:pt x="0" y="0"/>
                </a:lnTo>
                <a:lnTo>
                  <a:pt x="22" y="74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6" name="Freeform 31" descr="70%">
            <a:extLst>
              <a:ext uri="{FF2B5EF4-FFF2-40B4-BE49-F238E27FC236}">
                <a16:creationId xmlns:a16="http://schemas.microsoft.com/office/drawing/2014/main" id="{5C08AEE2-1836-40CA-9594-E99030DB877F}"/>
              </a:ext>
            </a:extLst>
          </p:cNvPr>
          <p:cNvSpPr>
            <a:spLocks/>
          </p:cNvSpPr>
          <p:nvPr/>
        </p:nvSpPr>
        <p:spPr bwMode="auto">
          <a:xfrm rot="21249101">
            <a:off x="5584003" y="3275362"/>
            <a:ext cx="19752" cy="27854"/>
          </a:xfrm>
          <a:custGeom>
            <a:avLst/>
            <a:gdLst>
              <a:gd name="T0" fmla="*/ 2147483647 w 50"/>
              <a:gd name="T1" fmla="*/ 2147483647 h 74"/>
              <a:gd name="T2" fmla="*/ 2147483647 w 50"/>
              <a:gd name="T3" fmla="*/ 2147483647 h 74"/>
              <a:gd name="T4" fmla="*/ 2147483647 w 50"/>
              <a:gd name="T5" fmla="*/ 2147483647 h 74"/>
              <a:gd name="T6" fmla="*/ 0 w 50"/>
              <a:gd name="T7" fmla="*/ 0 h 74"/>
              <a:gd name="T8" fmla="*/ 2147483647 w 50"/>
              <a:gd name="T9" fmla="*/ 2147483647 h 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0"/>
              <a:gd name="T16" fmla="*/ 0 h 74"/>
              <a:gd name="T17" fmla="*/ 50 w 50"/>
              <a:gd name="T18" fmla="*/ 74 h 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0" h="74">
                <a:moveTo>
                  <a:pt x="22" y="74"/>
                </a:moveTo>
                <a:lnTo>
                  <a:pt x="50" y="60"/>
                </a:lnTo>
                <a:lnTo>
                  <a:pt x="18" y="8"/>
                </a:lnTo>
                <a:lnTo>
                  <a:pt x="0" y="0"/>
                </a:lnTo>
                <a:lnTo>
                  <a:pt x="22" y="74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7" name="Freeform 32" descr="70%">
            <a:extLst>
              <a:ext uri="{FF2B5EF4-FFF2-40B4-BE49-F238E27FC236}">
                <a16:creationId xmlns:a16="http://schemas.microsoft.com/office/drawing/2014/main" id="{7FA9DFFD-B3A6-4D63-A440-42B626362BD0}"/>
              </a:ext>
            </a:extLst>
          </p:cNvPr>
          <p:cNvSpPr>
            <a:spLocks/>
          </p:cNvSpPr>
          <p:nvPr/>
        </p:nvSpPr>
        <p:spPr bwMode="auto">
          <a:xfrm rot="21249101">
            <a:off x="5569640" y="3142646"/>
            <a:ext cx="53867" cy="36047"/>
          </a:xfrm>
          <a:custGeom>
            <a:avLst/>
            <a:gdLst>
              <a:gd name="T0" fmla="*/ 2147483647 w 128"/>
              <a:gd name="T1" fmla="*/ 0 h 93"/>
              <a:gd name="T2" fmla="*/ 0 w 128"/>
              <a:gd name="T3" fmla="*/ 2147483647 h 93"/>
              <a:gd name="T4" fmla="*/ 2147483647 w 128"/>
              <a:gd name="T5" fmla="*/ 2147483647 h 93"/>
              <a:gd name="T6" fmla="*/ 2147483647 w 128"/>
              <a:gd name="T7" fmla="*/ 2147483647 h 93"/>
              <a:gd name="T8" fmla="*/ 2147483647 w 128"/>
              <a:gd name="T9" fmla="*/ 2147483647 h 93"/>
              <a:gd name="T10" fmla="*/ 2147483647 w 128"/>
              <a:gd name="T11" fmla="*/ 2147483647 h 93"/>
              <a:gd name="T12" fmla="*/ 2147483647 w 128"/>
              <a:gd name="T13" fmla="*/ 0 h 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8"/>
              <a:gd name="T22" fmla="*/ 0 h 93"/>
              <a:gd name="T23" fmla="*/ 128 w 128"/>
              <a:gd name="T24" fmla="*/ 93 h 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8" h="93">
                <a:moveTo>
                  <a:pt x="115" y="0"/>
                </a:moveTo>
                <a:lnTo>
                  <a:pt x="0" y="88"/>
                </a:lnTo>
                <a:lnTo>
                  <a:pt x="33" y="93"/>
                </a:lnTo>
                <a:lnTo>
                  <a:pt x="81" y="83"/>
                </a:lnTo>
                <a:lnTo>
                  <a:pt x="110" y="59"/>
                </a:lnTo>
                <a:lnTo>
                  <a:pt x="128" y="14"/>
                </a:lnTo>
                <a:lnTo>
                  <a:pt x="115" y="0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8" name="Freeform 33" descr="70%">
            <a:extLst>
              <a:ext uri="{FF2B5EF4-FFF2-40B4-BE49-F238E27FC236}">
                <a16:creationId xmlns:a16="http://schemas.microsoft.com/office/drawing/2014/main" id="{36539796-BEE6-4C5F-B395-5EFAD5F924C9}"/>
              </a:ext>
            </a:extLst>
          </p:cNvPr>
          <p:cNvSpPr>
            <a:spLocks/>
          </p:cNvSpPr>
          <p:nvPr/>
        </p:nvSpPr>
        <p:spPr bwMode="auto">
          <a:xfrm rot="21249101">
            <a:off x="5569640" y="3142646"/>
            <a:ext cx="53867" cy="36047"/>
          </a:xfrm>
          <a:custGeom>
            <a:avLst/>
            <a:gdLst>
              <a:gd name="T0" fmla="*/ 2147483647 w 128"/>
              <a:gd name="T1" fmla="*/ 0 h 93"/>
              <a:gd name="T2" fmla="*/ 0 w 128"/>
              <a:gd name="T3" fmla="*/ 2147483647 h 93"/>
              <a:gd name="T4" fmla="*/ 2147483647 w 128"/>
              <a:gd name="T5" fmla="*/ 2147483647 h 93"/>
              <a:gd name="T6" fmla="*/ 2147483647 w 128"/>
              <a:gd name="T7" fmla="*/ 2147483647 h 93"/>
              <a:gd name="T8" fmla="*/ 2147483647 w 128"/>
              <a:gd name="T9" fmla="*/ 2147483647 h 93"/>
              <a:gd name="T10" fmla="*/ 2147483647 w 128"/>
              <a:gd name="T11" fmla="*/ 2147483647 h 93"/>
              <a:gd name="T12" fmla="*/ 2147483647 w 128"/>
              <a:gd name="T13" fmla="*/ 0 h 9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8"/>
              <a:gd name="T22" fmla="*/ 0 h 93"/>
              <a:gd name="T23" fmla="*/ 128 w 128"/>
              <a:gd name="T24" fmla="*/ 93 h 9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8" h="93">
                <a:moveTo>
                  <a:pt x="115" y="0"/>
                </a:moveTo>
                <a:lnTo>
                  <a:pt x="0" y="88"/>
                </a:lnTo>
                <a:lnTo>
                  <a:pt x="33" y="93"/>
                </a:lnTo>
                <a:lnTo>
                  <a:pt x="81" y="83"/>
                </a:lnTo>
                <a:lnTo>
                  <a:pt x="110" y="59"/>
                </a:lnTo>
                <a:lnTo>
                  <a:pt x="128" y="14"/>
                </a:lnTo>
                <a:lnTo>
                  <a:pt x="115" y="0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9" name="Freeform 34" descr="70%">
            <a:extLst>
              <a:ext uri="{FF2B5EF4-FFF2-40B4-BE49-F238E27FC236}">
                <a16:creationId xmlns:a16="http://schemas.microsoft.com/office/drawing/2014/main" id="{C9AF4F4E-E5C7-4330-8718-BFEA545619C6}"/>
              </a:ext>
            </a:extLst>
          </p:cNvPr>
          <p:cNvSpPr>
            <a:spLocks/>
          </p:cNvSpPr>
          <p:nvPr/>
        </p:nvSpPr>
        <p:spPr bwMode="auto">
          <a:xfrm rot="21249101">
            <a:off x="5576822" y="2946028"/>
            <a:ext cx="25138" cy="37684"/>
          </a:xfrm>
          <a:custGeom>
            <a:avLst/>
            <a:gdLst>
              <a:gd name="T0" fmla="*/ 2147483647 w 62"/>
              <a:gd name="T1" fmla="*/ 2147483647 h 96"/>
              <a:gd name="T2" fmla="*/ 2147483647 w 62"/>
              <a:gd name="T3" fmla="*/ 0 h 96"/>
              <a:gd name="T4" fmla="*/ 0 w 62"/>
              <a:gd name="T5" fmla="*/ 2147483647 h 96"/>
              <a:gd name="T6" fmla="*/ 2147483647 w 62"/>
              <a:gd name="T7" fmla="*/ 2147483647 h 96"/>
              <a:gd name="T8" fmla="*/ 2147483647 w 62"/>
              <a:gd name="T9" fmla="*/ 2147483647 h 96"/>
              <a:gd name="T10" fmla="*/ 2147483647 w 62"/>
              <a:gd name="T11" fmla="*/ 2147483647 h 96"/>
              <a:gd name="T12" fmla="*/ 2147483647 w 62"/>
              <a:gd name="T13" fmla="*/ 2147483647 h 96"/>
              <a:gd name="T14" fmla="*/ 2147483647 w 62"/>
              <a:gd name="T15" fmla="*/ 2147483647 h 9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2"/>
              <a:gd name="T25" fmla="*/ 0 h 96"/>
              <a:gd name="T26" fmla="*/ 62 w 62"/>
              <a:gd name="T27" fmla="*/ 96 h 9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2" h="96">
                <a:moveTo>
                  <a:pt x="25" y="2"/>
                </a:moveTo>
                <a:lnTo>
                  <a:pt x="24" y="0"/>
                </a:lnTo>
                <a:lnTo>
                  <a:pt x="0" y="64"/>
                </a:lnTo>
                <a:lnTo>
                  <a:pt x="5" y="96"/>
                </a:lnTo>
                <a:lnTo>
                  <a:pt x="26" y="96"/>
                </a:lnTo>
                <a:lnTo>
                  <a:pt x="54" y="50"/>
                </a:lnTo>
                <a:lnTo>
                  <a:pt x="62" y="14"/>
                </a:lnTo>
                <a:lnTo>
                  <a:pt x="25" y="2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0" name="Freeform 35" descr="70%">
            <a:extLst>
              <a:ext uri="{FF2B5EF4-FFF2-40B4-BE49-F238E27FC236}">
                <a16:creationId xmlns:a16="http://schemas.microsoft.com/office/drawing/2014/main" id="{97ED131C-26D3-4D3D-848F-74FE4D85AA12}"/>
              </a:ext>
            </a:extLst>
          </p:cNvPr>
          <p:cNvSpPr>
            <a:spLocks/>
          </p:cNvSpPr>
          <p:nvPr/>
        </p:nvSpPr>
        <p:spPr bwMode="auto">
          <a:xfrm rot="21249101">
            <a:off x="5576822" y="2946028"/>
            <a:ext cx="25138" cy="37684"/>
          </a:xfrm>
          <a:custGeom>
            <a:avLst/>
            <a:gdLst>
              <a:gd name="T0" fmla="*/ 2147483647 w 62"/>
              <a:gd name="T1" fmla="*/ 2147483647 h 96"/>
              <a:gd name="T2" fmla="*/ 2147483647 w 62"/>
              <a:gd name="T3" fmla="*/ 0 h 96"/>
              <a:gd name="T4" fmla="*/ 0 w 62"/>
              <a:gd name="T5" fmla="*/ 2147483647 h 96"/>
              <a:gd name="T6" fmla="*/ 2147483647 w 62"/>
              <a:gd name="T7" fmla="*/ 2147483647 h 96"/>
              <a:gd name="T8" fmla="*/ 2147483647 w 62"/>
              <a:gd name="T9" fmla="*/ 2147483647 h 96"/>
              <a:gd name="T10" fmla="*/ 2147483647 w 62"/>
              <a:gd name="T11" fmla="*/ 2147483647 h 96"/>
              <a:gd name="T12" fmla="*/ 2147483647 w 62"/>
              <a:gd name="T13" fmla="*/ 2147483647 h 96"/>
              <a:gd name="T14" fmla="*/ 2147483647 w 62"/>
              <a:gd name="T15" fmla="*/ 2147483647 h 9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2"/>
              <a:gd name="T25" fmla="*/ 0 h 96"/>
              <a:gd name="T26" fmla="*/ 62 w 62"/>
              <a:gd name="T27" fmla="*/ 96 h 9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2" h="96">
                <a:moveTo>
                  <a:pt x="25" y="2"/>
                </a:moveTo>
                <a:lnTo>
                  <a:pt x="24" y="0"/>
                </a:lnTo>
                <a:lnTo>
                  <a:pt x="0" y="64"/>
                </a:lnTo>
                <a:lnTo>
                  <a:pt x="5" y="96"/>
                </a:lnTo>
                <a:lnTo>
                  <a:pt x="26" y="96"/>
                </a:lnTo>
                <a:lnTo>
                  <a:pt x="54" y="50"/>
                </a:lnTo>
                <a:lnTo>
                  <a:pt x="62" y="14"/>
                </a:lnTo>
                <a:lnTo>
                  <a:pt x="25" y="2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1" name="Freeform 36" descr="70%">
            <a:extLst>
              <a:ext uri="{FF2B5EF4-FFF2-40B4-BE49-F238E27FC236}">
                <a16:creationId xmlns:a16="http://schemas.microsoft.com/office/drawing/2014/main" id="{E2D0F278-9529-4D0E-839A-2F7014DA29FE}"/>
              </a:ext>
            </a:extLst>
          </p:cNvPr>
          <p:cNvSpPr>
            <a:spLocks/>
          </p:cNvSpPr>
          <p:nvPr/>
        </p:nvSpPr>
        <p:spPr bwMode="auto">
          <a:xfrm rot="21249101">
            <a:off x="5490634" y="2903428"/>
            <a:ext cx="35912" cy="34408"/>
          </a:xfrm>
          <a:custGeom>
            <a:avLst/>
            <a:gdLst>
              <a:gd name="T0" fmla="*/ 2147483647 w 86"/>
              <a:gd name="T1" fmla="*/ 2147483647 h 88"/>
              <a:gd name="T2" fmla="*/ 2147483647 w 86"/>
              <a:gd name="T3" fmla="*/ 0 h 88"/>
              <a:gd name="T4" fmla="*/ 2147483647 w 86"/>
              <a:gd name="T5" fmla="*/ 2147483647 h 88"/>
              <a:gd name="T6" fmla="*/ 2147483647 w 86"/>
              <a:gd name="T7" fmla="*/ 2147483647 h 88"/>
              <a:gd name="T8" fmla="*/ 2147483647 w 86"/>
              <a:gd name="T9" fmla="*/ 2147483647 h 88"/>
              <a:gd name="T10" fmla="*/ 0 w 86"/>
              <a:gd name="T11" fmla="*/ 2147483647 h 88"/>
              <a:gd name="T12" fmla="*/ 2147483647 w 86"/>
              <a:gd name="T13" fmla="*/ 2147483647 h 88"/>
              <a:gd name="T14" fmla="*/ 2147483647 w 86"/>
              <a:gd name="T15" fmla="*/ 2147483647 h 88"/>
              <a:gd name="T16" fmla="*/ 2147483647 w 86"/>
              <a:gd name="T17" fmla="*/ 2147483647 h 88"/>
              <a:gd name="T18" fmla="*/ 2147483647 w 86"/>
              <a:gd name="T19" fmla="*/ 2147483647 h 88"/>
              <a:gd name="T20" fmla="*/ 2147483647 w 86"/>
              <a:gd name="T21" fmla="*/ 2147483647 h 8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6"/>
              <a:gd name="T34" fmla="*/ 0 h 88"/>
              <a:gd name="T35" fmla="*/ 86 w 86"/>
              <a:gd name="T36" fmla="*/ 88 h 8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6" h="88">
                <a:moveTo>
                  <a:pt x="86" y="5"/>
                </a:moveTo>
                <a:lnTo>
                  <a:pt x="86" y="0"/>
                </a:lnTo>
                <a:lnTo>
                  <a:pt x="66" y="6"/>
                </a:lnTo>
                <a:lnTo>
                  <a:pt x="32" y="6"/>
                </a:lnTo>
                <a:lnTo>
                  <a:pt x="1" y="40"/>
                </a:lnTo>
                <a:lnTo>
                  <a:pt x="0" y="50"/>
                </a:lnTo>
                <a:lnTo>
                  <a:pt x="34" y="30"/>
                </a:lnTo>
                <a:lnTo>
                  <a:pt x="34" y="88"/>
                </a:lnTo>
                <a:lnTo>
                  <a:pt x="73" y="83"/>
                </a:lnTo>
                <a:lnTo>
                  <a:pt x="86" y="54"/>
                </a:lnTo>
                <a:lnTo>
                  <a:pt x="86" y="5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2" name="Freeform 37" descr="70%">
            <a:extLst>
              <a:ext uri="{FF2B5EF4-FFF2-40B4-BE49-F238E27FC236}">
                <a16:creationId xmlns:a16="http://schemas.microsoft.com/office/drawing/2014/main" id="{8486FA2E-7DB3-4B2F-B785-3B5C571C3DDC}"/>
              </a:ext>
            </a:extLst>
          </p:cNvPr>
          <p:cNvSpPr>
            <a:spLocks/>
          </p:cNvSpPr>
          <p:nvPr/>
        </p:nvSpPr>
        <p:spPr bwMode="auto">
          <a:xfrm rot="21249101">
            <a:off x="5490634" y="2903428"/>
            <a:ext cx="35912" cy="34408"/>
          </a:xfrm>
          <a:custGeom>
            <a:avLst/>
            <a:gdLst>
              <a:gd name="T0" fmla="*/ 2147483647 w 86"/>
              <a:gd name="T1" fmla="*/ 2147483647 h 88"/>
              <a:gd name="T2" fmla="*/ 2147483647 w 86"/>
              <a:gd name="T3" fmla="*/ 0 h 88"/>
              <a:gd name="T4" fmla="*/ 2147483647 w 86"/>
              <a:gd name="T5" fmla="*/ 2147483647 h 88"/>
              <a:gd name="T6" fmla="*/ 2147483647 w 86"/>
              <a:gd name="T7" fmla="*/ 2147483647 h 88"/>
              <a:gd name="T8" fmla="*/ 2147483647 w 86"/>
              <a:gd name="T9" fmla="*/ 2147483647 h 88"/>
              <a:gd name="T10" fmla="*/ 0 w 86"/>
              <a:gd name="T11" fmla="*/ 2147483647 h 88"/>
              <a:gd name="T12" fmla="*/ 2147483647 w 86"/>
              <a:gd name="T13" fmla="*/ 2147483647 h 88"/>
              <a:gd name="T14" fmla="*/ 2147483647 w 86"/>
              <a:gd name="T15" fmla="*/ 2147483647 h 88"/>
              <a:gd name="T16" fmla="*/ 2147483647 w 86"/>
              <a:gd name="T17" fmla="*/ 2147483647 h 88"/>
              <a:gd name="T18" fmla="*/ 2147483647 w 86"/>
              <a:gd name="T19" fmla="*/ 2147483647 h 88"/>
              <a:gd name="T20" fmla="*/ 2147483647 w 86"/>
              <a:gd name="T21" fmla="*/ 2147483647 h 8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6"/>
              <a:gd name="T34" fmla="*/ 0 h 88"/>
              <a:gd name="T35" fmla="*/ 86 w 86"/>
              <a:gd name="T36" fmla="*/ 88 h 8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6" h="88">
                <a:moveTo>
                  <a:pt x="86" y="5"/>
                </a:moveTo>
                <a:lnTo>
                  <a:pt x="86" y="0"/>
                </a:lnTo>
                <a:lnTo>
                  <a:pt x="66" y="6"/>
                </a:lnTo>
                <a:lnTo>
                  <a:pt x="32" y="6"/>
                </a:lnTo>
                <a:lnTo>
                  <a:pt x="1" y="40"/>
                </a:lnTo>
                <a:lnTo>
                  <a:pt x="0" y="50"/>
                </a:lnTo>
                <a:lnTo>
                  <a:pt x="34" y="30"/>
                </a:lnTo>
                <a:lnTo>
                  <a:pt x="34" y="88"/>
                </a:lnTo>
                <a:lnTo>
                  <a:pt x="73" y="83"/>
                </a:lnTo>
                <a:lnTo>
                  <a:pt x="86" y="54"/>
                </a:lnTo>
                <a:lnTo>
                  <a:pt x="86" y="5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3" name="Freeform 38" descr="70%">
            <a:extLst>
              <a:ext uri="{FF2B5EF4-FFF2-40B4-BE49-F238E27FC236}">
                <a16:creationId xmlns:a16="http://schemas.microsoft.com/office/drawing/2014/main" id="{9AA6F1AB-A39E-4311-9B09-8666EDBC7AD2}"/>
              </a:ext>
            </a:extLst>
          </p:cNvPr>
          <p:cNvSpPr>
            <a:spLocks/>
          </p:cNvSpPr>
          <p:nvPr/>
        </p:nvSpPr>
        <p:spPr bwMode="auto">
          <a:xfrm rot="21249101">
            <a:off x="5528342" y="2887044"/>
            <a:ext cx="39503" cy="29492"/>
          </a:xfrm>
          <a:custGeom>
            <a:avLst/>
            <a:gdLst>
              <a:gd name="T0" fmla="*/ 2147483647 w 94"/>
              <a:gd name="T1" fmla="*/ 0 h 79"/>
              <a:gd name="T2" fmla="*/ 2147483647 w 94"/>
              <a:gd name="T3" fmla="*/ 2147483647 h 79"/>
              <a:gd name="T4" fmla="*/ 2147483647 w 94"/>
              <a:gd name="T5" fmla="*/ 2147483647 h 79"/>
              <a:gd name="T6" fmla="*/ 2147483647 w 94"/>
              <a:gd name="T7" fmla="*/ 2147483647 h 79"/>
              <a:gd name="T8" fmla="*/ 2147483647 w 94"/>
              <a:gd name="T9" fmla="*/ 2147483647 h 79"/>
              <a:gd name="T10" fmla="*/ 0 w 94"/>
              <a:gd name="T11" fmla="*/ 2147483647 h 79"/>
              <a:gd name="T12" fmla="*/ 2147483647 w 94"/>
              <a:gd name="T13" fmla="*/ 2147483647 h 79"/>
              <a:gd name="T14" fmla="*/ 2147483647 w 94"/>
              <a:gd name="T15" fmla="*/ 0 h 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4"/>
              <a:gd name="T25" fmla="*/ 0 h 79"/>
              <a:gd name="T26" fmla="*/ 94 w 94"/>
              <a:gd name="T27" fmla="*/ 79 h 7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4" h="79">
                <a:moveTo>
                  <a:pt x="94" y="0"/>
                </a:moveTo>
                <a:lnTo>
                  <a:pt x="60" y="11"/>
                </a:lnTo>
                <a:lnTo>
                  <a:pt x="44" y="25"/>
                </a:lnTo>
                <a:lnTo>
                  <a:pt x="35" y="42"/>
                </a:lnTo>
                <a:lnTo>
                  <a:pt x="9" y="58"/>
                </a:lnTo>
                <a:lnTo>
                  <a:pt x="0" y="77"/>
                </a:lnTo>
                <a:lnTo>
                  <a:pt x="21" y="79"/>
                </a:lnTo>
                <a:lnTo>
                  <a:pt x="94" y="0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4" name="Freeform 39" descr="70%">
            <a:extLst>
              <a:ext uri="{FF2B5EF4-FFF2-40B4-BE49-F238E27FC236}">
                <a16:creationId xmlns:a16="http://schemas.microsoft.com/office/drawing/2014/main" id="{CB1FFC2C-74CC-4FF5-BBDB-A974C2D1B001}"/>
              </a:ext>
            </a:extLst>
          </p:cNvPr>
          <p:cNvSpPr>
            <a:spLocks/>
          </p:cNvSpPr>
          <p:nvPr/>
        </p:nvSpPr>
        <p:spPr bwMode="auto">
          <a:xfrm rot="21249101">
            <a:off x="5528342" y="2887044"/>
            <a:ext cx="39503" cy="29492"/>
          </a:xfrm>
          <a:custGeom>
            <a:avLst/>
            <a:gdLst>
              <a:gd name="T0" fmla="*/ 2147483647 w 94"/>
              <a:gd name="T1" fmla="*/ 0 h 79"/>
              <a:gd name="T2" fmla="*/ 2147483647 w 94"/>
              <a:gd name="T3" fmla="*/ 2147483647 h 79"/>
              <a:gd name="T4" fmla="*/ 2147483647 w 94"/>
              <a:gd name="T5" fmla="*/ 2147483647 h 79"/>
              <a:gd name="T6" fmla="*/ 2147483647 w 94"/>
              <a:gd name="T7" fmla="*/ 2147483647 h 79"/>
              <a:gd name="T8" fmla="*/ 2147483647 w 94"/>
              <a:gd name="T9" fmla="*/ 2147483647 h 79"/>
              <a:gd name="T10" fmla="*/ 0 w 94"/>
              <a:gd name="T11" fmla="*/ 2147483647 h 79"/>
              <a:gd name="T12" fmla="*/ 2147483647 w 94"/>
              <a:gd name="T13" fmla="*/ 2147483647 h 79"/>
              <a:gd name="T14" fmla="*/ 2147483647 w 94"/>
              <a:gd name="T15" fmla="*/ 0 h 7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4"/>
              <a:gd name="T25" fmla="*/ 0 h 79"/>
              <a:gd name="T26" fmla="*/ 94 w 94"/>
              <a:gd name="T27" fmla="*/ 79 h 7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4" h="79">
                <a:moveTo>
                  <a:pt x="94" y="0"/>
                </a:moveTo>
                <a:lnTo>
                  <a:pt x="60" y="11"/>
                </a:lnTo>
                <a:lnTo>
                  <a:pt x="44" y="25"/>
                </a:lnTo>
                <a:lnTo>
                  <a:pt x="35" y="42"/>
                </a:lnTo>
                <a:lnTo>
                  <a:pt x="9" y="58"/>
                </a:lnTo>
                <a:lnTo>
                  <a:pt x="0" y="77"/>
                </a:lnTo>
                <a:lnTo>
                  <a:pt x="21" y="79"/>
                </a:lnTo>
                <a:lnTo>
                  <a:pt x="94" y="0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5" name="Freeform 40" descr="70%">
            <a:extLst>
              <a:ext uri="{FF2B5EF4-FFF2-40B4-BE49-F238E27FC236}">
                <a16:creationId xmlns:a16="http://schemas.microsoft.com/office/drawing/2014/main" id="{A3DF2B06-030B-4116-9F89-A563A08B545C}"/>
              </a:ext>
            </a:extLst>
          </p:cNvPr>
          <p:cNvSpPr>
            <a:spLocks/>
          </p:cNvSpPr>
          <p:nvPr/>
        </p:nvSpPr>
        <p:spPr bwMode="auto">
          <a:xfrm rot="21249101">
            <a:off x="5522954" y="2806758"/>
            <a:ext cx="55664" cy="49154"/>
          </a:xfrm>
          <a:custGeom>
            <a:avLst/>
            <a:gdLst>
              <a:gd name="T0" fmla="*/ 2147483647 w 129"/>
              <a:gd name="T1" fmla="*/ 2147483647 h 126"/>
              <a:gd name="T2" fmla="*/ 2147483647 w 129"/>
              <a:gd name="T3" fmla="*/ 2147483647 h 126"/>
              <a:gd name="T4" fmla="*/ 0 w 129"/>
              <a:gd name="T5" fmla="*/ 2147483647 h 126"/>
              <a:gd name="T6" fmla="*/ 2147483647 w 129"/>
              <a:gd name="T7" fmla="*/ 2147483647 h 126"/>
              <a:gd name="T8" fmla="*/ 2147483647 w 129"/>
              <a:gd name="T9" fmla="*/ 2147483647 h 126"/>
              <a:gd name="T10" fmla="*/ 2147483647 w 129"/>
              <a:gd name="T11" fmla="*/ 2147483647 h 126"/>
              <a:gd name="T12" fmla="*/ 2147483647 w 129"/>
              <a:gd name="T13" fmla="*/ 2147483647 h 126"/>
              <a:gd name="T14" fmla="*/ 2147483647 w 129"/>
              <a:gd name="T15" fmla="*/ 2147483647 h 126"/>
              <a:gd name="T16" fmla="*/ 2147483647 w 129"/>
              <a:gd name="T17" fmla="*/ 2147483647 h 126"/>
              <a:gd name="T18" fmla="*/ 2147483647 w 129"/>
              <a:gd name="T19" fmla="*/ 2147483647 h 126"/>
              <a:gd name="T20" fmla="*/ 2147483647 w 129"/>
              <a:gd name="T21" fmla="*/ 0 h 126"/>
              <a:gd name="T22" fmla="*/ 2147483647 w 129"/>
              <a:gd name="T23" fmla="*/ 2147483647 h 126"/>
              <a:gd name="T24" fmla="*/ 2147483647 w 129"/>
              <a:gd name="T25" fmla="*/ 2147483647 h 126"/>
              <a:gd name="T26" fmla="*/ 2147483647 w 129"/>
              <a:gd name="T27" fmla="*/ 2147483647 h 126"/>
              <a:gd name="T28" fmla="*/ 2147483647 w 129"/>
              <a:gd name="T29" fmla="*/ 2147483647 h 126"/>
              <a:gd name="T30" fmla="*/ 2147483647 w 129"/>
              <a:gd name="T31" fmla="*/ 2147483647 h 126"/>
              <a:gd name="T32" fmla="*/ 2147483647 w 129"/>
              <a:gd name="T33" fmla="*/ 2147483647 h 126"/>
              <a:gd name="T34" fmla="*/ 2147483647 w 129"/>
              <a:gd name="T35" fmla="*/ 2147483647 h 126"/>
              <a:gd name="T36" fmla="*/ 2147483647 w 129"/>
              <a:gd name="T37" fmla="*/ 2147483647 h 12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9"/>
              <a:gd name="T58" fmla="*/ 0 h 126"/>
              <a:gd name="T59" fmla="*/ 129 w 129"/>
              <a:gd name="T60" fmla="*/ 126 h 12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9" h="126">
                <a:moveTo>
                  <a:pt x="5" y="93"/>
                </a:moveTo>
                <a:lnTo>
                  <a:pt x="3" y="81"/>
                </a:lnTo>
                <a:lnTo>
                  <a:pt x="0" y="95"/>
                </a:lnTo>
                <a:lnTo>
                  <a:pt x="15" y="112"/>
                </a:lnTo>
                <a:lnTo>
                  <a:pt x="50" y="126"/>
                </a:lnTo>
                <a:lnTo>
                  <a:pt x="91" y="112"/>
                </a:lnTo>
                <a:lnTo>
                  <a:pt x="124" y="117"/>
                </a:lnTo>
                <a:lnTo>
                  <a:pt x="129" y="95"/>
                </a:lnTo>
                <a:lnTo>
                  <a:pt x="93" y="19"/>
                </a:lnTo>
                <a:lnTo>
                  <a:pt x="95" y="3"/>
                </a:lnTo>
                <a:lnTo>
                  <a:pt x="70" y="0"/>
                </a:lnTo>
                <a:lnTo>
                  <a:pt x="52" y="9"/>
                </a:lnTo>
                <a:lnTo>
                  <a:pt x="48" y="29"/>
                </a:lnTo>
                <a:lnTo>
                  <a:pt x="69" y="57"/>
                </a:lnTo>
                <a:lnTo>
                  <a:pt x="54" y="82"/>
                </a:lnTo>
                <a:lnTo>
                  <a:pt x="59" y="90"/>
                </a:lnTo>
                <a:lnTo>
                  <a:pt x="49" y="99"/>
                </a:lnTo>
                <a:lnTo>
                  <a:pt x="29" y="101"/>
                </a:lnTo>
                <a:lnTo>
                  <a:pt x="5" y="93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6" name="Freeform 41" descr="70%">
            <a:extLst>
              <a:ext uri="{FF2B5EF4-FFF2-40B4-BE49-F238E27FC236}">
                <a16:creationId xmlns:a16="http://schemas.microsoft.com/office/drawing/2014/main" id="{426F4EC4-4E66-46CE-9AA5-64B167D48DE6}"/>
              </a:ext>
            </a:extLst>
          </p:cNvPr>
          <p:cNvSpPr>
            <a:spLocks/>
          </p:cNvSpPr>
          <p:nvPr/>
        </p:nvSpPr>
        <p:spPr bwMode="auto">
          <a:xfrm rot="21249101">
            <a:off x="5522954" y="2806758"/>
            <a:ext cx="55664" cy="49154"/>
          </a:xfrm>
          <a:custGeom>
            <a:avLst/>
            <a:gdLst>
              <a:gd name="T0" fmla="*/ 2147483647 w 129"/>
              <a:gd name="T1" fmla="*/ 2147483647 h 126"/>
              <a:gd name="T2" fmla="*/ 2147483647 w 129"/>
              <a:gd name="T3" fmla="*/ 2147483647 h 126"/>
              <a:gd name="T4" fmla="*/ 0 w 129"/>
              <a:gd name="T5" fmla="*/ 2147483647 h 126"/>
              <a:gd name="T6" fmla="*/ 2147483647 w 129"/>
              <a:gd name="T7" fmla="*/ 2147483647 h 126"/>
              <a:gd name="T8" fmla="*/ 2147483647 w 129"/>
              <a:gd name="T9" fmla="*/ 2147483647 h 126"/>
              <a:gd name="T10" fmla="*/ 2147483647 w 129"/>
              <a:gd name="T11" fmla="*/ 2147483647 h 126"/>
              <a:gd name="T12" fmla="*/ 2147483647 w 129"/>
              <a:gd name="T13" fmla="*/ 2147483647 h 126"/>
              <a:gd name="T14" fmla="*/ 2147483647 w 129"/>
              <a:gd name="T15" fmla="*/ 2147483647 h 126"/>
              <a:gd name="T16" fmla="*/ 2147483647 w 129"/>
              <a:gd name="T17" fmla="*/ 2147483647 h 126"/>
              <a:gd name="T18" fmla="*/ 2147483647 w 129"/>
              <a:gd name="T19" fmla="*/ 2147483647 h 126"/>
              <a:gd name="T20" fmla="*/ 2147483647 w 129"/>
              <a:gd name="T21" fmla="*/ 0 h 126"/>
              <a:gd name="T22" fmla="*/ 2147483647 w 129"/>
              <a:gd name="T23" fmla="*/ 2147483647 h 126"/>
              <a:gd name="T24" fmla="*/ 2147483647 w 129"/>
              <a:gd name="T25" fmla="*/ 2147483647 h 126"/>
              <a:gd name="T26" fmla="*/ 2147483647 w 129"/>
              <a:gd name="T27" fmla="*/ 2147483647 h 126"/>
              <a:gd name="T28" fmla="*/ 2147483647 w 129"/>
              <a:gd name="T29" fmla="*/ 2147483647 h 126"/>
              <a:gd name="T30" fmla="*/ 2147483647 w 129"/>
              <a:gd name="T31" fmla="*/ 2147483647 h 126"/>
              <a:gd name="T32" fmla="*/ 2147483647 w 129"/>
              <a:gd name="T33" fmla="*/ 2147483647 h 126"/>
              <a:gd name="T34" fmla="*/ 2147483647 w 129"/>
              <a:gd name="T35" fmla="*/ 2147483647 h 126"/>
              <a:gd name="T36" fmla="*/ 2147483647 w 129"/>
              <a:gd name="T37" fmla="*/ 2147483647 h 12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9"/>
              <a:gd name="T58" fmla="*/ 0 h 126"/>
              <a:gd name="T59" fmla="*/ 129 w 129"/>
              <a:gd name="T60" fmla="*/ 126 h 12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9" h="126">
                <a:moveTo>
                  <a:pt x="5" y="93"/>
                </a:moveTo>
                <a:lnTo>
                  <a:pt x="3" y="81"/>
                </a:lnTo>
                <a:lnTo>
                  <a:pt x="0" y="95"/>
                </a:lnTo>
                <a:lnTo>
                  <a:pt x="15" y="112"/>
                </a:lnTo>
                <a:lnTo>
                  <a:pt x="50" y="126"/>
                </a:lnTo>
                <a:lnTo>
                  <a:pt x="91" y="112"/>
                </a:lnTo>
                <a:lnTo>
                  <a:pt x="124" y="117"/>
                </a:lnTo>
                <a:lnTo>
                  <a:pt x="129" y="95"/>
                </a:lnTo>
                <a:lnTo>
                  <a:pt x="93" y="19"/>
                </a:lnTo>
                <a:lnTo>
                  <a:pt x="95" y="3"/>
                </a:lnTo>
                <a:lnTo>
                  <a:pt x="70" y="0"/>
                </a:lnTo>
                <a:lnTo>
                  <a:pt x="52" y="9"/>
                </a:lnTo>
                <a:lnTo>
                  <a:pt x="48" y="29"/>
                </a:lnTo>
                <a:lnTo>
                  <a:pt x="69" y="57"/>
                </a:lnTo>
                <a:lnTo>
                  <a:pt x="54" y="82"/>
                </a:lnTo>
                <a:lnTo>
                  <a:pt x="59" y="90"/>
                </a:lnTo>
                <a:lnTo>
                  <a:pt x="49" y="99"/>
                </a:lnTo>
                <a:lnTo>
                  <a:pt x="29" y="101"/>
                </a:lnTo>
                <a:lnTo>
                  <a:pt x="5" y="93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7" name="Freeform 42" descr="70%">
            <a:extLst>
              <a:ext uri="{FF2B5EF4-FFF2-40B4-BE49-F238E27FC236}">
                <a16:creationId xmlns:a16="http://schemas.microsoft.com/office/drawing/2014/main" id="{A8771A33-5B0A-4B07-9687-D2F0B4FB0FC8}"/>
              </a:ext>
            </a:extLst>
          </p:cNvPr>
          <p:cNvSpPr>
            <a:spLocks/>
          </p:cNvSpPr>
          <p:nvPr/>
        </p:nvSpPr>
        <p:spPr bwMode="auto">
          <a:xfrm rot="21249101">
            <a:off x="5544501" y="2656017"/>
            <a:ext cx="66437" cy="95032"/>
          </a:xfrm>
          <a:custGeom>
            <a:avLst/>
            <a:gdLst>
              <a:gd name="T0" fmla="*/ 2147483647 w 157"/>
              <a:gd name="T1" fmla="*/ 2147483647 h 245"/>
              <a:gd name="T2" fmla="*/ 2147483647 w 157"/>
              <a:gd name="T3" fmla="*/ 0 h 245"/>
              <a:gd name="T4" fmla="*/ 2147483647 w 157"/>
              <a:gd name="T5" fmla="*/ 2147483647 h 245"/>
              <a:gd name="T6" fmla="*/ 2147483647 w 157"/>
              <a:gd name="T7" fmla="*/ 2147483647 h 245"/>
              <a:gd name="T8" fmla="*/ 2147483647 w 157"/>
              <a:gd name="T9" fmla="*/ 2147483647 h 245"/>
              <a:gd name="T10" fmla="*/ 0 w 157"/>
              <a:gd name="T11" fmla="*/ 2147483647 h 245"/>
              <a:gd name="T12" fmla="*/ 2147483647 w 157"/>
              <a:gd name="T13" fmla="*/ 2147483647 h 245"/>
              <a:gd name="T14" fmla="*/ 2147483647 w 157"/>
              <a:gd name="T15" fmla="*/ 2147483647 h 245"/>
              <a:gd name="T16" fmla="*/ 2147483647 w 157"/>
              <a:gd name="T17" fmla="*/ 2147483647 h 245"/>
              <a:gd name="T18" fmla="*/ 2147483647 w 157"/>
              <a:gd name="T19" fmla="*/ 2147483647 h 245"/>
              <a:gd name="T20" fmla="*/ 2147483647 w 157"/>
              <a:gd name="T21" fmla="*/ 2147483647 h 245"/>
              <a:gd name="T22" fmla="*/ 2147483647 w 157"/>
              <a:gd name="T23" fmla="*/ 2147483647 h 245"/>
              <a:gd name="T24" fmla="*/ 2147483647 w 157"/>
              <a:gd name="T25" fmla="*/ 2147483647 h 245"/>
              <a:gd name="T26" fmla="*/ 2147483647 w 157"/>
              <a:gd name="T27" fmla="*/ 2147483647 h 245"/>
              <a:gd name="T28" fmla="*/ 2147483647 w 157"/>
              <a:gd name="T29" fmla="*/ 2147483647 h 245"/>
              <a:gd name="T30" fmla="*/ 2147483647 w 157"/>
              <a:gd name="T31" fmla="*/ 2147483647 h 245"/>
              <a:gd name="T32" fmla="*/ 2147483647 w 157"/>
              <a:gd name="T33" fmla="*/ 2147483647 h 245"/>
              <a:gd name="T34" fmla="*/ 2147483647 w 157"/>
              <a:gd name="T35" fmla="*/ 2147483647 h 245"/>
              <a:gd name="T36" fmla="*/ 2147483647 w 157"/>
              <a:gd name="T37" fmla="*/ 2147483647 h 245"/>
              <a:gd name="T38" fmla="*/ 2147483647 w 157"/>
              <a:gd name="T39" fmla="*/ 2147483647 h 245"/>
              <a:gd name="T40" fmla="*/ 2147483647 w 157"/>
              <a:gd name="T41" fmla="*/ 2147483647 h 2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57"/>
              <a:gd name="T64" fmla="*/ 0 h 245"/>
              <a:gd name="T65" fmla="*/ 157 w 157"/>
              <a:gd name="T66" fmla="*/ 245 h 24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57" h="245">
                <a:moveTo>
                  <a:pt x="109" y="5"/>
                </a:moveTo>
                <a:lnTo>
                  <a:pt x="104" y="0"/>
                </a:lnTo>
                <a:lnTo>
                  <a:pt x="66" y="67"/>
                </a:lnTo>
                <a:lnTo>
                  <a:pt x="51" y="31"/>
                </a:lnTo>
                <a:lnTo>
                  <a:pt x="20" y="49"/>
                </a:lnTo>
                <a:lnTo>
                  <a:pt x="0" y="77"/>
                </a:lnTo>
                <a:lnTo>
                  <a:pt x="9" y="92"/>
                </a:lnTo>
                <a:lnTo>
                  <a:pt x="34" y="102"/>
                </a:lnTo>
                <a:lnTo>
                  <a:pt x="33" y="147"/>
                </a:lnTo>
                <a:lnTo>
                  <a:pt x="43" y="172"/>
                </a:lnTo>
                <a:lnTo>
                  <a:pt x="36" y="191"/>
                </a:lnTo>
                <a:lnTo>
                  <a:pt x="106" y="209"/>
                </a:lnTo>
                <a:lnTo>
                  <a:pt x="95" y="245"/>
                </a:lnTo>
                <a:lnTo>
                  <a:pt x="118" y="245"/>
                </a:lnTo>
                <a:lnTo>
                  <a:pt x="157" y="203"/>
                </a:lnTo>
                <a:lnTo>
                  <a:pt x="115" y="180"/>
                </a:lnTo>
                <a:lnTo>
                  <a:pt x="108" y="163"/>
                </a:lnTo>
                <a:lnTo>
                  <a:pt x="121" y="128"/>
                </a:lnTo>
                <a:lnTo>
                  <a:pt x="109" y="86"/>
                </a:lnTo>
                <a:lnTo>
                  <a:pt x="121" y="39"/>
                </a:lnTo>
                <a:lnTo>
                  <a:pt x="109" y="5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8" name="Freeform 43" descr="70%">
            <a:extLst>
              <a:ext uri="{FF2B5EF4-FFF2-40B4-BE49-F238E27FC236}">
                <a16:creationId xmlns:a16="http://schemas.microsoft.com/office/drawing/2014/main" id="{EDF20CBA-8077-4E67-ABA7-1D3EFAE93886}"/>
              </a:ext>
            </a:extLst>
          </p:cNvPr>
          <p:cNvSpPr>
            <a:spLocks/>
          </p:cNvSpPr>
          <p:nvPr/>
        </p:nvSpPr>
        <p:spPr bwMode="auto">
          <a:xfrm rot="21249101">
            <a:off x="5544501" y="2656017"/>
            <a:ext cx="66437" cy="95032"/>
          </a:xfrm>
          <a:custGeom>
            <a:avLst/>
            <a:gdLst>
              <a:gd name="T0" fmla="*/ 2147483647 w 157"/>
              <a:gd name="T1" fmla="*/ 2147483647 h 245"/>
              <a:gd name="T2" fmla="*/ 2147483647 w 157"/>
              <a:gd name="T3" fmla="*/ 0 h 245"/>
              <a:gd name="T4" fmla="*/ 2147483647 w 157"/>
              <a:gd name="T5" fmla="*/ 2147483647 h 245"/>
              <a:gd name="T6" fmla="*/ 2147483647 w 157"/>
              <a:gd name="T7" fmla="*/ 2147483647 h 245"/>
              <a:gd name="T8" fmla="*/ 2147483647 w 157"/>
              <a:gd name="T9" fmla="*/ 2147483647 h 245"/>
              <a:gd name="T10" fmla="*/ 0 w 157"/>
              <a:gd name="T11" fmla="*/ 2147483647 h 245"/>
              <a:gd name="T12" fmla="*/ 2147483647 w 157"/>
              <a:gd name="T13" fmla="*/ 2147483647 h 245"/>
              <a:gd name="T14" fmla="*/ 2147483647 w 157"/>
              <a:gd name="T15" fmla="*/ 2147483647 h 245"/>
              <a:gd name="T16" fmla="*/ 2147483647 w 157"/>
              <a:gd name="T17" fmla="*/ 2147483647 h 245"/>
              <a:gd name="T18" fmla="*/ 2147483647 w 157"/>
              <a:gd name="T19" fmla="*/ 2147483647 h 245"/>
              <a:gd name="T20" fmla="*/ 2147483647 w 157"/>
              <a:gd name="T21" fmla="*/ 2147483647 h 245"/>
              <a:gd name="T22" fmla="*/ 2147483647 w 157"/>
              <a:gd name="T23" fmla="*/ 2147483647 h 245"/>
              <a:gd name="T24" fmla="*/ 2147483647 w 157"/>
              <a:gd name="T25" fmla="*/ 2147483647 h 245"/>
              <a:gd name="T26" fmla="*/ 2147483647 w 157"/>
              <a:gd name="T27" fmla="*/ 2147483647 h 245"/>
              <a:gd name="T28" fmla="*/ 2147483647 w 157"/>
              <a:gd name="T29" fmla="*/ 2147483647 h 245"/>
              <a:gd name="T30" fmla="*/ 2147483647 w 157"/>
              <a:gd name="T31" fmla="*/ 2147483647 h 245"/>
              <a:gd name="T32" fmla="*/ 2147483647 w 157"/>
              <a:gd name="T33" fmla="*/ 2147483647 h 245"/>
              <a:gd name="T34" fmla="*/ 2147483647 w 157"/>
              <a:gd name="T35" fmla="*/ 2147483647 h 245"/>
              <a:gd name="T36" fmla="*/ 2147483647 w 157"/>
              <a:gd name="T37" fmla="*/ 2147483647 h 245"/>
              <a:gd name="T38" fmla="*/ 2147483647 w 157"/>
              <a:gd name="T39" fmla="*/ 2147483647 h 245"/>
              <a:gd name="T40" fmla="*/ 2147483647 w 157"/>
              <a:gd name="T41" fmla="*/ 2147483647 h 24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57"/>
              <a:gd name="T64" fmla="*/ 0 h 245"/>
              <a:gd name="T65" fmla="*/ 157 w 157"/>
              <a:gd name="T66" fmla="*/ 245 h 24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57" h="245">
                <a:moveTo>
                  <a:pt x="109" y="5"/>
                </a:moveTo>
                <a:lnTo>
                  <a:pt x="104" y="0"/>
                </a:lnTo>
                <a:lnTo>
                  <a:pt x="66" y="67"/>
                </a:lnTo>
                <a:lnTo>
                  <a:pt x="51" y="31"/>
                </a:lnTo>
                <a:lnTo>
                  <a:pt x="20" y="49"/>
                </a:lnTo>
                <a:lnTo>
                  <a:pt x="0" y="77"/>
                </a:lnTo>
                <a:lnTo>
                  <a:pt x="9" y="92"/>
                </a:lnTo>
                <a:lnTo>
                  <a:pt x="34" y="102"/>
                </a:lnTo>
                <a:lnTo>
                  <a:pt x="33" y="147"/>
                </a:lnTo>
                <a:lnTo>
                  <a:pt x="43" y="172"/>
                </a:lnTo>
                <a:lnTo>
                  <a:pt x="36" y="191"/>
                </a:lnTo>
                <a:lnTo>
                  <a:pt x="106" y="209"/>
                </a:lnTo>
                <a:lnTo>
                  <a:pt x="95" y="245"/>
                </a:lnTo>
                <a:lnTo>
                  <a:pt x="118" y="245"/>
                </a:lnTo>
                <a:lnTo>
                  <a:pt x="157" y="203"/>
                </a:lnTo>
                <a:lnTo>
                  <a:pt x="115" y="180"/>
                </a:lnTo>
                <a:lnTo>
                  <a:pt x="108" y="163"/>
                </a:lnTo>
                <a:lnTo>
                  <a:pt x="121" y="128"/>
                </a:lnTo>
                <a:lnTo>
                  <a:pt x="109" y="86"/>
                </a:lnTo>
                <a:lnTo>
                  <a:pt x="121" y="39"/>
                </a:lnTo>
                <a:lnTo>
                  <a:pt x="109" y="5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59" name="Freeform 44" descr="Large grid">
            <a:extLst>
              <a:ext uri="{FF2B5EF4-FFF2-40B4-BE49-F238E27FC236}">
                <a16:creationId xmlns:a16="http://schemas.microsoft.com/office/drawing/2014/main" id="{5A8C8366-AC21-44C6-BF51-FB676FBECF14}"/>
              </a:ext>
            </a:extLst>
          </p:cNvPr>
          <p:cNvSpPr>
            <a:spLocks/>
          </p:cNvSpPr>
          <p:nvPr/>
        </p:nvSpPr>
        <p:spPr bwMode="auto">
          <a:xfrm rot="21249101">
            <a:off x="7021641" y="1486215"/>
            <a:ext cx="133142" cy="103165"/>
          </a:xfrm>
          <a:custGeom>
            <a:avLst/>
            <a:gdLst>
              <a:gd name="T0" fmla="*/ 2147483647 w 322"/>
              <a:gd name="T1" fmla="*/ 2147483647 h 267"/>
              <a:gd name="T2" fmla="*/ 2147483647 w 322"/>
              <a:gd name="T3" fmla="*/ 0 h 267"/>
              <a:gd name="T4" fmla="*/ 2147483647 w 322"/>
              <a:gd name="T5" fmla="*/ 2147483647 h 267"/>
              <a:gd name="T6" fmla="*/ 2147483647 w 322"/>
              <a:gd name="T7" fmla="*/ 2147483647 h 267"/>
              <a:gd name="T8" fmla="*/ 2147483647 w 322"/>
              <a:gd name="T9" fmla="*/ 2147483647 h 267"/>
              <a:gd name="T10" fmla="*/ 2147483647 w 322"/>
              <a:gd name="T11" fmla="*/ 2147483647 h 267"/>
              <a:gd name="T12" fmla="*/ 2147483647 w 322"/>
              <a:gd name="T13" fmla="*/ 2147483647 h 267"/>
              <a:gd name="T14" fmla="*/ 2147483647 w 322"/>
              <a:gd name="T15" fmla="*/ 2147483647 h 267"/>
              <a:gd name="T16" fmla="*/ 2147483647 w 322"/>
              <a:gd name="T17" fmla="*/ 2147483647 h 267"/>
              <a:gd name="T18" fmla="*/ 2147483647 w 322"/>
              <a:gd name="T19" fmla="*/ 2147483647 h 267"/>
              <a:gd name="T20" fmla="*/ 2147483647 w 322"/>
              <a:gd name="T21" fmla="*/ 2147483647 h 267"/>
              <a:gd name="T22" fmla="*/ 2147483647 w 322"/>
              <a:gd name="T23" fmla="*/ 2147483647 h 267"/>
              <a:gd name="T24" fmla="*/ 2147483647 w 322"/>
              <a:gd name="T25" fmla="*/ 2147483647 h 267"/>
              <a:gd name="T26" fmla="*/ 2147483647 w 322"/>
              <a:gd name="T27" fmla="*/ 2147483647 h 267"/>
              <a:gd name="T28" fmla="*/ 2147483647 w 322"/>
              <a:gd name="T29" fmla="*/ 2147483647 h 267"/>
              <a:gd name="T30" fmla="*/ 2147483647 w 322"/>
              <a:gd name="T31" fmla="*/ 2147483647 h 267"/>
              <a:gd name="T32" fmla="*/ 2147483647 w 322"/>
              <a:gd name="T33" fmla="*/ 2147483647 h 267"/>
              <a:gd name="T34" fmla="*/ 2147483647 w 322"/>
              <a:gd name="T35" fmla="*/ 2147483647 h 267"/>
              <a:gd name="T36" fmla="*/ 2147483647 w 322"/>
              <a:gd name="T37" fmla="*/ 2147483647 h 267"/>
              <a:gd name="T38" fmla="*/ 2147483647 w 322"/>
              <a:gd name="T39" fmla="*/ 2147483647 h 267"/>
              <a:gd name="T40" fmla="*/ 2147483647 w 322"/>
              <a:gd name="T41" fmla="*/ 2147483647 h 267"/>
              <a:gd name="T42" fmla="*/ 2147483647 w 322"/>
              <a:gd name="T43" fmla="*/ 2147483647 h 267"/>
              <a:gd name="T44" fmla="*/ 2147483647 w 322"/>
              <a:gd name="T45" fmla="*/ 2147483647 h 267"/>
              <a:gd name="T46" fmla="*/ 2147483647 w 322"/>
              <a:gd name="T47" fmla="*/ 2147483647 h 267"/>
              <a:gd name="T48" fmla="*/ 2147483647 w 322"/>
              <a:gd name="T49" fmla="*/ 2147483647 h 267"/>
              <a:gd name="T50" fmla="*/ 2147483647 w 322"/>
              <a:gd name="T51" fmla="*/ 2147483647 h 267"/>
              <a:gd name="T52" fmla="*/ 2147483647 w 322"/>
              <a:gd name="T53" fmla="*/ 2147483647 h 267"/>
              <a:gd name="T54" fmla="*/ 2147483647 w 322"/>
              <a:gd name="T55" fmla="*/ 2147483647 h 267"/>
              <a:gd name="T56" fmla="*/ 2147483647 w 322"/>
              <a:gd name="T57" fmla="*/ 2147483647 h 267"/>
              <a:gd name="T58" fmla="*/ 2147483647 w 322"/>
              <a:gd name="T59" fmla="*/ 2147483647 h 267"/>
              <a:gd name="T60" fmla="*/ 2147483647 w 322"/>
              <a:gd name="T61" fmla="*/ 2147483647 h 267"/>
              <a:gd name="T62" fmla="*/ 2147483647 w 322"/>
              <a:gd name="T63" fmla="*/ 2147483647 h 267"/>
              <a:gd name="T64" fmla="*/ 2147483647 w 322"/>
              <a:gd name="T65" fmla="*/ 2147483647 h 267"/>
              <a:gd name="T66" fmla="*/ 2147483647 w 322"/>
              <a:gd name="T67" fmla="*/ 2147483647 h 267"/>
              <a:gd name="T68" fmla="*/ 0 w 322"/>
              <a:gd name="T69" fmla="*/ 2147483647 h 267"/>
              <a:gd name="T70" fmla="*/ 2147483647 w 322"/>
              <a:gd name="T71" fmla="*/ 2147483647 h 267"/>
              <a:gd name="T72" fmla="*/ 2147483647 w 322"/>
              <a:gd name="T73" fmla="*/ 2147483647 h 267"/>
              <a:gd name="T74" fmla="*/ 2147483647 w 322"/>
              <a:gd name="T75" fmla="*/ 2147483647 h 267"/>
              <a:gd name="T76" fmla="*/ 2147483647 w 322"/>
              <a:gd name="T77" fmla="*/ 2147483647 h 267"/>
              <a:gd name="T78" fmla="*/ 2147483647 w 322"/>
              <a:gd name="T79" fmla="*/ 2147483647 h 267"/>
              <a:gd name="T80" fmla="*/ 2147483647 w 322"/>
              <a:gd name="T81" fmla="*/ 2147483647 h 267"/>
              <a:gd name="T82" fmla="*/ 2147483647 w 322"/>
              <a:gd name="T83" fmla="*/ 2147483647 h 267"/>
              <a:gd name="T84" fmla="*/ 2147483647 w 322"/>
              <a:gd name="T85" fmla="*/ 2147483647 h 267"/>
              <a:gd name="T86" fmla="*/ 2147483647 w 322"/>
              <a:gd name="T87" fmla="*/ 2147483647 h 267"/>
              <a:gd name="T88" fmla="*/ 2147483647 w 322"/>
              <a:gd name="T89" fmla="*/ 2147483647 h 267"/>
              <a:gd name="T90" fmla="*/ 2147483647 w 322"/>
              <a:gd name="T91" fmla="*/ 2147483647 h 267"/>
              <a:gd name="T92" fmla="*/ 2147483647 w 322"/>
              <a:gd name="T93" fmla="*/ 2147483647 h 267"/>
              <a:gd name="T94" fmla="*/ 2147483647 w 322"/>
              <a:gd name="T95" fmla="*/ 2147483647 h 267"/>
              <a:gd name="T96" fmla="*/ 2147483647 w 322"/>
              <a:gd name="T97" fmla="*/ 2147483647 h 2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2"/>
              <a:gd name="T148" fmla="*/ 0 h 267"/>
              <a:gd name="T149" fmla="*/ 322 w 322"/>
              <a:gd name="T150" fmla="*/ 267 h 2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2" h="267">
                <a:moveTo>
                  <a:pt x="205" y="6"/>
                </a:moveTo>
                <a:lnTo>
                  <a:pt x="224" y="0"/>
                </a:lnTo>
                <a:lnTo>
                  <a:pt x="233" y="42"/>
                </a:lnTo>
                <a:lnTo>
                  <a:pt x="225" y="63"/>
                </a:lnTo>
                <a:lnTo>
                  <a:pt x="232" y="58"/>
                </a:lnTo>
                <a:lnTo>
                  <a:pt x="237" y="77"/>
                </a:lnTo>
                <a:lnTo>
                  <a:pt x="213" y="132"/>
                </a:lnTo>
                <a:lnTo>
                  <a:pt x="220" y="123"/>
                </a:lnTo>
                <a:lnTo>
                  <a:pt x="238" y="113"/>
                </a:lnTo>
                <a:lnTo>
                  <a:pt x="251" y="78"/>
                </a:lnTo>
                <a:lnTo>
                  <a:pt x="273" y="74"/>
                </a:lnTo>
                <a:lnTo>
                  <a:pt x="270" y="58"/>
                </a:lnTo>
                <a:lnTo>
                  <a:pt x="281" y="32"/>
                </a:lnTo>
                <a:lnTo>
                  <a:pt x="303" y="45"/>
                </a:lnTo>
                <a:lnTo>
                  <a:pt x="321" y="70"/>
                </a:lnTo>
                <a:lnTo>
                  <a:pt x="322" y="102"/>
                </a:lnTo>
                <a:lnTo>
                  <a:pt x="315" y="125"/>
                </a:lnTo>
                <a:lnTo>
                  <a:pt x="301" y="142"/>
                </a:lnTo>
                <a:lnTo>
                  <a:pt x="274" y="148"/>
                </a:lnTo>
                <a:lnTo>
                  <a:pt x="254" y="166"/>
                </a:lnTo>
                <a:lnTo>
                  <a:pt x="242" y="192"/>
                </a:lnTo>
                <a:lnTo>
                  <a:pt x="232" y="169"/>
                </a:lnTo>
                <a:lnTo>
                  <a:pt x="199" y="202"/>
                </a:lnTo>
                <a:lnTo>
                  <a:pt x="198" y="218"/>
                </a:lnTo>
                <a:lnTo>
                  <a:pt x="186" y="231"/>
                </a:lnTo>
                <a:lnTo>
                  <a:pt x="176" y="211"/>
                </a:lnTo>
                <a:lnTo>
                  <a:pt x="173" y="187"/>
                </a:lnTo>
                <a:lnTo>
                  <a:pt x="179" y="173"/>
                </a:lnTo>
                <a:lnTo>
                  <a:pt x="128" y="228"/>
                </a:lnTo>
                <a:lnTo>
                  <a:pt x="77" y="260"/>
                </a:lnTo>
                <a:lnTo>
                  <a:pt x="82" y="236"/>
                </a:lnTo>
                <a:lnTo>
                  <a:pt x="65" y="234"/>
                </a:lnTo>
                <a:lnTo>
                  <a:pt x="48" y="254"/>
                </a:lnTo>
                <a:lnTo>
                  <a:pt x="3" y="267"/>
                </a:lnTo>
                <a:lnTo>
                  <a:pt x="0" y="255"/>
                </a:lnTo>
                <a:lnTo>
                  <a:pt x="4" y="222"/>
                </a:lnTo>
                <a:lnTo>
                  <a:pt x="19" y="215"/>
                </a:lnTo>
                <a:lnTo>
                  <a:pt x="29" y="199"/>
                </a:lnTo>
                <a:lnTo>
                  <a:pt x="45" y="202"/>
                </a:lnTo>
                <a:lnTo>
                  <a:pt x="68" y="190"/>
                </a:lnTo>
                <a:lnTo>
                  <a:pt x="79" y="193"/>
                </a:lnTo>
                <a:lnTo>
                  <a:pt x="92" y="177"/>
                </a:lnTo>
                <a:lnTo>
                  <a:pt x="142" y="162"/>
                </a:lnTo>
                <a:lnTo>
                  <a:pt x="139" y="145"/>
                </a:lnTo>
                <a:lnTo>
                  <a:pt x="172" y="114"/>
                </a:lnTo>
                <a:lnTo>
                  <a:pt x="174" y="88"/>
                </a:lnTo>
                <a:lnTo>
                  <a:pt x="185" y="81"/>
                </a:lnTo>
                <a:lnTo>
                  <a:pt x="193" y="31"/>
                </a:lnTo>
                <a:lnTo>
                  <a:pt x="205" y="6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60" name="Freeform 45" descr="Large grid">
            <a:extLst>
              <a:ext uri="{FF2B5EF4-FFF2-40B4-BE49-F238E27FC236}">
                <a16:creationId xmlns:a16="http://schemas.microsoft.com/office/drawing/2014/main" id="{E303AB09-BC5D-4FEE-9023-5BEB866047BC}"/>
              </a:ext>
            </a:extLst>
          </p:cNvPr>
          <p:cNvSpPr>
            <a:spLocks/>
          </p:cNvSpPr>
          <p:nvPr/>
        </p:nvSpPr>
        <p:spPr bwMode="auto">
          <a:xfrm rot="21249101">
            <a:off x="7021641" y="1486215"/>
            <a:ext cx="133142" cy="103165"/>
          </a:xfrm>
          <a:custGeom>
            <a:avLst/>
            <a:gdLst>
              <a:gd name="T0" fmla="*/ 2147483647 w 322"/>
              <a:gd name="T1" fmla="*/ 2147483647 h 267"/>
              <a:gd name="T2" fmla="*/ 2147483647 w 322"/>
              <a:gd name="T3" fmla="*/ 0 h 267"/>
              <a:gd name="T4" fmla="*/ 2147483647 w 322"/>
              <a:gd name="T5" fmla="*/ 2147483647 h 267"/>
              <a:gd name="T6" fmla="*/ 2147483647 w 322"/>
              <a:gd name="T7" fmla="*/ 2147483647 h 267"/>
              <a:gd name="T8" fmla="*/ 2147483647 w 322"/>
              <a:gd name="T9" fmla="*/ 2147483647 h 267"/>
              <a:gd name="T10" fmla="*/ 2147483647 w 322"/>
              <a:gd name="T11" fmla="*/ 2147483647 h 267"/>
              <a:gd name="T12" fmla="*/ 2147483647 w 322"/>
              <a:gd name="T13" fmla="*/ 2147483647 h 267"/>
              <a:gd name="T14" fmla="*/ 2147483647 w 322"/>
              <a:gd name="T15" fmla="*/ 2147483647 h 267"/>
              <a:gd name="T16" fmla="*/ 2147483647 w 322"/>
              <a:gd name="T17" fmla="*/ 2147483647 h 267"/>
              <a:gd name="T18" fmla="*/ 2147483647 w 322"/>
              <a:gd name="T19" fmla="*/ 2147483647 h 267"/>
              <a:gd name="T20" fmla="*/ 2147483647 w 322"/>
              <a:gd name="T21" fmla="*/ 2147483647 h 267"/>
              <a:gd name="T22" fmla="*/ 2147483647 w 322"/>
              <a:gd name="T23" fmla="*/ 2147483647 h 267"/>
              <a:gd name="T24" fmla="*/ 2147483647 w 322"/>
              <a:gd name="T25" fmla="*/ 2147483647 h 267"/>
              <a:gd name="T26" fmla="*/ 2147483647 w 322"/>
              <a:gd name="T27" fmla="*/ 2147483647 h 267"/>
              <a:gd name="T28" fmla="*/ 2147483647 w 322"/>
              <a:gd name="T29" fmla="*/ 2147483647 h 267"/>
              <a:gd name="T30" fmla="*/ 2147483647 w 322"/>
              <a:gd name="T31" fmla="*/ 2147483647 h 267"/>
              <a:gd name="T32" fmla="*/ 2147483647 w 322"/>
              <a:gd name="T33" fmla="*/ 2147483647 h 267"/>
              <a:gd name="T34" fmla="*/ 2147483647 w 322"/>
              <a:gd name="T35" fmla="*/ 2147483647 h 267"/>
              <a:gd name="T36" fmla="*/ 2147483647 w 322"/>
              <a:gd name="T37" fmla="*/ 2147483647 h 267"/>
              <a:gd name="T38" fmla="*/ 2147483647 w 322"/>
              <a:gd name="T39" fmla="*/ 2147483647 h 267"/>
              <a:gd name="T40" fmla="*/ 2147483647 w 322"/>
              <a:gd name="T41" fmla="*/ 2147483647 h 267"/>
              <a:gd name="T42" fmla="*/ 2147483647 w 322"/>
              <a:gd name="T43" fmla="*/ 2147483647 h 267"/>
              <a:gd name="T44" fmla="*/ 2147483647 w 322"/>
              <a:gd name="T45" fmla="*/ 2147483647 h 267"/>
              <a:gd name="T46" fmla="*/ 2147483647 w 322"/>
              <a:gd name="T47" fmla="*/ 2147483647 h 267"/>
              <a:gd name="T48" fmla="*/ 2147483647 w 322"/>
              <a:gd name="T49" fmla="*/ 2147483647 h 267"/>
              <a:gd name="T50" fmla="*/ 2147483647 w 322"/>
              <a:gd name="T51" fmla="*/ 2147483647 h 267"/>
              <a:gd name="T52" fmla="*/ 2147483647 w 322"/>
              <a:gd name="T53" fmla="*/ 2147483647 h 267"/>
              <a:gd name="T54" fmla="*/ 2147483647 w 322"/>
              <a:gd name="T55" fmla="*/ 2147483647 h 267"/>
              <a:gd name="T56" fmla="*/ 2147483647 w 322"/>
              <a:gd name="T57" fmla="*/ 2147483647 h 267"/>
              <a:gd name="T58" fmla="*/ 2147483647 w 322"/>
              <a:gd name="T59" fmla="*/ 2147483647 h 267"/>
              <a:gd name="T60" fmla="*/ 2147483647 w 322"/>
              <a:gd name="T61" fmla="*/ 2147483647 h 267"/>
              <a:gd name="T62" fmla="*/ 2147483647 w 322"/>
              <a:gd name="T63" fmla="*/ 2147483647 h 267"/>
              <a:gd name="T64" fmla="*/ 2147483647 w 322"/>
              <a:gd name="T65" fmla="*/ 2147483647 h 267"/>
              <a:gd name="T66" fmla="*/ 2147483647 w 322"/>
              <a:gd name="T67" fmla="*/ 2147483647 h 267"/>
              <a:gd name="T68" fmla="*/ 0 w 322"/>
              <a:gd name="T69" fmla="*/ 2147483647 h 267"/>
              <a:gd name="T70" fmla="*/ 2147483647 w 322"/>
              <a:gd name="T71" fmla="*/ 2147483647 h 267"/>
              <a:gd name="T72" fmla="*/ 2147483647 w 322"/>
              <a:gd name="T73" fmla="*/ 2147483647 h 267"/>
              <a:gd name="T74" fmla="*/ 2147483647 w 322"/>
              <a:gd name="T75" fmla="*/ 2147483647 h 267"/>
              <a:gd name="T76" fmla="*/ 2147483647 w 322"/>
              <a:gd name="T77" fmla="*/ 2147483647 h 267"/>
              <a:gd name="T78" fmla="*/ 2147483647 w 322"/>
              <a:gd name="T79" fmla="*/ 2147483647 h 267"/>
              <a:gd name="T80" fmla="*/ 2147483647 w 322"/>
              <a:gd name="T81" fmla="*/ 2147483647 h 267"/>
              <a:gd name="T82" fmla="*/ 2147483647 w 322"/>
              <a:gd name="T83" fmla="*/ 2147483647 h 267"/>
              <a:gd name="T84" fmla="*/ 2147483647 w 322"/>
              <a:gd name="T85" fmla="*/ 2147483647 h 267"/>
              <a:gd name="T86" fmla="*/ 2147483647 w 322"/>
              <a:gd name="T87" fmla="*/ 2147483647 h 267"/>
              <a:gd name="T88" fmla="*/ 2147483647 w 322"/>
              <a:gd name="T89" fmla="*/ 2147483647 h 267"/>
              <a:gd name="T90" fmla="*/ 2147483647 w 322"/>
              <a:gd name="T91" fmla="*/ 2147483647 h 267"/>
              <a:gd name="T92" fmla="*/ 2147483647 w 322"/>
              <a:gd name="T93" fmla="*/ 2147483647 h 267"/>
              <a:gd name="T94" fmla="*/ 2147483647 w 322"/>
              <a:gd name="T95" fmla="*/ 2147483647 h 267"/>
              <a:gd name="T96" fmla="*/ 2147483647 w 322"/>
              <a:gd name="T97" fmla="*/ 2147483647 h 2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2"/>
              <a:gd name="T148" fmla="*/ 0 h 267"/>
              <a:gd name="T149" fmla="*/ 322 w 322"/>
              <a:gd name="T150" fmla="*/ 267 h 2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2" h="267">
                <a:moveTo>
                  <a:pt x="205" y="6"/>
                </a:moveTo>
                <a:lnTo>
                  <a:pt x="224" y="0"/>
                </a:lnTo>
                <a:lnTo>
                  <a:pt x="233" y="42"/>
                </a:lnTo>
                <a:lnTo>
                  <a:pt x="225" y="63"/>
                </a:lnTo>
                <a:lnTo>
                  <a:pt x="232" y="58"/>
                </a:lnTo>
                <a:lnTo>
                  <a:pt x="237" y="77"/>
                </a:lnTo>
                <a:lnTo>
                  <a:pt x="213" y="132"/>
                </a:lnTo>
                <a:lnTo>
                  <a:pt x="220" y="123"/>
                </a:lnTo>
                <a:lnTo>
                  <a:pt x="238" y="113"/>
                </a:lnTo>
                <a:lnTo>
                  <a:pt x="251" y="78"/>
                </a:lnTo>
                <a:lnTo>
                  <a:pt x="273" y="74"/>
                </a:lnTo>
                <a:lnTo>
                  <a:pt x="270" y="58"/>
                </a:lnTo>
                <a:lnTo>
                  <a:pt x="281" y="32"/>
                </a:lnTo>
                <a:lnTo>
                  <a:pt x="303" y="45"/>
                </a:lnTo>
                <a:lnTo>
                  <a:pt x="321" y="70"/>
                </a:lnTo>
                <a:lnTo>
                  <a:pt x="322" y="102"/>
                </a:lnTo>
                <a:lnTo>
                  <a:pt x="315" y="125"/>
                </a:lnTo>
                <a:lnTo>
                  <a:pt x="301" y="142"/>
                </a:lnTo>
                <a:lnTo>
                  <a:pt x="274" y="148"/>
                </a:lnTo>
                <a:lnTo>
                  <a:pt x="254" y="166"/>
                </a:lnTo>
                <a:lnTo>
                  <a:pt x="242" y="192"/>
                </a:lnTo>
                <a:lnTo>
                  <a:pt x="232" y="169"/>
                </a:lnTo>
                <a:lnTo>
                  <a:pt x="199" y="202"/>
                </a:lnTo>
                <a:lnTo>
                  <a:pt x="198" y="218"/>
                </a:lnTo>
                <a:lnTo>
                  <a:pt x="186" y="231"/>
                </a:lnTo>
                <a:lnTo>
                  <a:pt x="176" y="211"/>
                </a:lnTo>
                <a:lnTo>
                  <a:pt x="173" y="187"/>
                </a:lnTo>
                <a:lnTo>
                  <a:pt x="179" y="173"/>
                </a:lnTo>
                <a:lnTo>
                  <a:pt x="128" y="228"/>
                </a:lnTo>
                <a:lnTo>
                  <a:pt x="77" y="260"/>
                </a:lnTo>
                <a:lnTo>
                  <a:pt x="82" y="236"/>
                </a:lnTo>
                <a:lnTo>
                  <a:pt x="65" y="234"/>
                </a:lnTo>
                <a:lnTo>
                  <a:pt x="48" y="254"/>
                </a:lnTo>
                <a:lnTo>
                  <a:pt x="3" y="267"/>
                </a:lnTo>
                <a:lnTo>
                  <a:pt x="0" y="255"/>
                </a:lnTo>
                <a:lnTo>
                  <a:pt x="4" y="222"/>
                </a:lnTo>
                <a:lnTo>
                  <a:pt x="19" y="215"/>
                </a:lnTo>
                <a:lnTo>
                  <a:pt x="29" y="199"/>
                </a:lnTo>
                <a:lnTo>
                  <a:pt x="45" y="202"/>
                </a:lnTo>
                <a:lnTo>
                  <a:pt x="68" y="190"/>
                </a:lnTo>
                <a:lnTo>
                  <a:pt x="79" y="193"/>
                </a:lnTo>
                <a:lnTo>
                  <a:pt x="92" y="177"/>
                </a:lnTo>
                <a:lnTo>
                  <a:pt x="142" y="162"/>
                </a:lnTo>
                <a:lnTo>
                  <a:pt x="139" y="145"/>
                </a:lnTo>
                <a:lnTo>
                  <a:pt x="172" y="114"/>
                </a:lnTo>
                <a:lnTo>
                  <a:pt x="174" y="88"/>
                </a:lnTo>
                <a:lnTo>
                  <a:pt x="185" y="81"/>
                </a:lnTo>
                <a:lnTo>
                  <a:pt x="193" y="31"/>
                </a:lnTo>
                <a:lnTo>
                  <a:pt x="205" y="6"/>
                </a:lnTo>
              </a:path>
            </a:pathLst>
          </a:custGeom>
          <a:solidFill>
            <a:srgbClr val="4BB2FF"/>
          </a:solidFill>
          <a:ln w="6350">
            <a:noFill/>
            <a:round/>
            <a:headEnd/>
            <a:tailEnd/>
          </a:ln>
        </p:spPr>
        <p:txBody>
          <a:bodyPr/>
          <a:lstStyle/>
          <a:p>
            <a:endParaRPr lang="de-AT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61" name="Freeform 46" descr="Large grid">
            <a:extLst>
              <a:ext uri="{FF2B5EF4-FFF2-40B4-BE49-F238E27FC236}">
                <a16:creationId xmlns:a16="http://schemas.microsoft.com/office/drawing/2014/main" id="{1D5C8D4E-9ED6-4C23-BA4F-54A005A4669E}"/>
              </a:ext>
            </a:extLst>
          </p:cNvPr>
          <p:cNvSpPr>
            <a:spLocks/>
          </p:cNvSpPr>
          <p:nvPr/>
        </p:nvSpPr>
        <p:spPr bwMode="auto">
          <a:xfrm rot="21249101">
            <a:off x="7030537" y="1482950"/>
            <a:ext cx="52177" cy="52429"/>
          </a:xfrm>
          <a:custGeom>
            <a:avLst/>
            <a:gdLst>
              <a:gd name="T0" fmla="*/ 2147483647 w 121"/>
              <a:gd name="T1" fmla="*/ 2147483647 h 138"/>
              <a:gd name="T2" fmla="*/ 2147483647 w 121"/>
              <a:gd name="T3" fmla="*/ 2147483647 h 138"/>
              <a:gd name="T4" fmla="*/ 2147483647 w 121"/>
              <a:gd name="T5" fmla="*/ 2147483647 h 138"/>
              <a:gd name="T6" fmla="*/ 2147483647 w 121"/>
              <a:gd name="T7" fmla="*/ 2147483647 h 138"/>
              <a:gd name="T8" fmla="*/ 2147483647 w 121"/>
              <a:gd name="T9" fmla="*/ 2147483647 h 138"/>
              <a:gd name="T10" fmla="*/ 2147483647 w 121"/>
              <a:gd name="T11" fmla="*/ 2147483647 h 138"/>
              <a:gd name="T12" fmla="*/ 2147483647 w 121"/>
              <a:gd name="T13" fmla="*/ 2147483647 h 138"/>
              <a:gd name="T14" fmla="*/ 2147483647 w 121"/>
              <a:gd name="T15" fmla="*/ 2147483647 h 138"/>
              <a:gd name="T16" fmla="*/ 2147483647 w 121"/>
              <a:gd name="T17" fmla="*/ 2147483647 h 138"/>
              <a:gd name="T18" fmla="*/ 2147483647 w 121"/>
              <a:gd name="T19" fmla="*/ 2147483647 h 138"/>
              <a:gd name="T20" fmla="*/ 2147483647 w 121"/>
              <a:gd name="T21" fmla="*/ 2147483647 h 138"/>
              <a:gd name="T22" fmla="*/ 2147483647 w 121"/>
              <a:gd name="T23" fmla="*/ 0 h 138"/>
              <a:gd name="T24" fmla="*/ 2147483647 w 121"/>
              <a:gd name="T25" fmla="*/ 2147483647 h 138"/>
              <a:gd name="T26" fmla="*/ 2147483647 w 121"/>
              <a:gd name="T27" fmla="*/ 2147483647 h 138"/>
              <a:gd name="T28" fmla="*/ 2147483647 w 121"/>
              <a:gd name="T29" fmla="*/ 2147483647 h 138"/>
              <a:gd name="T30" fmla="*/ 2147483647 w 121"/>
              <a:gd name="T31" fmla="*/ 2147483647 h 138"/>
              <a:gd name="T32" fmla="*/ 2147483647 w 121"/>
              <a:gd name="T33" fmla="*/ 2147483647 h 138"/>
              <a:gd name="T34" fmla="*/ 2147483647 w 121"/>
              <a:gd name="T35" fmla="*/ 2147483647 h 138"/>
              <a:gd name="T36" fmla="*/ 2147483647 w 121"/>
              <a:gd name="T37" fmla="*/ 2147483647 h 138"/>
              <a:gd name="T38" fmla="*/ 2147483647 w 121"/>
              <a:gd name="T39" fmla="*/ 2147483647 h 138"/>
              <a:gd name="T40" fmla="*/ 2147483647 w 121"/>
              <a:gd name="T41" fmla="*/ 2147483647 h 138"/>
              <a:gd name="T42" fmla="*/ 2147483647 w 121"/>
              <a:gd name="T43" fmla="*/ 2147483647 h 138"/>
              <a:gd name="T44" fmla="*/ 2147483647 w 121"/>
              <a:gd name="T45" fmla="*/ 2147483647 h 138"/>
              <a:gd name="T46" fmla="*/ 0 w 121"/>
              <a:gd name="T47" fmla="*/ 2147483647 h 138"/>
              <a:gd name="T48" fmla="*/ 2147483647 w 121"/>
              <a:gd name="T49" fmla="*/ 2147483647 h 1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21"/>
              <a:gd name="T76" fmla="*/ 0 h 138"/>
              <a:gd name="T77" fmla="*/ 121 w 121"/>
              <a:gd name="T78" fmla="*/ 138 h 13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21" h="138">
                <a:moveTo>
                  <a:pt x="6" y="94"/>
                </a:moveTo>
                <a:lnTo>
                  <a:pt x="14" y="89"/>
                </a:lnTo>
                <a:lnTo>
                  <a:pt x="11" y="77"/>
                </a:lnTo>
                <a:lnTo>
                  <a:pt x="15" y="65"/>
                </a:lnTo>
                <a:lnTo>
                  <a:pt x="23" y="75"/>
                </a:lnTo>
                <a:lnTo>
                  <a:pt x="31" y="61"/>
                </a:lnTo>
                <a:lnTo>
                  <a:pt x="46" y="69"/>
                </a:lnTo>
                <a:lnTo>
                  <a:pt x="53" y="55"/>
                </a:lnTo>
                <a:lnTo>
                  <a:pt x="62" y="26"/>
                </a:lnTo>
                <a:lnTo>
                  <a:pt x="72" y="50"/>
                </a:lnTo>
                <a:lnTo>
                  <a:pt x="91" y="50"/>
                </a:lnTo>
                <a:lnTo>
                  <a:pt x="95" y="0"/>
                </a:lnTo>
                <a:lnTo>
                  <a:pt x="121" y="52"/>
                </a:lnTo>
                <a:lnTo>
                  <a:pt x="120" y="118"/>
                </a:lnTo>
                <a:lnTo>
                  <a:pt x="101" y="120"/>
                </a:lnTo>
                <a:lnTo>
                  <a:pt x="85" y="133"/>
                </a:lnTo>
                <a:lnTo>
                  <a:pt x="65" y="138"/>
                </a:lnTo>
                <a:lnTo>
                  <a:pt x="59" y="117"/>
                </a:lnTo>
                <a:lnTo>
                  <a:pt x="76" y="102"/>
                </a:lnTo>
                <a:lnTo>
                  <a:pt x="87" y="84"/>
                </a:lnTo>
                <a:lnTo>
                  <a:pt x="69" y="103"/>
                </a:lnTo>
                <a:lnTo>
                  <a:pt x="56" y="101"/>
                </a:lnTo>
                <a:lnTo>
                  <a:pt x="7" y="129"/>
                </a:lnTo>
                <a:lnTo>
                  <a:pt x="0" y="114"/>
                </a:lnTo>
                <a:lnTo>
                  <a:pt x="6" y="94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62" name="Freeform 47" descr="Large grid">
            <a:extLst>
              <a:ext uri="{FF2B5EF4-FFF2-40B4-BE49-F238E27FC236}">
                <a16:creationId xmlns:a16="http://schemas.microsoft.com/office/drawing/2014/main" id="{C22B0E37-2AEE-434D-A1BD-4674C854A8FD}"/>
              </a:ext>
            </a:extLst>
          </p:cNvPr>
          <p:cNvSpPr>
            <a:spLocks/>
          </p:cNvSpPr>
          <p:nvPr/>
        </p:nvSpPr>
        <p:spPr bwMode="auto">
          <a:xfrm rot="21249101">
            <a:off x="7030537" y="1482950"/>
            <a:ext cx="52177" cy="52429"/>
          </a:xfrm>
          <a:custGeom>
            <a:avLst/>
            <a:gdLst>
              <a:gd name="T0" fmla="*/ 2147483647 w 121"/>
              <a:gd name="T1" fmla="*/ 2147483647 h 138"/>
              <a:gd name="T2" fmla="*/ 2147483647 w 121"/>
              <a:gd name="T3" fmla="*/ 2147483647 h 138"/>
              <a:gd name="T4" fmla="*/ 2147483647 w 121"/>
              <a:gd name="T5" fmla="*/ 2147483647 h 138"/>
              <a:gd name="T6" fmla="*/ 2147483647 w 121"/>
              <a:gd name="T7" fmla="*/ 2147483647 h 138"/>
              <a:gd name="T8" fmla="*/ 2147483647 w 121"/>
              <a:gd name="T9" fmla="*/ 2147483647 h 138"/>
              <a:gd name="T10" fmla="*/ 2147483647 w 121"/>
              <a:gd name="T11" fmla="*/ 2147483647 h 138"/>
              <a:gd name="T12" fmla="*/ 2147483647 w 121"/>
              <a:gd name="T13" fmla="*/ 2147483647 h 138"/>
              <a:gd name="T14" fmla="*/ 2147483647 w 121"/>
              <a:gd name="T15" fmla="*/ 2147483647 h 138"/>
              <a:gd name="T16" fmla="*/ 2147483647 w 121"/>
              <a:gd name="T17" fmla="*/ 2147483647 h 138"/>
              <a:gd name="T18" fmla="*/ 2147483647 w 121"/>
              <a:gd name="T19" fmla="*/ 2147483647 h 138"/>
              <a:gd name="T20" fmla="*/ 2147483647 w 121"/>
              <a:gd name="T21" fmla="*/ 2147483647 h 138"/>
              <a:gd name="T22" fmla="*/ 2147483647 w 121"/>
              <a:gd name="T23" fmla="*/ 0 h 138"/>
              <a:gd name="T24" fmla="*/ 2147483647 w 121"/>
              <a:gd name="T25" fmla="*/ 2147483647 h 138"/>
              <a:gd name="T26" fmla="*/ 2147483647 w 121"/>
              <a:gd name="T27" fmla="*/ 2147483647 h 138"/>
              <a:gd name="T28" fmla="*/ 2147483647 w 121"/>
              <a:gd name="T29" fmla="*/ 2147483647 h 138"/>
              <a:gd name="T30" fmla="*/ 2147483647 w 121"/>
              <a:gd name="T31" fmla="*/ 2147483647 h 138"/>
              <a:gd name="T32" fmla="*/ 2147483647 w 121"/>
              <a:gd name="T33" fmla="*/ 2147483647 h 138"/>
              <a:gd name="T34" fmla="*/ 2147483647 w 121"/>
              <a:gd name="T35" fmla="*/ 2147483647 h 138"/>
              <a:gd name="T36" fmla="*/ 2147483647 w 121"/>
              <a:gd name="T37" fmla="*/ 2147483647 h 138"/>
              <a:gd name="T38" fmla="*/ 2147483647 w 121"/>
              <a:gd name="T39" fmla="*/ 2147483647 h 138"/>
              <a:gd name="T40" fmla="*/ 2147483647 w 121"/>
              <a:gd name="T41" fmla="*/ 2147483647 h 138"/>
              <a:gd name="T42" fmla="*/ 2147483647 w 121"/>
              <a:gd name="T43" fmla="*/ 2147483647 h 138"/>
              <a:gd name="T44" fmla="*/ 2147483647 w 121"/>
              <a:gd name="T45" fmla="*/ 2147483647 h 138"/>
              <a:gd name="T46" fmla="*/ 0 w 121"/>
              <a:gd name="T47" fmla="*/ 2147483647 h 138"/>
              <a:gd name="T48" fmla="*/ 2147483647 w 121"/>
              <a:gd name="T49" fmla="*/ 2147483647 h 1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21"/>
              <a:gd name="T76" fmla="*/ 0 h 138"/>
              <a:gd name="T77" fmla="*/ 121 w 121"/>
              <a:gd name="T78" fmla="*/ 138 h 13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21" h="138">
                <a:moveTo>
                  <a:pt x="6" y="94"/>
                </a:moveTo>
                <a:lnTo>
                  <a:pt x="14" y="89"/>
                </a:lnTo>
                <a:lnTo>
                  <a:pt x="11" y="77"/>
                </a:lnTo>
                <a:lnTo>
                  <a:pt x="15" y="65"/>
                </a:lnTo>
                <a:lnTo>
                  <a:pt x="23" y="75"/>
                </a:lnTo>
                <a:lnTo>
                  <a:pt x="31" y="61"/>
                </a:lnTo>
                <a:lnTo>
                  <a:pt x="46" y="69"/>
                </a:lnTo>
                <a:lnTo>
                  <a:pt x="53" y="55"/>
                </a:lnTo>
                <a:lnTo>
                  <a:pt x="62" y="26"/>
                </a:lnTo>
                <a:lnTo>
                  <a:pt x="72" y="50"/>
                </a:lnTo>
                <a:lnTo>
                  <a:pt x="91" y="50"/>
                </a:lnTo>
                <a:lnTo>
                  <a:pt x="95" y="0"/>
                </a:lnTo>
                <a:lnTo>
                  <a:pt x="121" y="52"/>
                </a:lnTo>
                <a:lnTo>
                  <a:pt x="120" y="118"/>
                </a:lnTo>
                <a:lnTo>
                  <a:pt x="101" y="120"/>
                </a:lnTo>
                <a:lnTo>
                  <a:pt x="85" y="133"/>
                </a:lnTo>
                <a:lnTo>
                  <a:pt x="65" y="138"/>
                </a:lnTo>
                <a:lnTo>
                  <a:pt x="59" y="117"/>
                </a:lnTo>
                <a:lnTo>
                  <a:pt x="76" y="102"/>
                </a:lnTo>
                <a:lnTo>
                  <a:pt x="87" y="84"/>
                </a:lnTo>
                <a:lnTo>
                  <a:pt x="69" y="103"/>
                </a:lnTo>
                <a:lnTo>
                  <a:pt x="56" y="101"/>
                </a:lnTo>
                <a:lnTo>
                  <a:pt x="7" y="129"/>
                </a:lnTo>
                <a:lnTo>
                  <a:pt x="0" y="114"/>
                </a:lnTo>
                <a:lnTo>
                  <a:pt x="6" y="94"/>
                </a:lnTo>
              </a:path>
            </a:pathLst>
          </a:custGeom>
          <a:solidFill>
            <a:srgbClr val="4BB2FF"/>
          </a:solidFill>
          <a:ln w="6350">
            <a:noFill/>
            <a:round/>
            <a:headEnd/>
            <a:tailEnd/>
          </a:ln>
        </p:spPr>
        <p:txBody>
          <a:bodyPr/>
          <a:lstStyle/>
          <a:p>
            <a:endParaRPr lang="de-AT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63" name="Freeform 48" descr="Large grid">
            <a:extLst>
              <a:ext uri="{FF2B5EF4-FFF2-40B4-BE49-F238E27FC236}">
                <a16:creationId xmlns:a16="http://schemas.microsoft.com/office/drawing/2014/main" id="{8F5B4BD4-442D-4A41-899D-C8BA0BE51056}"/>
              </a:ext>
            </a:extLst>
          </p:cNvPr>
          <p:cNvSpPr>
            <a:spLocks/>
          </p:cNvSpPr>
          <p:nvPr/>
        </p:nvSpPr>
        <p:spPr bwMode="auto">
          <a:xfrm rot="21249101">
            <a:off x="7091642" y="1431750"/>
            <a:ext cx="45719" cy="45719"/>
          </a:xfrm>
          <a:custGeom>
            <a:avLst/>
            <a:gdLst>
              <a:gd name="T0" fmla="*/ 2147483647 w 93"/>
              <a:gd name="T1" fmla="*/ 2147483647 h 114"/>
              <a:gd name="T2" fmla="*/ 2147483647 w 93"/>
              <a:gd name="T3" fmla="*/ 2147483647 h 114"/>
              <a:gd name="T4" fmla="*/ 2147483647 w 93"/>
              <a:gd name="T5" fmla="*/ 0 h 114"/>
              <a:gd name="T6" fmla="*/ 2147483647 w 93"/>
              <a:gd name="T7" fmla="*/ 0 h 114"/>
              <a:gd name="T8" fmla="*/ 2147483647 w 93"/>
              <a:gd name="T9" fmla="*/ 2147483647 h 114"/>
              <a:gd name="T10" fmla="*/ 2147483647 w 93"/>
              <a:gd name="T11" fmla="*/ 2147483647 h 114"/>
              <a:gd name="T12" fmla="*/ 2147483647 w 93"/>
              <a:gd name="T13" fmla="*/ 2147483647 h 114"/>
              <a:gd name="T14" fmla="*/ 2147483647 w 93"/>
              <a:gd name="T15" fmla="*/ 2147483647 h 114"/>
              <a:gd name="T16" fmla="*/ 0 w 93"/>
              <a:gd name="T17" fmla="*/ 2147483647 h 114"/>
              <a:gd name="T18" fmla="*/ 2147483647 w 93"/>
              <a:gd name="T19" fmla="*/ 2147483647 h 114"/>
              <a:gd name="T20" fmla="*/ 2147483647 w 93"/>
              <a:gd name="T21" fmla="*/ 2147483647 h 114"/>
              <a:gd name="T22" fmla="*/ 2147483647 w 93"/>
              <a:gd name="T23" fmla="*/ 2147483647 h 1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3"/>
              <a:gd name="T37" fmla="*/ 0 h 114"/>
              <a:gd name="T38" fmla="*/ 93 w 93"/>
              <a:gd name="T39" fmla="*/ 114 h 11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3" h="114">
                <a:moveTo>
                  <a:pt x="38" y="38"/>
                </a:moveTo>
                <a:lnTo>
                  <a:pt x="48" y="37"/>
                </a:lnTo>
                <a:lnTo>
                  <a:pt x="59" y="0"/>
                </a:lnTo>
                <a:lnTo>
                  <a:pt x="73" y="0"/>
                </a:lnTo>
                <a:lnTo>
                  <a:pt x="93" y="13"/>
                </a:lnTo>
                <a:lnTo>
                  <a:pt x="62" y="91"/>
                </a:lnTo>
                <a:lnTo>
                  <a:pt x="20" y="114"/>
                </a:lnTo>
                <a:lnTo>
                  <a:pt x="5" y="111"/>
                </a:lnTo>
                <a:lnTo>
                  <a:pt x="0" y="97"/>
                </a:lnTo>
                <a:lnTo>
                  <a:pt x="7" y="67"/>
                </a:lnTo>
                <a:lnTo>
                  <a:pt x="36" y="52"/>
                </a:lnTo>
                <a:lnTo>
                  <a:pt x="38" y="38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64" name="Freeform 50" descr="Large grid">
            <a:extLst>
              <a:ext uri="{FF2B5EF4-FFF2-40B4-BE49-F238E27FC236}">
                <a16:creationId xmlns:a16="http://schemas.microsoft.com/office/drawing/2014/main" id="{9BC2B831-1812-410D-91D6-16FB6980D7AB}"/>
              </a:ext>
            </a:extLst>
          </p:cNvPr>
          <p:cNvSpPr>
            <a:spLocks/>
          </p:cNvSpPr>
          <p:nvPr/>
        </p:nvSpPr>
        <p:spPr bwMode="auto">
          <a:xfrm rot="21249101">
            <a:off x="7052636" y="1628250"/>
            <a:ext cx="45719" cy="45719"/>
          </a:xfrm>
          <a:custGeom>
            <a:avLst/>
            <a:gdLst>
              <a:gd name="T0" fmla="*/ 2147483647 w 90"/>
              <a:gd name="T1" fmla="*/ 2147483647 h 82"/>
              <a:gd name="T2" fmla="*/ 2147483647 w 90"/>
              <a:gd name="T3" fmla="*/ 2147483647 h 82"/>
              <a:gd name="T4" fmla="*/ 2147483647 w 90"/>
              <a:gd name="T5" fmla="*/ 2147483647 h 82"/>
              <a:gd name="T6" fmla="*/ 2147483647 w 90"/>
              <a:gd name="T7" fmla="*/ 2147483647 h 82"/>
              <a:gd name="T8" fmla="*/ 2147483647 w 90"/>
              <a:gd name="T9" fmla="*/ 2147483647 h 82"/>
              <a:gd name="T10" fmla="*/ 2147483647 w 90"/>
              <a:gd name="T11" fmla="*/ 0 h 82"/>
              <a:gd name="T12" fmla="*/ 2147483647 w 90"/>
              <a:gd name="T13" fmla="*/ 2147483647 h 82"/>
              <a:gd name="T14" fmla="*/ 2147483647 w 90"/>
              <a:gd name="T15" fmla="*/ 2147483647 h 82"/>
              <a:gd name="T16" fmla="*/ 2147483647 w 90"/>
              <a:gd name="T17" fmla="*/ 2147483647 h 82"/>
              <a:gd name="T18" fmla="*/ 2147483647 w 90"/>
              <a:gd name="T19" fmla="*/ 2147483647 h 82"/>
              <a:gd name="T20" fmla="*/ 2147483647 w 90"/>
              <a:gd name="T21" fmla="*/ 2147483647 h 82"/>
              <a:gd name="T22" fmla="*/ 2147483647 w 90"/>
              <a:gd name="T23" fmla="*/ 2147483647 h 82"/>
              <a:gd name="T24" fmla="*/ 0 w 90"/>
              <a:gd name="T25" fmla="*/ 2147483647 h 82"/>
              <a:gd name="T26" fmla="*/ 2147483647 w 90"/>
              <a:gd name="T27" fmla="*/ 2147483647 h 82"/>
              <a:gd name="T28" fmla="*/ 2147483647 w 90"/>
              <a:gd name="T29" fmla="*/ 2147483647 h 82"/>
              <a:gd name="T30" fmla="*/ 2147483647 w 90"/>
              <a:gd name="T31" fmla="*/ 2147483647 h 8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0"/>
              <a:gd name="T49" fmla="*/ 0 h 82"/>
              <a:gd name="T50" fmla="*/ 90 w 90"/>
              <a:gd name="T51" fmla="*/ 82 h 8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0" h="82">
                <a:moveTo>
                  <a:pt x="32" y="39"/>
                </a:moveTo>
                <a:lnTo>
                  <a:pt x="28" y="38"/>
                </a:lnTo>
                <a:lnTo>
                  <a:pt x="21" y="11"/>
                </a:lnTo>
                <a:lnTo>
                  <a:pt x="42" y="21"/>
                </a:lnTo>
                <a:lnTo>
                  <a:pt x="59" y="21"/>
                </a:lnTo>
                <a:lnTo>
                  <a:pt x="85" y="0"/>
                </a:lnTo>
                <a:lnTo>
                  <a:pt x="90" y="19"/>
                </a:lnTo>
                <a:lnTo>
                  <a:pt x="84" y="38"/>
                </a:lnTo>
                <a:lnTo>
                  <a:pt x="64" y="45"/>
                </a:lnTo>
                <a:lnTo>
                  <a:pt x="51" y="65"/>
                </a:lnTo>
                <a:lnTo>
                  <a:pt x="26" y="80"/>
                </a:lnTo>
                <a:lnTo>
                  <a:pt x="12" y="82"/>
                </a:lnTo>
                <a:lnTo>
                  <a:pt x="0" y="71"/>
                </a:lnTo>
                <a:lnTo>
                  <a:pt x="18" y="49"/>
                </a:lnTo>
                <a:lnTo>
                  <a:pt x="33" y="48"/>
                </a:lnTo>
                <a:lnTo>
                  <a:pt x="32" y="39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65" name="Freeform 52" descr="Large grid">
            <a:extLst>
              <a:ext uri="{FF2B5EF4-FFF2-40B4-BE49-F238E27FC236}">
                <a16:creationId xmlns:a16="http://schemas.microsoft.com/office/drawing/2014/main" id="{E809F5A2-4A3D-42CE-896D-CCC36774E6AC}"/>
              </a:ext>
            </a:extLst>
          </p:cNvPr>
          <p:cNvSpPr>
            <a:spLocks/>
          </p:cNvSpPr>
          <p:nvPr/>
        </p:nvSpPr>
        <p:spPr bwMode="auto">
          <a:xfrm rot="21249101">
            <a:off x="7159855" y="1392830"/>
            <a:ext cx="66571" cy="74414"/>
          </a:xfrm>
          <a:custGeom>
            <a:avLst/>
            <a:gdLst>
              <a:gd name="T0" fmla="*/ 2147483647 w 158"/>
              <a:gd name="T1" fmla="*/ 2147483647 h 191"/>
              <a:gd name="T2" fmla="*/ 2147483647 w 158"/>
              <a:gd name="T3" fmla="*/ 2147483647 h 191"/>
              <a:gd name="T4" fmla="*/ 2147483647 w 158"/>
              <a:gd name="T5" fmla="*/ 2147483647 h 191"/>
              <a:gd name="T6" fmla="*/ 2147483647 w 158"/>
              <a:gd name="T7" fmla="*/ 2147483647 h 191"/>
              <a:gd name="T8" fmla="*/ 2147483647 w 158"/>
              <a:gd name="T9" fmla="*/ 2147483647 h 191"/>
              <a:gd name="T10" fmla="*/ 2147483647 w 158"/>
              <a:gd name="T11" fmla="*/ 2147483647 h 191"/>
              <a:gd name="T12" fmla="*/ 2147483647 w 158"/>
              <a:gd name="T13" fmla="*/ 2147483647 h 191"/>
              <a:gd name="T14" fmla="*/ 2147483647 w 158"/>
              <a:gd name="T15" fmla="*/ 2147483647 h 191"/>
              <a:gd name="T16" fmla="*/ 2147483647 w 158"/>
              <a:gd name="T17" fmla="*/ 2147483647 h 191"/>
              <a:gd name="T18" fmla="*/ 2147483647 w 158"/>
              <a:gd name="T19" fmla="*/ 2147483647 h 191"/>
              <a:gd name="T20" fmla="*/ 2147483647 w 158"/>
              <a:gd name="T21" fmla="*/ 2147483647 h 191"/>
              <a:gd name="T22" fmla="*/ 2147483647 w 158"/>
              <a:gd name="T23" fmla="*/ 2147483647 h 191"/>
              <a:gd name="T24" fmla="*/ 2147483647 w 158"/>
              <a:gd name="T25" fmla="*/ 2147483647 h 191"/>
              <a:gd name="T26" fmla="*/ 2147483647 w 158"/>
              <a:gd name="T27" fmla="*/ 2147483647 h 191"/>
              <a:gd name="T28" fmla="*/ 2147483647 w 158"/>
              <a:gd name="T29" fmla="*/ 2147483647 h 191"/>
              <a:gd name="T30" fmla="*/ 2147483647 w 158"/>
              <a:gd name="T31" fmla="*/ 0 h 191"/>
              <a:gd name="T32" fmla="*/ 2147483647 w 158"/>
              <a:gd name="T33" fmla="*/ 2147483647 h 191"/>
              <a:gd name="T34" fmla="*/ 2147483647 w 158"/>
              <a:gd name="T35" fmla="*/ 2147483647 h 191"/>
              <a:gd name="T36" fmla="*/ 2147483647 w 158"/>
              <a:gd name="T37" fmla="*/ 2147483647 h 191"/>
              <a:gd name="T38" fmla="*/ 2147483647 w 158"/>
              <a:gd name="T39" fmla="*/ 2147483647 h 191"/>
              <a:gd name="T40" fmla="*/ 2147483647 w 158"/>
              <a:gd name="T41" fmla="*/ 2147483647 h 191"/>
              <a:gd name="T42" fmla="*/ 2147483647 w 158"/>
              <a:gd name="T43" fmla="*/ 2147483647 h 191"/>
              <a:gd name="T44" fmla="*/ 2147483647 w 158"/>
              <a:gd name="T45" fmla="*/ 2147483647 h 191"/>
              <a:gd name="T46" fmla="*/ 2147483647 w 158"/>
              <a:gd name="T47" fmla="*/ 2147483647 h 191"/>
              <a:gd name="T48" fmla="*/ 2147483647 w 158"/>
              <a:gd name="T49" fmla="*/ 2147483647 h 191"/>
              <a:gd name="T50" fmla="*/ 2147483647 w 158"/>
              <a:gd name="T51" fmla="*/ 2147483647 h 191"/>
              <a:gd name="T52" fmla="*/ 2147483647 w 158"/>
              <a:gd name="T53" fmla="*/ 2147483647 h 191"/>
              <a:gd name="T54" fmla="*/ 2147483647 w 158"/>
              <a:gd name="T55" fmla="*/ 2147483647 h 191"/>
              <a:gd name="T56" fmla="*/ 2147483647 w 158"/>
              <a:gd name="T57" fmla="*/ 2147483647 h 191"/>
              <a:gd name="T58" fmla="*/ 2147483647 w 158"/>
              <a:gd name="T59" fmla="*/ 2147483647 h 191"/>
              <a:gd name="T60" fmla="*/ 0 w 158"/>
              <a:gd name="T61" fmla="*/ 2147483647 h 191"/>
              <a:gd name="T62" fmla="*/ 2147483647 w 158"/>
              <a:gd name="T63" fmla="*/ 2147483647 h 191"/>
              <a:gd name="T64" fmla="*/ 2147483647 w 158"/>
              <a:gd name="T65" fmla="*/ 2147483647 h 191"/>
              <a:gd name="T66" fmla="*/ 2147483647 w 158"/>
              <a:gd name="T67" fmla="*/ 2147483647 h 19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58"/>
              <a:gd name="T103" fmla="*/ 0 h 191"/>
              <a:gd name="T104" fmla="*/ 158 w 158"/>
              <a:gd name="T105" fmla="*/ 191 h 19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58" h="191">
                <a:moveTo>
                  <a:pt x="22" y="133"/>
                </a:moveTo>
                <a:lnTo>
                  <a:pt x="6" y="122"/>
                </a:lnTo>
                <a:lnTo>
                  <a:pt x="22" y="124"/>
                </a:lnTo>
                <a:lnTo>
                  <a:pt x="29" y="114"/>
                </a:lnTo>
                <a:lnTo>
                  <a:pt x="32" y="100"/>
                </a:lnTo>
                <a:lnTo>
                  <a:pt x="16" y="94"/>
                </a:lnTo>
                <a:lnTo>
                  <a:pt x="31" y="89"/>
                </a:lnTo>
                <a:lnTo>
                  <a:pt x="23" y="77"/>
                </a:lnTo>
                <a:lnTo>
                  <a:pt x="42" y="61"/>
                </a:lnTo>
                <a:lnTo>
                  <a:pt x="59" y="73"/>
                </a:lnTo>
                <a:lnTo>
                  <a:pt x="74" y="56"/>
                </a:lnTo>
                <a:lnTo>
                  <a:pt x="63" y="39"/>
                </a:lnTo>
                <a:lnTo>
                  <a:pt x="75" y="32"/>
                </a:lnTo>
                <a:lnTo>
                  <a:pt x="93" y="42"/>
                </a:lnTo>
                <a:lnTo>
                  <a:pt x="103" y="31"/>
                </a:lnTo>
                <a:lnTo>
                  <a:pt x="95" y="0"/>
                </a:lnTo>
                <a:lnTo>
                  <a:pt x="108" y="24"/>
                </a:lnTo>
                <a:lnTo>
                  <a:pt x="113" y="4"/>
                </a:lnTo>
                <a:lnTo>
                  <a:pt x="130" y="2"/>
                </a:lnTo>
                <a:lnTo>
                  <a:pt x="142" y="34"/>
                </a:lnTo>
                <a:lnTo>
                  <a:pt x="152" y="47"/>
                </a:lnTo>
                <a:lnTo>
                  <a:pt x="158" y="78"/>
                </a:lnTo>
                <a:lnTo>
                  <a:pt x="145" y="103"/>
                </a:lnTo>
                <a:lnTo>
                  <a:pt x="144" y="149"/>
                </a:lnTo>
                <a:lnTo>
                  <a:pt x="102" y="155"/>
                </a:lnTo>
                <a:lnTo>
                  <a:pt x="101" y="138"/>
                </a:lnTo>
                <a:lnTo>
                  <a:pt x="84" y="143"/>
                </a:lnTo>
                <a:lnTo>
                  <a:pt x="68" y="176"/>
                </a:lnTo>
                <a:lnTo>
                  <a:pt x="26" y="180"/>
                </a:lnTo>
                <a:lnTo>
                  <a:pt x="8" y="191"/>
                </a:lnTo>
                <a:lnTo>
                  <a:pt x="0" y="173"/>
                </a:lnTo>
                <a:lnTo>
                  <a:pt x="25" y="156"/>
                </a:lnTo>
                <a:lnTo>
                  <a:pt x="33" y="142"/>
                </a:lnTo>
                <a:lnTo>
                  <a:pt x="22" y="133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66" name="Freeform 53" descr="Large grid">
            <a:extLst>
              <a:ext uri="{FF2B5EF4-FFF2-40B4-BE49-F238E27FC236}">
                <a16:creationId xmlns:a16="http://schemas.microsoft.com/office/drawing/2014/main" id="{9DC66ED9-6CF5-4293-90C1-D2789A1CCCD7}"/>
              </a:ext>
            </a:extLst>
          </p:cNvPr>
          <p:cNvSpPr>
            <a:spLocks/>
          </p:cNvSpPr>
          <p:nvPr/>
        </p:nvSpPr>
        <p:spPr bwMode="auto">
          <a:xfrm rot="21249101">
            <a:off x="7159855" y="1392830"/>
            <a:ext cx="66571" cy="74414"/>
          </a:xfrm>
          <a:custGeom>
            <a:avLst/>
            <a:gdLst>
              <a:gd name="T0" fmla="*/ 2147483647 w 158"/>
              <a:gd name="T1" fmla="*/ 2147483647 h 191"/>
              <a:gd name="T2" fmla="*/ 2147483647 w 158"/>
              <a:gd name="T3" fmla="*/ 2147483647 h 191"/>
              <a:gd name="T4" fmla="*/ 2147483647 w 158"/>
              <a:gd name="T5" fmla="*/ 2147483647 h 191"/>
              <a:gd name="T6" fmla="*/ 2147483647 w 158"/>
              <a:gd name="T7" fmla="*/ 2147483647 h 191"/>
              <a:gd name="T8" fmla="*/ 2147483647 w 158"/>
              <a:gd name="T9" fmla="*/ 2147483647 h 191"/>
              <a:gd name="T10" fmla="*/ 2147483647 w 158"/>
              <a:gd name="T11" fmla="*/ 2147483647 h 191"/>
              <a:gd name="T12" fmla="*/ 2147483647 w 158"/>
              <a:gd name="T13" fmla="*/ 2147483647 h 191"/>
              <a:gd name="T14" fmla="*/ 2147483647 w 158"/>
              <a:gd name="T15" fmla="*/ 2147483647 h 191"/>
              <a:gd name="T16" fmla="*/ 2147483647 w 158"/>
              <a:gd name="T17" fmla="*/ 2147483647 h 191"/>
              <a:gd name="T18" fmla="*/ 2147483647 w 158"/>
              <a:gd name="T19" fmla="*/ 2147483647 h 191"/>
              <a:gd name="T20" fmla="*/ 2147483647 w 158"/>
              <a:gd name="T21" fmla="*/ 2147483647 h 191"/>
              <a:gd name="T22" fmla="*/ 2147483647 w 158"/>
              <a:gd name="T23" fmla="*/ 2147483647 h 191"/>
              <a:gd name="T24" fmla="*/ 2147483647 w 158"/>
              <a:gd name="T25" fmla="*/ 2147483647 h 191"/>
              <a:gd name="T26" fmla="*/ 2147483647 w 158"/>
              <a:gd name="T27" fmla="*/ 2147483647 h 191"/>
              <a:gd name="T28" fmla="*/ 2147483647 w 158"/>
              <a:gd name="T29" fmla="*/ 2147483647 h 191"/>
              <a:gd name="T30" fmla="*/ 2147483647 w 158"/>
              <a:gd name="T31" fmla="*/ 0 h 191"/>
              <a:gd name="T32" fmla="*/ 2147483647 w 158"/>
              <a:gd name="T33" fmla="*/ 2147483647 h 191"/>
              <a:gd name="T34" fmla="*/ 2147483647 w 158"/>
              <a:gd name="T35" fmla="*/ 2147483647 h 191"/>
              <a:gd name="T36" fmla="*/ 2147483647 w 158"/>
              <a:gd name="T37" fmla="*/ 2147483647 h 191"/>
              <a:gd name="T38" fmla="*/ 2147483647 w 158"/>
              <a:gd name="T39" fmla="*/ 2147483647 h 191"/>
              <a:gd name="T40" fmla="*/ 2147483647 w 158"/>
              <a:gd name="T41" fmla="*/ 2147483647 h 191"/>
              <a:gd name="T42" fmla="*/ 2147483647 w 158"/>
              <a:gd name="T43" fmla="*/ 2147483647 h 191"/>
              <a:gd name="T44" fmla="*/ 2147483647 w 158"/>
              <a:gd name="T45" fmla="*/ 2147483647 h 191"/>
              <a:gd name="T46" fmla="*/ 2147483647 w 158"/>
              <a:gd name="T47" fmla="*/ 2147483647 h 191"/>
              <a:gd name="T48" fmla="*/ 2147483647 w 158"/>
              <a:gd name="T49" fmla="*/ 2147483647 h 191"/>
              <a:gd name="T50" fmla="*/ 2147483647 w 158"/>
              <a:gd name="T51" fmla="*/ 2147483647 h 191"/>
              <a:gd name="T52" fmla="*/ 2147483647 w 158"/>
              <a:gd name="T53" fmla="*/ 2147483647 h 191"/>
              <a:gd name="T54" fmla="*/ 2147483647 w 158"/>
              <a:gd name="T55" fmla="*/ 2147483647 h 191"/>
              <a:gd name="T56" fmla="*/ 2147483647 w 158"/>
              <a:gd name="T57" fmla="*/ 2147483647 h 191"/>
              <a:gd name="T58" fmla="*/ 2147483647 w 158"/>
              <a:gd name="T59" fmla="*/ 2147483647 h 191"/>
              <a:gd name="T60" fmla="*/ 0 w 158"/>
              <a:gd name="T61" fmla="*/ 2147483647 h 191"/>
              <a:gd name="T62" fmla="*/ 2147483647 w 158"/>
              <a:gd name="T63" fmla="*/ 2147483647 h 191"/>
              <a:gd name="T64" fmla="*/ 2147483647 w 158"/>
              <a:gd name="T65" fmla="*/ 2147483647 h 191"/>
              <a:gd name="T66" fmla="*/ 2147483647 w 158"/>
              <a:gd name="T67" fmla="*/ 2147483647 h 19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58"/>
              <a:gd name="T103" fmla="*/ 0 h 191"/>
              <a:gd name="T104" fmla="*/ 158 w 158"/>
              <a:gd name="T105" fmla="*/ 191 h 19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58" h="191">
                <a:moveTo>
                  <a:pt x="22" y="133"/>
                </a:moveTo>
                <a:lnTo>
                  <a:pt x="6" y="122"/>
                </a:lnTo>
                <a:lnTo>
                  <a:pt x="22" y="124"/>
                </a:lnTo>
                <a:lnTo>
                  <a:pt x="29" y="114"/>
                </a:lnTo>
                <a:lnTo>
                  <a:pt x="32" y="100"/>
                </a:lnTo>
                <a:lnTo>
                  <a:pt x="16" y="94"/>
                </a:lnTo>
                <a:lnTo>
                  <a:pt x="31" y="89"/>
                </a:lnTo>
                <a:lnTo>
                  <a:pt x="23" y="77"/>
                </a:lnTo>
                <a:lnTo>
                  <a:pt x="42" y="61"/>
                </a:lnTo>
                <a:lnTo>
                  <a:pt x="59" y="73"/>
                </a:lnTo>
                <a:lnTo>
                  <a:pt x="74" y="56"/>
                </a:lnTo>
                <a:lnTo>
                  <a:pt x="63" y="39"/>
                </a:lnTo>
                <a:lnTo>
                  <a:pt x="75" y="32"/>
                </a:lnTo>
                <a:lnTo>
                  <a:pt x="93" y="42"/>
                </a:lnTo>
                <a:lnTo>
                  <a:pt x="103" y="31"/>
                </a:lnTo>
                <a:lnTo>
                  <a:pt x="95" y="0"/>
                </a:lnTo>
                <a:lnTo>
                  <a:pt x="108" y="24"/>
                </a:lnTo>
                <a:lnTo>
                  <a:pt x="113" y="4"/>
                </a:lnTo>
                <a:lnTo>
                  <a:pt x="130" y="2"/>
                </a:lnTo>
                <a:lnTo>
                  <a:pt x="142" y="34"/>
                </a:lnTo>
                <a:lnTo>
                  <a:pt x="152" y="47"/>
                </a:lnTo>
                <a:lnTo>
                  <a:pt x="158" y="78"/>
                </a:lnTo>
                <a:lnTo>
                  <a:pt x="145" y="103"/>
                </a:lnTo>
                <a:lnTo>
                  <a:pt x="144" y="149"/>
                </a:lnTo>
                <a:lnTo>
                  <a:pt x="102" y="155"/>
                </a:lnTo>
                <a:lnTo>
                  <a:pt x="101" y="138"/>
                </a:lnTo>
                <a:lnTo>
                  <a:pt x="84" y="143"/>
                </a:lnTo>
                <a:lnTo>
                  <a:pt x="68" y="176"/>
                </a:lnTo>
                <a:lnTo>
                  <a:pt x="26" y="180"/>
                </a:lnTo>
                <a:lnTo>
                  <a:pt x="8" y="191"/>
                </a:lnTo>
                <a:lnTo>
                  <a:pt x="0" y="173"/>
                </a:lnTo>
                <a:lnTo>
                  <a:pt x="25" y="156"/>
                </a:lnTo>
                <a:lnTo>
                  <a:pt x="33" y="142"/>
                </a:lnTo>
                <a:lnTo>
                  <a:pt x="22" y="133"/>
                </a:lnTo>
              </a:path>
            </a:pathLst>
          </a:custGeom>
          <a:solidFill>
            <a:srgbClr val="4BB2FF"/>
          </a:solidFill>
          <a:ln w="6350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AT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67" name="Freeform 54" descr="Large grid">
            <a:extLst>
              <a:ext uri="{FF2B5EF4-FFF2-40B4-BE49-F238E27FC236}">
                <a16:creationId xmlns:a16="http://schemas.microsoft.com/office/drawing/2014/main" id="{AE3320B5-69CC-466C-A529-43234C53915C}"/>
              </a:ext>
            </a:extLst>
          </p:cNvPr>
          <p:cNvSpPr>
            <a:spLocks/>
          </p:cNvSpPr>
          <p:nvPr/>
        </p:nvSpPr>
        <p:spPr bwMode="auto">
          <a:xfrm rot="21249101">
            <a:off x="7228127" y="1346952"/>
            <a:ext cx="50378" cy="45719"/>
          </a:xfrm>
          <a:custGeom>
            <a:avLst/>
            <a:gdLst>
              <a:gd name="T0" fmla="*/ 2147483647 w 118"/>
              <a:gd name="T1" fmla="*/ 2147483647 h 112"/>
              <a:gd name="T2" fmla="*/ 2147483647 w 118"/>
              <a:gd name="T3" fmla="*/ 2147483647 h 112"/>
              <a:gd name="T4" fmla="*/ 2147483647 w 118"/>
              <a:gd name="T5" fmla="*/ 2147483647 h 112"/>
              <a:gd name="T6" fmla="*/ 2147483647 w 118"/>
              <a:gd name="T7" fmla="*/ 2147483647 h 112"/>
              <a:gd name="T8" fmla="*/ 2147483647 w 118"/>
              <a:gd name="T9" fmla="*/ 2147483647 h 112"/>
              <a:gd name="T10" fmla="*/ 2147483647 w 118"/>
              <a:gd name="T11" fmla="*/ 2147483647 h 112"/>
              <a:gd name="T12" fmla="*/ 2147483647 w 118"/>
              <a:gd name="T13" fmla="*/ 0 h 112"/>
              <a:gd name="T14" fmla="*/ 2147483647 w 118"/>
              <a:gd name="T15" fmla="*/ 2147483647 h 112"/>
              <a:gd name="T16" fmla="*/ 2147483647 w 118"/>
              <a:gd name="T17" fmla="*/ 2147483647 h 112"/>
              <a:gd name="T18" fmla="*/ 2147483647 w 118"/>
              <a:gd name="T19" fmla="*/ 2147483647 h 112"/>
              <a:gd name="T20" fmla="*/ 2147483647 w 118"/>
              <a:gd name="T21" fmla="*/ 2147483647 h 112"/>
              <a:gd name="T22" fmla="*/ 2147483647 w 118"/>
              <a:gd name="T23" fmla="*/ 2147483647 h 112"/>
              <a:gd name="T24" fmla="*/ 0 w 118"/>
              <a:gd name="T25" fmla="*/ 2147483647 h 112"/>
              <a:gd name="T26" fmla="*/ 2147483647 w 118"/>
              <a:gd name="T27" fmla="*/ 2147483647 h 112"/>
              <a:gd name="T28" fmla="*/ 2147483647 w 118"/>
              <a:gd name="T29" fmla="*/ 2147483647 h 112"/>
              <a:gd name="T30" fmla="*/ 2147483647 w 118"/>
              <a:gd name="T31" fmla="*/ 2147483647 h 112"/>
              <a:gd name="T32" fmla="*/ 2147483647 w 118"/>
              <a:gd name="T33" fmla="*/ 2147483647 h 11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8"/>
              <a:gd name="T52" fmla="*/ 0 h 112"/>
              <a:gd name="T53" fmla="*/ 118 w 118"/>
              <a:gd name="T54" fmla="*/ 112 h 11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8" h="112">
                <a:moveTo>
                  <a:pt x="22" y="57"/>
                </a:moveTo>
                <a:lnTo>
                  <a:pt x="51" y="59"/>
                </a:lnTo>
                <a:lnTo>
                  <a:pt x="56" y="51"/>
                </a:lnTo>
                <a:lnTo>
                  <a:pt x="61" y="25"/>
                </a:lnTo>
                <a:lnTo>
                  <a:pt x="72" y="45"/>
                </a:lnTo>
                <a:lnTo>
                  <a:pt x="79" y="45"/>
                </a:lnTo>
                <a:lnTo>
                  <a:pt x="87" y="0"/>
                </a:lnTo>
                <a:lnTo>
                  <a:pt x="109" y="13"/>
                </a:lnTo>
                <a:lnTo>
                  <a:pt x="118" y="32"/>
                </a:lnTo>
                <a:lnTo>
                  <a:pt x="96" y="72"/>
                </a:lnTo>
                <a:lnTo>
                  <a:pt x="95" y="92"/>
                </a:lnTo>
                <a:lnTo>
                  <a:pt x="36" y="112"/>
                </a:lnTo>
                <a:lnTo>
                  <a:pt x="0" y="103"/>
                </a:lnTo>
                <a:lnTo>
                  <a:pt x="1" y="91"/>
                </a:lnTo>
                <a:lnTo>
                  <a:pt x="18" y="92"/>
                </a:lnTo>
                <a:lnTo>
                  <a:pt x="24" y="82"/>
                </a:lnTo>
                <a:lnTo>
                  <a:pt x="22" y="57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68" name="Freeform 55" descr="Large grid">
            <a:extLst>
              <a:ext uri="{FF2B5EF4-FFF2-40B4-BE49-F238E27FC236}">
                <a16:creationId xmlns:a16="http://schemas.microsoft.com/office/drawing/2014/main" id="{CF99B0C4-75F0-4667-8371-E59AF99AA9EA}"/>
              </a:ext>
            </a:extLst>
          </p:cNvPr>
          <p:cNvSpPr>
            <a:spLocks/>
          </p:cNvSpPr>
          <p:nvPr/>
        </p:nvSpPr>
        <p:spPr bwMode="auto">
          <a:xfrm rot="21249101">
            <a:off x="7228127" y="1346952"/>
            <a:ext cx="50378" cy="45719"/>
          </a:xfrm>
          <a:custGeom>
            <a:avLst/>
            <a:gdLst>
              <a:gd name="T0" fmla="*/ 2147483647 w 118"/>
              <a:gd name="T1" fmla="*/ 2147483647 h 112"/>
              <a:gd name="T2" fmla="*/ 2147483647 w 118"/>
              <a:gd name="T3" fmla="*/ 2147483647 h 112"/>
              <a:gd name="T4" fmla="*/ 2147483647 w 118"/>
              <a:gd name="T5" fmla="*/ 2147483647 h 112"/>
              <a:gd name="T6" fmla="*/ 2147483647 w 118"/>
              <a:gd name="T7" fmla="*/ 2147483647 h 112"/>
              <a:gd name="T8" fmla="*/ 2147483647 w 118"/>
              <a:gd name="T9" fmla="*/ 2147483647 h 112"/>
              <a:gd name="T10" fmla="*/ 2147483647 w 118"/>
              <a:gd name="T11" fmla="*/ 2147483647 h 112"/>
              <a:gd name="T12" fmla="*/ 2147483647 w 118"/>
              <a:gd name="T13" fmla="*/ 0 h 112"/>
              <a:gd name="T14" fmla="*/ 2147483647 w 118"/>
              <a:gd name="T15" fmla="*/ 2147483647 h 112"/>
              <a:gd name="T16" fmla="*/ 2147483647 w 118"/>
              <a:gd name="T17" fmla="*/ 2147483647 h 112"/>
              <a:gd name="T18" fmla="*/ 2147483647 w 118"/>
              <a:gd name="T19" fmla="*/ 2147483647 h 112"/>
              <a:gd name="T20" fmla="*/ 2147483647 w 118"/>
              <a:gd name="T21" fmla="*/ 2147483647 h 112"/>
              <a:gd name="T22" fmla="*/ 2147483647 w 118"/>
              <a:gd name="T23" fmla="*/ 2147483647 h 112"/>
              <a:gd name="T24" fmla="*/ 0 w 118"/>
              <a:gd name="T25" fmla="*/ 2147483647 h 112"/>
              <a:gd name="T26" fmla="*/ 2147483647 w 118"/>
              <a:gd name="T27" fmla="*/ 2147483647 h 112"/>
              <a:gd name="T28" fmla="*/ 2147483647 w 118"/>
              <a:gd name="T29" fmla="*/ 2147483647 h 112"/>
              <a:gd name="T30" fmla="*/ 2147483647 w 118"/>
              <a:gd name="T31" fmla="*/ 2147483647 h 112"/>
              <a:gd name="T32" fmla="*/ 2147483647 w 118"/>
              <a:gd name="T33" fmla="*/ 2147483647 h 11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8"/>
              <a:gd name="T52" fmla="*/ 0 h 112"/>
              <a:gd name="T53" fmla="*/ 118 w 118"/>
              <a:gd name="T54" fmla="*/ 112 h 112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8" h="112">
                <a:moveTo>
                  <a:pt x="22" y="57"/>
                </a:moveTo>
                <a:lnTo>
                  <a:pt x="51" y="59"/>
                </a:lnTo>
                <a:lnTo>
                  <a:pt x="56" y="51"/>
                </a:lnTo>
                <a:lnTo>
                  <a:pt x="61" y="25"/>
                </a:lnTo>
                <a:lnTo>
                  <a:pt x="72" y="45"/>
                </a:lnTo>
                <a:lnTo>
                  <a:pt x="79" y="45"/>
                </a:lnTo>
                <a:lnTo>
                  <a:pt x="87" y="0"/>
                </a:lnTo>
                <a:lnTo>
                  <a:pt x="109" y="13"/>
                </a:lnTo>
                <a:lnTo>
                  <a:pt x="118" y="32"/>
                </a:lnTo>
                <a:lnTo>
                  <a:pt x="96" y="72"/>
                </a:lnTo>
                <a:lnTo>
                  <a:pt x="95" y="92"/>
                </a:lnTo>
                <a:lnTo>
                  <a:pt x="36" y="112"/>
                </a:lnTo>
                <a:lnTo>
                  <a:pt x="0" y="103"/>
                </a:lnTo>
                <a:lnTo>
                  <a:pt x="1" y="91"/>
                </a:lnTo>
                <a:lnTo>
                  <a:pt x="18" y="92"/>
                </a:lnTo>
                <a:lnTo>
                  <a:pt x="24" y="82"/>
                </a:lnTo>
                <a:lnTo>
                  <a:pt x="22" y="57"/>
                </a:lnTo>
              </a:path>
            </a:pathLst>
          </a:custGeom>
          <a:solidFill>
            <a:srgbClr val="4BB2FF"/>
          </a:solidFill>
          <a:ln w="6350">
            <a:noFill/>
            <a:round/>
            <a:headEnd/>
            <a:tailEnd/>
          </a:ln>
        </p:spPr>
        <p:txBody>
          <a:bodyPr/>
          <a:lstStyle/>
          <a:p>
            <a:endParaRPr lang="de-AT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69" name="Freeform 56" descr="Large grid">
            <a:extLst>
              <a:ext uri="{FF2B5EF4-FFF2-40B4-BE49-F238E27FC236}">
                <a16:creationId xmlns:a16="http://schemas.microsoft.com/office/drawing/2014/main" id="{1E867F85-CA50-485F-9C91-53B20FFCEE91}"/>
              </a:ext>
            </a:extLst>
          </p:cNvPr>
          <p:cNvSpPr>
            <a:spLocks/>
          </p:cNvSpPr>
          <p:nvPr/>
        </p:nvSpPr>
        <p:spPr bwMode="auto">
          <a:xfrm rot="21249101">
            <a:off x="7258736" y="1312540"/>
            <a:ext cx="46781" cy="45719"/>
          </a:xfrm>
          <a:custGeom>
            <a:avLst/>
            <a:gdLst>
              <a:gd name="T0" fmla="*/ 2147483647 w 111"/>
              <a:gd name="T1" fmla="*/ 2147483647 h 104"/>
              <a:gd name="T2" fmla="*/ 2147483647 w 111"/>
              <a:gd name="T3" fmla="*/ 2147483647 h 104"/>
              <a:gd name="T4" fmla="*/ 2147483647 w 111"/>
              <a:gd name="T5" fmla="*/ 2147483647 h 104"/>
              <a:gd name="T6" fmla="*/ 0 w 111"/>
              <a:gd name="T7" fmla="*/ 2147483647 h 104"/>
              <a:gd name="T8" fmla="*/ 2147483647 w 111"/>
              <a:gd name="T9" fmla="*/ 0 h 104"/>
              <a:gd name="T10" fmla="*/ 2147483647 w 111"/>
              <a:gd name="T11" fmla="*/ 2147483647 h 104"/>
              <a:gd name="T12" fmla="*/ 2147483647 w 111"/>
              <a:gd name="T13" fmla="*/ 2147483647 h 104"/>
              <a:gd name="T14" fmla="*/ 2147483647 w 111"/>
              <a:gd name="T15" fmla="*/ 2147483647 h 104"/>
              <a:gd name="T16" fmla="*/ 2147483647 w 111"/>
              <a:gd name="T17" fmla="*/ 2147483647 h 104"/>
              <a:gd name="T18" fmla="*/ 2147483647 w 111"/>
              <a:gd name="T19" fmla="*/ 2147483647 h 104"/>
              <a:gd name="T20" fmla="*/ 2147483647 w 111"/>
              <a:gd name="T21" fmla="*/ 2147483647 h 104"/>
              <a:gd name="T22" fmla="*/ 2147483647 w 111"/>
              <a:gd name="T23" fmla="*/ 2147483647 h 104"/>
              <a:gd name="T24" fmla="*/ 2147483647 w 111"/>
              <a:gd name="T25" fmla="*/ 2147483647 h 104"/>
              <a:gd name="T26" fmla="*/ 2147483647 w 111"/>
              <a:gd name="T27" fmla="*/ 2147483647 h 104"/>
              <a:gd name="T28" fmla="*/ 2147483647 w 111"/>
              <a:gd name="T29" fmla="*/ 2147483647 h 104"/>
              <a:gd name="T30" fmla="*/ 2147483647 w 111"/>
              <a:gd name="T31" fmla="*/ 2147483647 h 104"/>
              <a:gd name="T32" fmla="*/ 2147483647 w 111"/>
              <a:gd name="T33" fmla="*/ 2147483647 h 104"/>
              <a:gd name="T34" fmla="*/ 2147483647 w 111"/>
              <a:gd name="T35" fmla="*/ 2147483647 h 104"/>
              <a:gd name="T36" fmla="*/ 2147483647 w 111"/>
              <a:gd name="T37" fmla="*/ 2147483647 h 104"/>
              <a:gd name="T38" fmla="*/ 2147483647 w 111"/>
              <a:gd name="T39" fmla="*/ 2147483647 h 104"/>
              <a:gd name="T40" fmla="*/ 2147483647 w 111"/>
              <a:gd name="T41" fmla="*/ 2147483647 h 10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11"/>
              <a:gd name="T64" fmla="*/ 0 h 104"/>
              <a:gd name="T65" fmla="*/ 111 w 111"/>
              <a:gd name="T66" fmla="*/ 104 h 10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11" h="104">
                <a:moveTo>
                  <a:pt x="22" y="23"/>
                </a:moveTo>
                <a:lnTo>
                  <a:pt x="11" y="34"/>
                </a:lnTo>
                <a:lnTo>
                  <a:pt x="5" y="28"/>
                </a:lnTo>
                <a:lnTo>
                  <a:pt x="0" y="11"/>
                </a:lnTo>
                <a:lnTo>
                  <a:pt x="7" y="0"/>
                </a:lnTo>
                <a:lnTo>
                  <a:pt x="21" y="8"/>
                </a:lnTo>
                <a:lnTo>
                  <a:pt x="44" y="8"/>
                </a:lnTo>
                <a:lnTo>
                  <a:pt x="54" y="12"/>
                </a:lnTo>
                <a:lnTo>
                  <a:pt x="58" y="19"/>
                </a:lnTo>
                <a:lnTo>
                  <a:pt x="55" y="48"/>
                </a:lnTo>
                <a:lnTo>
                  <a:pt x="63" y="48"/>
                </a:lnTo>
                <a:lnTo>
                  <a:pt x="67" y="35"/>
                </a:lnTo>
                <a:lnTo>
                  <a:pt x="84" y="29"/>
                </a:lnTo>
                <a:lnTo>
                  <a:pt x="111" y="40"/>
                </a:lnTo>
                <a:lnTo>
                  <a:pt x="83" y="94"/>
                </a:lnTo>
                <a:lnTo>
                  <a:pt x="66" y="104"/>
                </a:lnTo>
                <a:lnTo>
                  <a:pt x="18" y="66"/>
                </a:lnTo>
                <a:lnTo>
                  <a:pt x="13" y="48"/>
                </a:lnTo>
                <a:lnTo>
                  <a:pt x="22" y="56"/>
                </a:lnTo>
                <a:lnTo>
                  <a:pt x="28" y="24"/>
                </a:lnTo>
                <a:lnTo>
                  <a:pt x="22" y="23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0" name="Freeform 58" descr="Large grid">
            <a:extLst>
              <a:ext uri="{FF2B5EF4-FFF2-40B4-BE49-F238E27FC236}">
                <a16:creationId xmlns:a16="http://schemas.microsoft.com/office/drawing/2014/main" id="{92D02853-B8E6-432B-94A4-6945D072F239}"/>
              </a:ext>
            </a:extLst>
          </p:cNvPr>
          <p:cNvSpPr>
            <a:spLocks/>
          </p:cNvSpPr>
          <p:nvPr/>
        </p:nvSpPr>
        <p:spPr bwMode="auto">
          <a:xfrm rot="21249101">
            <a:off x="7300492" y="1287076"/>
            <a:ext cx="45719" cy="45719"/>
          </a:xfrm>
          <a:custGeom>
            <a:avLst/>
            <a:gdLst>
              <a:gd name="T0" fmla="*/ 2147483647 w 65"/>
              <a:gd name="T1" fmla="*/ 2147483647 h 79"/>
              <a:gd name="T2" fmla="*/ 2147483647 w 65"/>
              <a:gd name="T3" fmla="*/ 2147483647 h 79"/>
              <a:gd name="T4" fmla="*/ 2147483647 w 65"/>
              <a:gd name="T5" fmla="*/ 2147483647 h 79"/>
              <a:gd name="T6" fmla="*/ 2147483647 w 65"/>
              <a:gd name="T7" fmla="*/ 2147483647 h 79"/>
              <a:gd name="T8" fmla="*/ 2147483647 w 65"/>
              <a:gd name="T9" fmla="*/ 2147483647 h 79"/>
              <a:gd name="T10" fmla="*/ 2147483647 w 65"/>
              <a:gd name="T11" fmla="*/ 2147483647 h 79"/>
              <a:gd name="T12" fmla="*/ 2147483647 w 65"/>
              <a:gd name="T13" fmla="*/ 2147483647 h 79"/>
              <a:gd name="T14" fmla="*/ 0 w 65"/>
              <a:gd name="T15" fmla="*/ 2147483647 h 79"/>
              <a:gd name="T16" fmla="*/ 2147483647 w 65"/>
              <a:gd name="T17" fmla="*/ 0 h 79"/>
              <a:gd name="T18" fmla="*/ 2147483647 w 65"/>
              <a:gd name="T19" fmla="*/ 2147483647 h 79"/>
              <a:gd name="T20" fmla="*/ 2147483647 w 65"/>
              <a:gd name="T21" fmla="*/ 2147483647 h 79"/>
              <a:gd name="T22" fmla="*/ 2147483647 w 65"/>
              <a:gd name="T23" fmla="*/ 2147483647 h 7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5"/>
              <a:gd name="T37" fmla="*/ 0 h 79"/>
              <a:gd name="T38" fmla="*/ 65 w 65"/>
              <a:gd name="T39" fmla="*/ 79 h 7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5" h="79">
                <a:moveTo>
                  <a:pt x="34" y="29"/>
                </a:moveTo>
                <a:lnTo>
                  <a:pt x="39" y="25"/>
                </a:lnTo>
                <a:lnTo>
                  <a:pt x="42" y="35"/>
                </a:lnTo>
                <a:lnTo>
                  <a:pt x="49" y="37"/>
                </a:lnTo>
                <a:lnTo>
                  <a:pt x="65" y="61"/>
                </a:lnTo>
                <a:lnTo>
                  <a:pt x="56" y="79"/>
                </a:lnTo>
                <a:lnTo>
                  <a:pt x="22" y="64"/>
                </a:lnTo>
                <a:lnTo>
                  <a:pt x="0" y="2"/>
                </a:lnTo>
                <a:lnTo>
                  <a:pt x="7" y="0"/>
                </a:lnTo>
                <a:lnTo>
                  <a:pt x="17" y="7"/>
                </a:lnTo>
                <a:lnTo>
                  <a:pt x="25" y="35"/>
                </a:lnTo>
                <a:lnTo>
                  <a:pt x="34" y="29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1" name="Freeform 60" descr="Large grid">
            <a:extLst>
              <a:ext uri="{FF2B5EF4-FFF2-40B4-BE49-F238E27FC236}">
                <a16:creationId xmlns:a16="http://schemas.microsoft.com/office/drawing/2014/main" id="{67BE6A0C-707E-49F3-AB35-FC8F2052095F}"/>
              </a:ext>
            </a:extLst>
          </p:cNvPr>
          <p:cNvSpPr>
            <a:spLocks/>
          </p:cNvSpPr>
          <p:nvPr/>
        </p:nvSpPr>
        <p:spPr bwMode="auto">
          <a:xfrm rot="21249101">
            <a:off x="7350897" y="1286335"/>
            <a:ext cx="45719" cy="45719"/>
          </a:xfrm>
          <a:custGeom>
            <a:avLst/>
            <a:gdLst>
              <a:gd name="T0" fmla="*/ 2147483647 w 41"/>
              <a:gd name="T1" fmla="*/ 2147483647 h 70"/>
              <a:gd name="T2" fmla="*/ 2147483647 w 41"/>
              <a:gd name="T3" fmla="*/ 0 h 70"/>
              <a:gd name="T4" fmla="*/ 2147483647 w 41"/>
              <a:gd name="T5" fmla="*/ 2147483647 h 70"/>
              <a:gd name="T6" fmla="*/ 2147483647 w 41"/>
              <a:gd name="T7" fmla="*/ 2147483647 h 70"/>
              <a:gd name="T8" fmla="*/ 2147483647 w 41"/>
              <a:gd name="T9" fmla="*/ 2147483647 h 70"/>
              <a:gd name="T10" fmla="*/ 2147483647 w 41"/>
              <a:gd name="T11" fmla="*/ 2147483647 h 70"/>
              <a:gd name="T12" fmla="*/ 2147483647 w 41"/>
              <a:gd name="T13" fmla="*/ 2147483647 h 70"/>
              <a:gd name="T14" fmla="*/ 2147483647 w 41"/>
              <a:gd name="T15" fmla="*/ 2147483647 h 70"/>
              <a:gd name="T16" fmla="*/ 0 w 41"/>
              <a:gd name="T17" fmla="*/ 2147483647 h 70"/>
              <a:gd name="T18" fmla="*/ 0 w 41"/>
              <a:gd name="T19" fmla="*/ 2147483647 h 70"/>
              <a:gd name="T20" fmla="*/ 2147483647 w 41"/>
              <a:gd name="T21" fmla="*/ 2147483647 h 70"/>
              <a:gd name="T22" fmla="*/ 2147483647 w 41"/>
              <a:gd name="T23" fmla="*/ 2147483647 h 7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1"/>
              <a:gd name="T37" fmla="*/ 0 h 70"/>
              <a:gd name="T38" fmla="*/ 41 w 41"/>
              <a:gd name="T39" fmla="*/ 70 h 7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1" h="70">
                <a:moveTo>
                  <a:pt x="27" y="2"/>
                </a:moveTo>
                <a:lnTo>
                  <a:pt x="33" y="0"/>
                </a:lnTo>
                <a:lnTo>
                  <a:pt x="41" y="16"/>
                </a:lnTo>
                <a:lnTo>
                  <a:pt x="35" y="64"/>
                </a:lnTo>
                <a:lnTo>
                  <a:pt x="30" y="70"/>
                </a:lnTo>
                <a:lnTo>
                  <a:pt x="21" y="65"/>
                </a:lnTo>
                <a:lnTo>
                  <a:pt x="21" y="44"/>
                </a:lnTo>
                <a:lnTo>
                  <a:pt x="12" y="58"/>
                </a:lnTo>
                <a:lnTo>
                  <a:pt x="0" y="48"/>
                </a:lnTo>
                <a:lnTo>
                  <a:pt x="0" y="27"/>
                </a:lnTo>
                <a:lnTo>
                  <a:pt x="7" y="9"/>
                </a:lnTo>
                <a:lnTo>
                  <a:pt x="27" y="2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2" name="Freeform 62" descr="Large grid">
            <a:extLst>
              <a:ext uri="{FF2B5EF4-FFF2-40B4-BE49-F238E27FC236}">
                <a16:creationId xmlns:a16="http://schemas.microsoft.com/office/drawing/2014/main" id="{F6CC51AF-FF8A-46AF-BDC2-A1052B0B29C4}"/>
              </a:ext>
            </a:extLst>
          </p:cNvPr>
          <p:cNvSpPr>
            <a:spLocks/>
          </p:cNvSpPr>
          <p:nvPr/>
        </p:nvSpPr>
        <p:spPr bwMode="auto">
          <a:xfrm rot="21249101">
            <a:off x="7448397" y="1255912"/>
            <a:ext cx="45719" cy="45719"/>
          </a:xfrm>
          <a:custGeom>
            <a:avLst/>
            <a:gdLst>
              <a:gd name="T0" fmla="*/ 2147483647 w 62"/>
              <a:gd name="T1" fmla="*/ 2147483647 h 46"/>
              <a:gd name="T2" fmla="*/ 2147483647 w 62"/>
              <a:gd name="T3" fmla="*/ 2147483647 h 46"/>
              <a:gd name="T4" fmla="*/ 0 w 62"/>
              <a:gd name="T5" fmla="*/ 2147483647 h 46"/>
              <a:gd name="T6" fmla="*/ 2147483647 w 62"/>
              <a:gd name="T7" fmla="*/ 0 h 46"/>
              <a:gd name="T8" fmla="*/ 2147483647 w 62"/>
              <a:gd name="T9" fmla="*/ 2147483647 h 46"/>
              <a:gd name="T10" fmla="*/ 2147483647 w 62"/>
              <a:gd name="T11" fmla="*/ 2147483647 h 46"/>
              <a:gd name="T12" fmla="*/ 2147483647 w 62"/>
              <a:gd name="T13" fmla="*/ 2147483647 h 46"/>
              <a:gd name="T14" fmla="*/ 2147483647 w 62"/>
              <a:gd name="T15" fmla="*/ 2147483647 h 4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2"/>
              <a:gd name="T25" fmla="*/ 0 h 46"/>
              <a:gd name="T26" fmla="*/ 62 w 62"/>
              <a:gd name="T27" fmla="*/ 46 h 4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2" h="46">
                <a:moveTo>
                  <a:pt x="38" y="46"/>
                </a:moveTo>
                <a:lnTo>
                  <a:pt x="4" y="27"/>
                </a:lnTo>
                <a:lnTo>
                  <a:pt x="0" y="13"/>
                </a:lnTo>
                <a:lnTo>
                  <a:pt x="7" y="0"/>
                </a:lnTo>
                <a:lnTo>
                  <a:pt x="47" y="10"/>
                </a:lnTo>
                <a:lnTo>
                  <a:pt x="60" y="23"/>
                </a:lnTo>
                <a:lnTo>
                  <a:pt x="62" y="41"/>
                </a:lnTo>
                <a:lnTo>
                  <a:pt x="38" y="46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3" name="Freeform 63" descr="Large grid">
            <a:extLst>
              <a:ext uri="{FF2B5EF4-FFF2-40B4-BE49-F238E27FC236}">
                <a16:creationId xmlns:a16="http://schemas.microsoft.com/office/drawing/2014/main" id="{94825070-5B1B-405C-BF53-48A97D32D07F}"/>
              </a:ext>
            </a:extLst>
          </p:cNvPr>
          <p:cNvSpPr>
            <a:spLocks/>
          </p:cNvSpPr>
          <p:nvPr/>
        </p:nvSpPr>
        <p:spPr bwMode="auto">
          <a:xfrm rot="21249101">
            <a:off x="7448397" y="1255912"/>
            <a:ext cx="45719" cy="45719"/>
          </a:xfrm>
          <a:custGeom>
            <a:avLst/>
            <a:gdLst>
              <a:gd name="T0" fmla="*/ 2147483647 w 62"/>
              <a:gd name="T1" fmla="*/ 2147483647 h 46"/>
              <a:gd name="T2" fmla="*/ 2147483647 w 62"/>
              <a:gd name="T3" fmla="*/ 2147483647 h 46"/>
              <a:gd name="T4" fmla="*/ 0 w 62"/>
              <a:gd name="T5" fmla="*/ 2147483647 h 46"/>
              <a:gd name="T6" fmla="*/ 2147483647 w 62"/>
              <a:gd name="T7" fmla="*/ 0 h 46"/>
              <a:gd name="T8" fmla="*/ 2147483647 w 62"/>
              <a:gd name="T9" fmla="*/ 2147483647 h 46"/>
              <a:gd name="T10" fmla="*/ 2147483647 w 62"/>
              <a:gd name="T11" fmla="*/ 2147483647 h 46"/>
              <a:gd name="T12" fmla="*/ 2147483647 w 62"/>
              <a:gd name="T13" fmla="*/ 2147483647 h 46"/>
              <a:gd name="T14" fmla="*/ 2147483647 w 62"/>
              <a:gd name="T15" fmla="*/ 2147483647 h 4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2"/>
              <a:gd name="T25" fmla="*/ 0 h 46"/>
              <a:gd name="T26" fmla="*/ 62 w 62"/>
              <a:gd name="T27" fmla="*/ 46 h 4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2" h="46">
                <a:moveTo>
                  <a:pt x="38" y="46"/>
                </a:moveTo>
                <a:lnTo>
                  <a:pt x="4" y="27"/>
                </a:lnTo>
                <a:lnTo>
                  <a:pt x="0" y="13"/>
                </a:lnTo>
                <a:lnTo>
                  <a:pt x="7" y="0"/>
                </a:lnTo>
                <a:lnTo>
                  <a:pt x="47" y="10"/>
                </a:lnTo>
                <a:lnTo>
                  <a:pt x="60" y="23"/>
                </a:lnTo>
                <a:lnTo>
                  <a:pt x="62" y="41"/>
                </a:lnTo>
                <a:lnTo>
                  <a:pt x="38" y="46"/>
                </a:lnTo>
              </a:path>
            </a:pathLst>
          </a:custGeom>
          <a:solidFill>
            <a:srgbClr val="4BB2FF"/>
          </a:solidFill>
          <a:ln w="6350">
            <a:noFill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4" name="Freeform 64" descr="Large grid">
            <a:extLst>
              <a:ext uri="{FF2B5EF4-FFF2-40B4-BE49-F238E27FC236}">
                <a16:creationId xmlns:a16="http://schemas.microsoft.com/office/drawing/2014/main" id="{680BB436-2861-4CEB-817F-3DA6F906E0D4}"/>
              </a:ext>
            </a:extLst>
          </p:cNvPr>
          <p:cNvSpPr>
            <a:spLocks/>
          </p:cNvSpPr>
          <p:nvPr/>
        </p:nvSpPr>
        <p:spPr bwMode="auto">
          <a:xfrm rot="21249101">
            <a:off x="7422300" y="1206030"/>
            <a:ext cx="55777" cy="45719"/>
          </a:xfrm>
          <a:custGeom>
            <a:avLst/>
            <a:gdLst>
              <a:gd name="T0" fmla="*/ 2147483647 w 129"/>
              <a:gd name="T1" fmla="*/ 2147483647 h 97"/>
              <a:gd name="T2" fmla="*/ 2147483647 w 129"/>
              <a:gd name="T3" fmla="*/ 2147483647 h 97"/>
              <a:gd name="T4" fmla="*/ 2147483647 w 129"/>
              <a:gd name="T5" fmla="*/ 2147483647 h 97"/>
              <a:gd name="T6" fmla="*/ 2147483647 w 129"/>
              <a:gd name="T7" fmla="*/ 2147483647 h 97"/>
              <a:gd name="T8" fmla="*/ 2147483647 w 129"/>
              <a:gd name="T9" fmla="*/ 2147483647 h 97"/>
              <a:gd name="T10" fmla="*/ 2147483647 w 129"/>
              <a:gd name="T11" fmla="*/ 2147483647 h 97"/>
              <a:gd name="T12" fmla="*/ 2147483647 w 129"/>
              <a:gd name="T13" fmla="*/ 2147483647 h 97"/>
              <a:gd name="T14" fmla="*/ 2147483647 w 129"/>
              <a:gd name="T15" fmla="*/ 2147483647 h 97"/>
              <a:gd name="T16" fmla="*/ 2147483647 w 129"/>
              <a:gd name="T17" fmla="*/ 0 h 97"/>
              <a:gd name="T18" fmla="*/ 2147483647 w 129"/>
              <a:gd name="T19" fmla="*/ 0 h 97"/>
              <a:gd name="T20" fmla="*/ 2147483647 w 129"/>
              <a:gd name="T21" fmla="*/ 2147483647 h 97"/>
              <a:gd name="T22" fmla="*/ 2147483647 w 129"/>
              <a:gd name="T23" fmla="*/ 2147483647 h 97"/>
              <a:gd name="T24" fmla="*/ 2147483647 w 129"/>
              <a:gd name="T25" fmla="*/ 2147483647 h 97"/>
              <a:gd name="T26" fmla="*/ 2147483647 w 129"/>
              <a:gd name="T27" fmla="*/ 2147483647 h 97"/>
              <a:gd name="T28" fmla="*/ 2147483647 w 129"/>
              <a:gd name="T29" fmla="*/ 2147483647 h 97"/>
              <a:gd name="T30" fmla="*/ 2147483647 w 129"/>
              <a:gd name="T31" fmla="*/ 2147483647 h 97"/>
              <a:gd name="T32" fmla="*/ 2147483647 w 129"/>
              <a:gd name="T33" fmla="*/ 2147483647 h 97"/>
              <a:gd name="T34" fmla="*/ 2147483647 w 129"/>
              <a:gd name="T35" fmla="*/ 2147483647 h 97"/>
              <a:gd name="T36" fmla="*/ 2147483647 w 129"/>
              <a:gd name="T37" fmla="*/ 2147483647 h 97"/>
              <a:gd name="T38" fmla="*/ 2147483647 w 129"/>
              <a:gd name="T39" fmla="*/ 2147483647 h 97"/>
              <a:gd name="T40" fmla="*/ 2147483647 w 129"/>
              <a:gd name="T41" fmla="*/ 2147483647 h 97"/>
              <a:gd name="T42" fmla="*/ 2147483647 w 129"/>
              <a:gd name="T43" fmla="*/ 2147483647 h 97"/>
              <a:gd name="T44" fmla="*/ 2147483647 w 129"/>
              <a:gd name="T45" fmla="*/ 2147483647 h 97"/>
              <a:gd name="T46" fmla="*/ 2147483647 w 129"/>
              <a:gd name="T47" fmla="*/ 2147483647 h 97"/>
              <a:gd name="T48" fmla="*/ 2147483647 w 129"/>
              <a:gd name="T49" fmla="*/ 2147483647 h 97"/>
              <a:gd name="T50" fmla="*/ 0 w 129"/>
              <a:gd name="T51" fmla="*/ 2147483647 h 97"/>
              <a:gd name="T52" fmla="*/ 2147483647 w 129"/>
              <a:gd name="T53" fmla="*/ 2147483647 h 97"/>
              <a:gd name="T54" fmla="*/ 2147483647 w 129"/>
              <a:gd name="T55" fmla="*/ 2147483647 h 97"/>
              <a:gd name="T56" fmla="*/ 2147483647 w 129"/>
              <a:gd name="T57" fmla="*/ 2147483647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29"/>
              <a:gd name="T88" fmla="*/ 0 h 97"/>
              <a:gd name="T89" fmla="*/ 129 w 129"/>
              <a:gd name="T90" fmla="*/ 97 h 9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29" h="97">
                <a:moveTo>
                  <a:pt x="37" y="27"/>
                </a:moveTo>
                <a:lnTo>
                  <a:pt x="44" y="22"/>
                </a:lnTo>
                <a:lnTo>
                  <a:pt x="44" y="14"/>
                </a:lnTo>
                <a:lnTo>
                  <a:pt x="53" y="16"/>
                </a:lnTo>
                <a:lnTo>
                  <a:pt x="58" y="6"/>
                </a:lnTo>
                <a:lnTo>
                  <a:pt x="61" y="10"/>
                </a:lnTo>
                <a:lnTo>
                  <a:pt x="64" y="34"/>
                </a:lnTo>
                <a:lnTo>
                  <a:pt x="87" y="24"/>
                </a:lnTo>
                <a:lnTo>
                  <a:pt x="86" y="0"/>
                </a:lnTo>
                <a:lnTo>
                  <a:pt x="100" y="0"/>
                </a:lnTo>
                <a:lnTo>
                  <a:pt x="107" y="15"/>
                </a:lnTo>
                <a:lnTo>
                  <a:pt x="122" y="19"/>
                </a:lnTo>
                <a:lnTo>
                  <a:pt x="129" y="31"/>
                </a:lnTo>
                <a:lnTo>
                  <a:pt x="128" y="46"/>
                </a:lnTo>
                <a:lnTo>
                  <a:pt x="116" y="47"/>
                </a:lnTo>
                <a:lnTo>
                  <a:pt x="114" y="64"/>
                </a:lnTo>
                <a:lnTo>
                  <a:pt x="104" y="75"/>
                </a:lnTo>
                <a:lnTo>
                  <a:pt x="89" y="65"/>
                </a:lnTo>
                <a:lnTo>
                  <a:pt x="78" y="82"/>
                </a:lnTo>
                <a:lnTo>
                  <a:pt x="66" y="84"/>
                </a:lnTo>
                <a:lnTo>
                  <a:pt x="58" y="75"/>
                </a:lnTo>
                <a:lnTo>
                  <a:pt x="40" y="86"/>
                </a:lnTo>
                <a:lnTo>
                  <a:pt x="32" y="71"/>
                </a:lnTo>
                <a:lnTo>
                  <a:pt x="27" y="97"/>
                </a:lnTo>
                <a:lnTo>
                  <a:pt x="17" y="53"/>
                </a:lnTo>
                <a:lnTo>
                  <a:pt x="0" y="49"/>
                </a:lnTo>
                <a:lnTo>
                  <a:pt x="14" y="33"/>
                </a:lnTo>
                <a:lnTo>
                  <a:pt x="31" y="36"/>
                </a:lnTo>
                <a:lnTo>
                  <a:pt x="37" y="27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5" name="Freeform 66" descr="Large grid">
            <a:extLst>
              <a:ext uri="{FF2B5EF4-FFF2-40B4-BE49-F238E27FC236}">
                <a16:creationId xmlns:a16="http://schemas.microsoft.com/office/drawing/2014/main" id="{9281CB69-0EEA-4DBD-93F0-2218217DD214}"/>
              </a:ext>
            </a:extLst>
          </p:cNvPr>
          <p:cNvSpPr>
            <a:spLocks/>
          </p:cNvSpPr>
          <p:nvPr/>
        </p:nvSpPr>
        <p:spPr bwMode="auto">
          <a:xfrm rot="21249101">
            <a:off x="7472542" y="1223376"/>
            <a:ext cx="45719" cy="45719"/>
          </a:xfrm>
          <a:custGeom>
            <a:avLst/>
            <a:gdLst>
              <a:gd name="T0" fmla="*/ 2147483647 w 81"/>
              <a:gd name="T1" fmla="*/ 2147483647 h 101"/>
              <a:gd name="T2" fmla="*/ 2147483647 w 81"/>
              <a:gd name="T3" fmla="*/ 2147483647 h 101"/>
              <a:gd name="T4" fmla="*/ 2147483647 w 81"/>
              <a:gd name="T5" fmla="*/ 2147483647 h 101"/>
              <a:gd name="T6" fmla="*/ 2147483647 w 81"/>
              <a:gd name="T7" fmla="*/ 2147483647 h 101"/>
              <a:gd name="T8" fmla="*/ 2147483647 w 81"/>
              <a:gd name="T9" fmla="*/ 2147483647 h 101"/>
              <a:gd name="T10" fmla="*/ 2147483647 w 81"/>
              <a:gd name="T11" fmla="*/ 2147483647 h 101"/>
              <a:gd name="T12" fmla="*/ 2147483647 w 81"/>
              <a:gd name="T13" fmla="*/ 2147483647 h 101"/>
              <a:gd name="T14" fmla="*/ 2147483647 w 81"/>
              <a:gd name="T15" fmla="*/ 2147483647 h 101"/>
              <a:gd name="T16" fmla="*/ 0 w 81"/>
              <a:gd name="T17" fmla="*/ 2147483647 h 101"/>
              <a:gd name="T18" fmla="*/ 2147483647 w 81"/>
              <a:gd name="T19" fmla="*/ 2147483647 h 101"/>
              <a:gd name="T20" fmla="*/ 2147483647 w 81"/>
              <a:gd name="T21" fmla="*/ 2147483647 h 101"/>
              <a:gd name="T22" fmla="*/ 2147483647 w 81"/>
              <a:gd name="T23" fmla="*/ 2147483647 h 101"/>
              <a:gd name="T24" fmla="*/ 2147483647 w 81"/>
              <a:gd name="T25" fmla="*/ 2147483647 h 101"/>
              <a:gd name="T26" fmla="*/ 2147483647 w 81"/>
              <a:gd name="T27" fmla="*/ 0 h 101"/>
              <a:gd name="T28" fmla="*/ 2147483647 w 81"/>
              <a:gd name="T29" fmla="*/ 2147483647 h 101"/>
              <a:gd name="T30" fmla="*/ 2147483647 w 81"/>
              <a:gd name="T31" fmla="*/ 2147483647 h 101"/>
              <a:gd name="T32" fmla="*/ 2147483647 w 81"/>
              <a:gd name="T33" fmla="*/ 2147483647 h 10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1"/>
              <a:gd name="T52" fmla="*/ 0 h 101"/>
              <a:gd name="T53" fmla="*/ 81 w 81"/>
              <a:gd name="T54" fmla="*/ 101 h 10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1" h="101">
                <a:moveTo>
                  <a:pt x="60" y="84"/>
                </a:moveTo>
                <a:lnTo>
                  <a:pt x="52" y="80"/>
                </a:lnTo>
                <a:lnTo>
                  <a:pt x="52" y="92"/>
                </a:lnTo>
                <a:lnTo>
                  <a:pt x="42" y="101"/>
                </a:lnTo>
                <a:lnTo>
                  <a:pt x="20" y="98"/>
                </a:lnTo>
                <a:lnTo>
                  <a:pt x="9" y="84"/>
                </a:lnTo>
                <a:lnTo>
                  <a:pt x="6" y="72"/>
                </a:lnTo>
                <a:lnTo>
                  <a:pt x="8" y="60"/>
                </a:lnTo>
                <a:lnTo>
                  <a:pt x="0" y="42"/>
                </a:lnTo>
                <a:lnTo>
                  <a:pt x="9" y="28"/>
                </a:lnTo>
                <a:lnTo>
                  <a:pt x="22" y="35"/>
                </a:lnTo>
                <a:lnTo>
                  <a:pt x="28" y="12"/>
                </a:lnTo>
                <a:lnTo>
                  <a:pt x="49" y="18"/>
                </a:lnTo>
                <a:lnTo>
                  <a:pt x="58" y="0"/>
                </a:lnTo>
                <a:lnTo>
                  <a:pt x="78" y="22"/>
                </a:lnTo>
                <a:lnTo>
                  <a:pt x="81" y="39"/>
                </a:lnTo>
                <a:lnTo>
                  <a:pt x="60" y="84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6" name="Freeform 68" descr="Large grid">
            <a:extLst>
              <a:ext uri="{FF2B5EF4-FFF2-40B4-BE49-F238E27FC236}">
                <a16:creationId xmlns:a16="http://schemas.microsoft.com/office/drawing/2014/main" id="{22374634-A2F8-4DF8-AAC2-60080DEA7B6D}"/>
              </a:ext>
            </a:extLst>
          </p:cNvPr>
          <p:cNvSpPr>
            <a:spLocks/>
          </p:cNvSpPr>
          <p:nvPr/>
        </p:nvSpPr>
        <p:spPr bwMode="auto">
          <a:xfrm rot="21249101">
            <a:off x="7505077" y="1194778"/>
            <a:ext cx="45719" cy="45719"/>
          </a:xfrm>
          <a:custGeom>
            <a:avLst/>
            <a:gdLst>
              <a:gd name="T0" fmla="*/ 2147483647 w 48"/>
              <a:gd name="T1" fmla="*/ 2147483647 h 87"/>
              <a:gd name="T2" fmla="*/ 2147483647 w 48"/>
              <a:gd name="T3" fmla="*/ 2147483647 h 87"/>
              <a:gd name="T4" fmla="*/ 0 w 48"/>
              <a:gd name="T5" fmla="*/ 2147483647 h 87"/>
              <a:gd name="T6" fmla="*/ 2147483647 w 48"/>
              <a:gd name="T7" fmla="*/ 0 h 87"/>
              <a:gd name="T8" fmla="*/ 2147483647 w 48"/>
              <a:gd name="T9" fmla="*/ 2147483647 h 87"/>
              <a:gd name="T10" fmla="*/ 2147483647 w 48"/>
              <a:gd name="T11" fmla="*/ 2147483647 h 87"/>
              <a:gd name="T12" fmla="*/ 2147483647 w 48"/>
              <a:gd name="T13" fmla="*/ 2147483647 h 87"/>
              <a:gd name="T14" fmla="*/ 2147483647 w 48"/>
              <a:gd name="T15" fmla="*/ 2147483647 h 87"/>
              <a:gd name="T16" fmla="*/ 2147483647 w 48"/>
              <a:gd name="T17" fmla="*/ 2147483647 h 87"/>
              <a:gd name="T18" fmla="*/ 2147483647 w 48"/>
              <a:gd name="T19" fmla="*/ 2147483647 h 8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8"/>
              <a:gd name="T31" fmla="*/ 0 h 87"/>
              <a:gd name="T32" fmla="*/ 48 w 48"/>
              <a:gd name="T33" fmla="*/ 87 h 8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8" h="87">
                <a:moveTo>
                  <a:pt x="34" y="76"/>
                </a:moveTo>
                <a:lnTo>
                  <a:pt x="25" y="87"/>
                </a:lnTo>
                <a:lnTo>
                  <a:pt x="0" y="13"/>
                </a:lnTo>
                <a:lnTo>
                  <a:pt x="6" y="0"/>
                </a:lnTo>
                <a:lnTo>
                  <a:pt x="13" y="17"/>
                </a:lnTo>
                <a:lnTo>
                  <a:pt x="24" y="14"/>
                </a:lnTo>
                <a:lnTo>
                  <a:pt x="40" y="27"/>
                </a:lnTo>
                <a:lnTo>
                  <a:pt x="48" y="55"/>
                </a:lnTo>
                <a:lnTo>
                  <a:pt x="48" y="73"/>
                </a:lnTo>
                <a:lnTo>
                  <a:pt x="34" y="76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7" name="Freeform 70" descr="Large grid">
            <a:extLst>
              <a:ext uri="{FF2B5EF4-FFF2-40B4-BE49-F238E27FC236}">
                <a16:creationId xmlns:a16="http://schemas.microsoft.com/office/drawing/2014/main" id="{12040FF7-ABA7-4173-ACED-55E4A4945790}"/>
              </a:ext>
            </a:extLst>
          </p:cNvPr>
          <p:cNvSpPr>
            <a:spLocks/>
          </p:cNvSpPr>
          <p:nvPr/>
        </p:nvSpPr>
        <p:spPr bwMode="auto">
          <a:xfrm rot="21249101">
            <a:off x="7575406" y="1126955"/>
            <a:ext cx="45719" cy="45719"/>
          </a:xfrm>
          <a:custGeom>
            <a:avLst/>
            <a:gdLst>
              <a:gd name="T0" fmla="*/ 2147483647 w 89"/>
              <a:gd name="T1" fmla="*/ 2147483647 h 69"/>
              <a:gd name="T2" fmla="*/ 2147483647 w 89"/>
              <a:gd name="T3" fmla="*/ 2147483647 h 69"/>
              <a:gd name="T4" fmla="*/ 2147483647 w 89"/>
              <a:gd name="T5" fmla="*/ 2147483647 h 69"/>
              <a:gd name="T6" fmla="*/ 2147483647 w 89"/>
              <a:gd name="T7" fmla="*/ 2147483647 h 69"/>
              <a:gd name="T8" fmla="*/ 2147483647 w 89"/>
              <a:gd name="T9" fmla="*/ 2147483647 h 69"/>
              <a:gd name="T10" fmla="*/ 2147483647 w 89"/>
              <a:gd name="T11" fmla="*/ 2147483647 h 69"/>
              <a:gd name="T12" fmla="*/ 2147483647 w 89"/>
              <a:gd name="T13" fmla="*/ 2147483647 h 69"/>
              <a:gd name="T14" fmla="*/ 2147483647 w 89"/>
              <a:gd name="T15" fmla="*/ 2147483647 h 69"/>
              <a:gd name="T16" fmla="*/ 2147483647 w 89"/>
              <a:gd name="T17" fmla="*/ 2147483647 h 69"/>
              <a:gd name="T18" fmla="*/ 2147483647 w 89"/>
              <a:gd name="T19" fmla="*/ 2147483647 h 69"/>
              <a:gd name="T20" fmla="*/ 0 w 89"/>
              <a:gd name="T21" fmla="*/ 2147483647 h 69"/>
              <a:gd name="T22" fmla="*/ 2147483647 w 89"/>
              <a:gd name="T23" fmla="*/ 2147483647 h 69"/>
              <a:gd name="T24" fmla="*/ 2147483647 w 89"/>
              <a:gd name="T25" fmla="*/ 2147483647 h 69"/>
              <a:gd name="T26" fmla="*/ 2147483647 w 89"/>
              <a:gd name="T27" fmla="*/ 2147483647 h 69"/>
              <a:gd name="T28" fmla="*/ 2147483647 w 89"/>
              <a:gd name="T29" fmla="*/ 2147483647 h 69"/>
              <a:gd name="T30" fmla="*/ 2147483647 w 89"/>
              <a:gd name="T31" fmla="*/ 0 h 69"/>
              <a:gd name="T32" fmla="*/ 2147483647 w 89"/>
              <a:gd name="T33" fmla="*/ 2147483647 h 6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9"/>
              <a:gd name="T52" fmla="*/ 0 h 69"/>
              <a:gd name="T53" fmla="*/ 89 w 89"/>
              <a:gd name="T54" fmla="*/ 69 h 6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9" h="69">
                <a:moveTo>
                  <a:pt x="65" y="15"/>
                </a:moveTo>
                <a:lnTo>
                  <a:pt x="85" y="39"/>
                </a:lnTo>
                <a:lnTo>
                  <a:pt x="89" y="57"/>
                </a:lnTo>
                <a:lnTo>
                  <a:pt x="68" y="52"/>
                </a:lnTo>
                <a:lnTo>
                  <a:pt x="56" y="69"/>
                </a:lnTo>
                <a:lnTo>
                  <a:pt x="44" y="63"/>
                </a:lnTo>
                <a:lnTo>
                  <a:pt x="20" y="67"/>
                </a:lnTo>
                <a:lnTo>
                  <a:pt x="15" y="57"/>
                </a:lnTo>
                <a:lnTo>
                  <a:pt x="29" y="47"/>
                </a:lnTo>
                <a:lnTo>
                  <a:pt x="34" y="34"/>
                </a:lnTo>
                <a:lnTo>
                  <a:pt x="0" y="40"/>
                </a:lnTo>
                <a:lnTo>
                  <a:pt x="2" y="28"/>
                </a:lnTo>
                <a:lnTo>
                  <a:pt x="20" y="22"/>
                </a:lnTo>
                <a:lnTo>
                  <a:pt x="39" y="26"/>
                </a:lnTo>
                <a:lnTo>
                  <a:pt x="42" y="11"/>
                </a:lnTo>
                <a:lnTo>
                  <a:pt x="39" y="0"/>
                </a:lnTo>
                <a:lnTo>
                  <a:pt x="65" y="15"/>
                </a:lnTo>
                <a:close/>
              </a:path>
            </a:pathLst>
          </a:custGeom>
          <a:solidFill>
            <a:srgbClr val="4BB2FF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8" name="Freeform 72" descr="Large grid">
            <a:extLst>
              <a:ext uri="{FF2B5EF4-FFF2-40B4-BE49-F238E27FC236}">
                <a16:creationId xmlns:a16="http://schemas.microsoft.com/office/drawing/2014/main" id="{A63AA9B1-1186-4047-9D0F-5065B6837414}"/>
              </a:ext>
            </a:extLst>
          </p:cNvPr>
          <p:cNvSpPr>
            <a:spLocks/>
          </p:cNvSpPr>
          <p:nvPr/>
        </p:nvSpPr>
        <p:spPr bwMode="auto">
          <a:xfrm rot="21249101">
            <a:off x="6640010" y="2212025"/>
            <a:ext cx="50378" cy="45719"/>
          </a:xfrm>
          <a:custGeom>
            <a:avLst/>
            <a:gdLst>
              <a:gd name="T0" fmla="*/ 0 w 123"/>
              <a:gd name="T1" fmla="*/ 2147483647 h 71"/>
              <a:gd name="T2" fmla="*/ 2147483647 w 123"/>
              <a:gd name="T3" fmla="*/ 2147483647 h 71"/>
              <a:gd name="T4" fmla="*/ 2147483647 w 123"/>
              <a:gd name="T5" fmla="*/ 2147483647 h 71"/>
              <a:gd name="T6" fmla="*/ 2147483647 w 123"/>
              <a:gd name="T7" fmla="*/ 2147483647 h 71"/>
              <a:gd name="T8" fmla="*/ 2147483647 w 123"/>
              <a:gd name="T9" fmla="*/ 2147483647 h 71"/>
              <a:gd name="T10" fmla="*/ 2147483647 w 123"/>
              <a:gd name="T11" fmla="*/ 2147483647 h 71"/>
              <a:gd name="T12" fmla="*/ 2147483647 w 123"/>
              <a:gd name="T13" fmla="*/ 0 h 71"/>
              <a:gd name="T14" fmla="*/ 2147483647 w 123"/>
              <a:gd name="T15" fmla="*/ 2147483647 h 71"/>
              <a:gd name="T16" fmla="*/ 2147483647 w 123"/>
              <a:gd name="T17" fmla="*/ 2147483647 h 71"/>
              <a:gd name="T18" fmla="*/ 2147483647 w 123"/>
              <a:gd name="T19" fmla="*/ 2147483647 h 71"/>
              <a:gd name="T20" fmla="*/ 2147483647 w 123"/>
              <a:gd name="T21" fmla="*/ 2147483647 h 71"/>
              <a:gd name="T22" fmla="*/ 2147483647 w 123"/>
              <a:gd name="T23" fmla="*/ 2147483647 h 71"/>
              <a:gd name="T24" fmla="*/ 2147483647 w 123"/>
              <a:gd name="T25" fmla="*/ 2147483647 h 71"/>
              <a:gd name="T26" fmla="*/ 0 w 123"/>
              <a:gd name="T27" fmla="*/ 2147483647 h 7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3"/>
              <a:gd name="T43" fmla="*/ 0 h 71"/>
              <a:gd name="T44" fmla="*/ 123 w 123"/>
              <a:gd name="T45" fmla="*/ 71 h 7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3" h="71">
                <a:moveTo>
                  <a:pt x="0" y="34"/>
                </a:moveTo>
                <a:lnTo>
                  <a:pt x="13" y="34"/>
                </a:lnTo>
                <a:lnTo>
                  <a:pt x="16" y="26"/>
                </a:lnTo>
                <a:lnTo>
                  <a:pt x="34" y="31"/>
                </a:lnTo>
                <a:lnTo>
                  <a:pt x="46" y="22"/>
                </a:lnTo>
                <a:lnTo>
                  <a:pt x="52" y="9"/>
                </a:lnTo>
                <a:lnTo>
                  <a:pt x="91" y="0"/>
                </a:lnTo>
                <a:lnTo>
                  <a:pt x="117" y="4"/>
                </a:lnTo>
                <a:lnTo>
                  <a:pt x="110" y="16"/>
                </a:lnTo>
                <a:lnTo>
                  <a:pt x="120" y="27"/>
                </a:lnTo>
                <a:lnTo>
                  <a:pt x="123" y="48"/>
                </a:lnTo>
                <a:lnTo>
                  <a:pt x="17" y="71"/>
                </a:lnTo>
                <a:lnTo>
                  <a:pt x="4" y="51"/>
                </a:lnTo>
                <a:lnTo>
                  <a:pt x="0" y="34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79" name="Freeform 73" descr="Large grid">
            <a:extLst>
              <a:ext uri="{FF2B5EF4-FFF2-40B4-BE49-F238E27FC236}">
                <a16:creationId xmlns:a16="http://schemas.microsoft.com/office/drawing/2014/main" id="{5334E5DC-17A9-4282-856D-EE78714D28AB}"/>
              </a:ext>
            </a:extLst>
          </p:cNvPr>
          <p:cNvSpPr>
            <a:spLocks/>
          </p:cNvSpPr>
          <p:nvPr/>
        </p:nvSpPr>
        <p:spPr bwMode="auto">
          <a:xfrm rot="21249101">
            <a:off x="6640010" y="2212025"/>
            <a:ext cx="50378" cy="45719"/>
          </a:xfrm>
          <a:custGeom>
            <a:avLst/>
            <a:gdLst>
              <a:gd name="T0" fmla="*/ 0 w 123"/>
              <a:gd name="T1" fmla="*/ 2147483647 h 71"/>
              <a:gd name="T2" fmla="*/ 2147483647 w 123"/>
              <a:gd name="T3" fmla="*/ 2147483647 h 71"/>
              <a:gd name="T4" fmla="*/ 2147483647 w 123"/>
              <a:gd name="T5" fmla="*/ 2147483647 h 71"/>
              <a:gd name="T6" fmla="*/ 2147483647 w 123"/>
              <a:gd name="T7" fmla="*/ 2147483647 h 71"/>
              <a:gd name="T8" fmla="*/ 2147483647 w 123"/>
              <a:gd name="T9" fmla="*/ 2147483647 h 71"/>
              <a:gd name="T10" fmla="*/ 2147483647 w 123"/>
              <a:gd name="T11" fmla="*/ 2147483647 h 71"/>
              <a:gd name="T12" fmla="*/ 2147483647 w 123"/>
              <a:gd name="T13" fmla="*/ 0 h 71"/>
              <a:gd name="T14" fmla="*/ 2147483647 w 123"/>
              <a:gd name="T15" fmla="*/ 2147483647 h 71"/>
              <a:gd name="T16" fmla="*/ 2147483647 w 123"/>
              <a:gd name="T17" fmla="*/ 2147483647 h 71"/>
              <a:gd name="T18" fmla="*/ 2147483647 w 123"/>
              <a:gd name="T19" fmla="*/ 2147483647 h 71"/>
              <a:gd name="T20" fmla="*/ 2147483647 w 123"/>
              <a:gd name="T21" fmla="*/ 2147483647 h 71"/>
              <a:gd name="T22" fmla="*/ 2147483647 w 123"/>
              <a:gd name="T23" fmla="*/ 2147483647 h 71"/>
              <a:gd name="T24" fmla="*/ 2147483647 w 123"/>
              <a:gd name="T25" fmla="*/ 2147483647 h 71"/>
              <a:gd name="T26" fmla="*/ 0 w 123"/>
              <a:gd name="T27" fmla="*/ 2147483647 h 7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3"/>
              <a:gd name="T43" fmla="*/ 0 h 71"/>
              <a:gd name="T44" fmla="*/ 123 w 123"/>
              <a:gd name="T45" fmla="*/ 71 h 7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3" h="71">
                <a:moveTo>
                  <a:pt x="0" y="34"/>
                </a:moveTo>
                <a:lnTo>
                  <a:pt x="13" y="34"/>
                </a:lnTo>
                <a:lnTo>
                  <a:pt x="16" y="26"/>
                </a:lnTo>
                <a:lnTo>
                  <a:pt x="34" y="31"/>
                </a:lnTo>
                <a:lnTo>
                  <a:pt x="46" y="22"/>
                </a:lnTo>
                <a:lnTo>
                  <a:pt x="52" y="9"/>
                </a:lnTo>
                <a:lnTo>
                  <a:pt x="91" y="0"/>
                </a:lnTo>
                <a:lnTo>
                  <a:pt x="117" y="4"/>
                </a:lnTo>
                <a:lnTo>
                  <a:pt x="110" y="16"/>
                </a:lnTo>
                <a:lnTo>
                  <a:pt x="120" y="27"/>
                </a:lnTo>
                <a:lnTo>
                  <a:pt x="123" y="48"/>
                </a:lnTo>
                <a:lnTo>
                  <a:pt x="17" y="71"/>
                </a:lnTo>
                <a:lnTo>
                  <a:pt x="4" y="51"/>
                </a:lnTo>
                <a:lnTo>
                  <a:pt x="0" y="34"/>
                </a:lnTo>
              </a:path>
            </a:pathLst>
          </a:custGeom>
          <a:solidFill>
            <a:schemeClr val="accent3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0" name="Freeform 74" descr="Large grid">
            <a:extLst>
              <a:ext uri="{FF2B5EF4-FFF2-40B4-BE49-F238E27FC236}">
                <a16:creationId xmlns:a16="http://schemas.microsoft.com/office/drawing/2014/main" id="{A0BE8AC4-CD4A-4844-A3C5-4BC8F7BA82E2}"/>
              </a:ext>
            </a:extLst>
          </p:cNvPr>
          <p:cNvSpPr>
            <a:spLocks/>
          </p:cNvSpPr>
          <p:nvPr/>
        </p:nvSpPr>
        <p:spPr bwMode="auto">
          <a:xfrm rot="21249101">
            <a:off x="6337360" y="2544693"/>
            <a:ext cx="19752" cy="18023"/>
          </a:xfrm>
          <a:custGeom>
            <a:avLst/>
            <a:gdLst>
              <a:gd name="T0" fmla="*/ 2147483647 w 45"/>
              <a:gd name="T1" fmla="*/ 2147483647 h 53"/>
              <a:gd name="T2" fmla="*/ 2147483647 w 45"/>
              <a:gd name="T3" fmla="*/ 0 h 53"/>
              <a:gd name="T4" fmla="*/ 2147483647 w 45"/>
              <a:gd name="T5" fmla="*/ 2147483647 h 53"/>
              <a:gd name="T6" fmla="*/ 0 w 45"/>
              <a:gd name="T7" fmla="*/ 2147483647 h 53"/>
              <a:gd name="T8" fmla="*/ 0 w 45"/>
              <a:gd name="T9" fmla="*/ 2147483647 h 53"/>
              <a:gd name="T10" fmla="*/ 2147483647 w 45"/>
              <a:gd name="T11" fmla="*/ 2147483647 h 53"/>
              <a:gd name="T12" fmla="*/ 2147483647 w 45"/>
              <a:gd name="T13" fmla="*/ 2147483647 h 5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5"/>
              <a:gd name="T22" fmla="*/ 0 h 53"/>
              <a:gd name="T23" fmla="*/ 45 w 45"/>
              <a:gd name="T24" fmla="*/ 53 h 5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5" h="53">
                <a:moveTo>
                  <a:pt x="41" y="7"/>
                </a:moveTo>
                <a:lnTo>
                  <a:pt x="45" y="0"/>
                </a:lnTo>
                <a:lnTo>
                  <a:pt x="9" y="26"/>
                </a:lnTo>
                <a:lnTo>
                  <a:pt x="0" y="46"/>
                </a:lnTo>
                <a:lnTo>
                  <a:pt x="0" y="53"/>
                </a:lnTo>
                <a:lnTo>
                  <a:pt x="23" y="49"/>
                </a:lnTo>
                <a:lnTo>
                  <a:pt x="41" y="7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1" name="Freeform 75" descr="Large grid">
            <a:extLst>
              <a:ext uri="{FF2B5EF4-FFF2-40B4-BE49-F238E27FC236}">
                <a16:creationId xmlns:a16="http://schemas.microsoft.com/office/drawing/2014/main" id="{BC0E964B-9F1F-4C64-BFDC-F9F30F7ED743}"/>
              </a:ext>
            </a:extLst>
          </p:cNvPr>
          <p:cNvSpPr>
            <a:spLocks/>
          </p:cNvSpPr>
          <p:nvPr/>
        </p:nvSpPr>
        <p:spPr bwMode="auto">
          <a:xfrm rot="21249101">
            <a:off x="6337360" y="2544693"/>
            <a:ext cx="19752" cy="18023"/>
          </a:xfrm>
          <a:custGeom>
            <a:avLst/>
            <a:gdLst>
              <a:gd name="T0" fmla="*/ 2147483647 w 45"/>
              <a:gd name="T1" fmla="*/ 2147483647 h 53"/>
              <a:gd name="T2" fmla="*/ 2147483647 w 45"/>
              <a:gd name="T3" fmla="*/ 0 h 53"/>
              <a:gd name="T4" fmla="*/ 2147483647 w 45"/>
              <a:gd name="T5" fmla="*/ 2147483647 h 53"/>
              <a:gd name="T6" fmla="*/ 0 w 45"/>
              <a:gd name="T7" fmla="*/ 2147483647 h 53"/>
              <a:gd name="T8" fmla="*/ 0 w 45"/>
              <a:gd name="T9" fmla="*/ 2147483647 h 53"/>
              <a:gd name="T10" fmla="*/ 2147483647 w 45"/>
              <a:gd name="T11" fmla="*/ 2147483647 h 53"/>
              <a:gd name="T12" fmla="*/ 2147483647 w 45"/>
              <a:gd name="T13" fmla="*/ 2147483647 h 5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5"/>
              <a:gd name="T22" fmla="*/ 0 h 53"/>
              <a:gd name="T23" fmla="*/ 45 w 45"/>
              <a:gd name="T24" fmla="*/ 53 h 5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5" h="53">
                <a:moveTo>
                  <a:pt x="41" y="7"/>
                </a:moveTo>
                <a:lnTo>
                  <a:pt x="45" y="0"/>
                </a:lnTo>
                <a:lnTo>
                  <a:pt x="9" y="26"/>
                </a:lnTo>
                <a:lnTo>
                  <a:pt x="0" y="46"/>
                </a:lnTo>
                <a:lnTo>
                  <a:pt x="0" y="53"/>
                </a:lnTo>
                <a:lnTo>
                  <a:pt x="23" y="49"/>
                </a:lnTo>
                <a:lnTo>
                  <a:pt x="41" y="7"/>
                </a:lnTo>
              </a:path>
            </a:pathLst>
          </a:custGeom>
          <a:solidFill>
            <a:schemeClr val="accent3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2" name="Freeform 76" descr="Large grid">
            <a:extLst>
              <a:ext uri="{FF2B5EF4-FFF2-40B4-BE49-F238E27FC236}">
                <a16:creationId xmlns:a16="http://schemas.microsoft.com/office/drawing/2014/main" id="{22A35157-542B-4BB5-804A-51859B028A22}"/>
              </a:ext>
            </a:extLst>
          </p:cNvPr>
          <p:cNvSpPr>
            <a:spLocks/>
          </p:cNvSpPr>
          <p:nvPr/>
        </p:nvSpPr>
        <p:spPr bwMode="auto">
          <a:xfrm rot="21249101">
            <a:off x="6439079" y="2374359"/>
            <a:ext cx="45719" cy="45719"/>
          </a:xfrm>
          <a:custGeom>
            <a:avLst/>
            <a:gdLst>
              <a:gd name="T0" fmla="*/ 2147483647 w 41"/>
              <a:gd name="T1" fmla="*/ 2147483647 h 58"/>
              <a:gd name="T2" fmla="*/ 2147483647 w 41"/>
              <a:gd name="T3" fmla="*/ 2147483647 h 58"/>
              <a:gd name="T4" fmla="*/ 2147483647 w 41"/>
              <a:gd name="T5" fmla="*/ 2147483647 h 58"/>
              <a:gd name="T6" fmla="*/ 2147483647 w 41"/>
              <a:gd name="T7" fmla="*/ 0 h 58"/>
              <a:gd name="T8" fmla="*/ 2147483647 w 41"/>
              <a:gd name="T9" fmla="*/ 2147483647 h 58"/>
              <a:gd name="T10" fmla="*/ 0 w 41"/>
              <a:gd name="T11" fmla="*/ 2147483647 h 58"/>
              <a:gd name="T12" fmla="*/ 2147483647 w 41"/>
              <a:gd name="T13" fmla="*/ 2147483647 h 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58"/>
              <a:gd name="T23" fmla="*/ 41 w 41"/>
              <a:gd name="T24" fmla="*/ 58 h 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58">
                <a:moveTo>
                  <a:pt x="12" y="58"/>
                </a:moveTo>
                <a:lnTo>
                  <a:pt x="41" y="22"/>
                </a:lnTo>
                <a:lnTo>
                  <a:pt x="37" y="9"/>
                </a:lnTo>
                <a:lnTo>
                  <a:pt x="18" y="0"/>
                </a:lnTo>
                <a:lnTo>
                  <a:pt x="9" y="9"/>
                </a:lnTo>
                <a:lnTo>
                  <a:pt x="0" y="56"/>
                </a:lnTo>
                <a:lnTo>
                  <a:pt x="12" y="58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3" name="Freeform 77" descr="Large grid">
            <a:extLst>
              <a:ext uri="{FF2B5EF4-FFF2-40B4-BE49-F238E27FC236}">
                <a16:creationId xmlns:a16="http://schemas.microsoft.com/office/drawing/2014/main" id="{8C0C55F1-1131-4124-92EC-2AF515226773}"/>
              </a:ext>
            </a:extLst>
          </p:cNvPr>
          <p:cNvSpPr>
            <a:spLocks/>
          </p:cNvSpPr>
          <p:nvPr/>
        </p:nvSpPr>
        <p:spPr bwMode="auto">
          <a:xfrm rot="21249101">
            <a:off x="6439079" y="2374359"/>
            <a:ext cx="45719" cy="45719"/>
          </a:xfrm>
          <a:custGeom>
            <a:avLst/>
            <a:gdLst>
              <a:gd name="T0" fmla="*/ 2147483647 w 41"/>
              <a:gd name="T1" fmla="*/ 2147483647 h 58"/>
              <a:gd name="T2" fmla="*/ 2147483647 w 41"/>
              <a:gd name="T3" fmla="*/ 2147483647 h 58"/>
              <a:gd name="T4" fmla="*/ 2147483647 w 41"/>
              <a:gd name="T5" fmla="*/ 2147483647 h 58"/>
              <a:gd name="T6" fmla="*/ 2147483647 w 41"/>
              <a:gd name="T7" fmla="*/ 0 h 58"/>
              <a:gd name="T8" fmla="*/ 2147483647 w 41"/>
              <a:gd name="T9" fmla="*/ 2147483647 h 58"/>
              <a:gd name="T10" fmla="*/ 0 w 41"/>
              <a:gd name="T11" fmla="*/ 2147483647 h 58"/>
              <a:gd name="T12" fmla="*/ 2147483647 w 41"/>
              <a:gd name="T13" fmla="*/ 2147483647 h 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58"/>
              <a:gd name="T23" fmla="*/ 41 w 41"/>
              <a:gd name="T24" fmla="*/ 58 h 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58">
                <a:moveTo>
                  <a:pt x="12" y="58"/>
                </a:moveTo>
                <a:lnTo>
                  <a:pt x="41" y="22"/>
                </a:lnTo>
                <a:lnTo>
                  <a:pt x="37" y="9"/>
                </a:lnTo>
                <a:lnTo>
                  <a:pt x="18" y="0"/>
                </a:lnTo>
                <a:lnTo>
                  <a:pt x="9" y="9"/>
                </a:lnTo>
                <a:lnTo>
                  <a:pt x="0" y="56"/>
                </a:lnTo>
                <a:lnTo>
                  <a:pt x="12" y="58"/>
                </a:lnTo>
              </a:path>
            </a:pathLst>
          </a:custGeom>
          <a:solidFill>
            <a:schemeClr val="accent3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4" name="Freeform 78" descr="Large grid">
            <a:extLst>
              <a:ext uri="{FF2B5EF4-FFF2-40B4-BE49-F238E27FC236}">
                <a16:creationId xmlns:a16="http://schemas.microsoft.com/office/drawing/2014/main" id="{2FD08EA4-A981-4232-9BC8-8FA4E5A56D87}"/>
              </a:ext>
            </a:extLst>
          </p:cNvPr>
          <p:cNvSpPr>
            <a:spLocks/>
          </p:cNvSpPr>
          <p:nvPr/>
        </p:nvSpPr>
        <p:spPr bwMode="auto">
          <a:xfrm rot="21249101">
            <a:off x="6369303" y="2439886"/>
            <a:ext cx="45719" cy="45719"/>
          </a:xfrm>
          <a:custGeom>
            <a:avLst/>
            <a:gdLst>
              <a:gd name="T0" fmla="*/ 0 w 32"/>
              <a:gd name="T1" fmla="*/ 2147483647 h 43"/>
              <a:gd name="T2" fmla="*/ 2147483647 w 32"/>
              <a:gd name="T3" fmla="*/ 2147483647 h 43"/>
              <a:gd name="T4" fmla="*/ 2147483647 w 32"/>
              <a:gd name="T5" fmla="*/ 2147483647 h 43"/>
              <a:gd name="T6" fmla="*/ 2147483647 w 32"/>
              <a:gd name="T7" fmla="*/ 2147483647 h 43"/>
              <a:gd name="T8" fmla="*/ 2147483647 w 32"/>
              <a:gd name="T9" fmla="*/ 0 h 43"/>
              <a:gd name="T10" fmla="*/ 0 w 32"/>
              <a:gd name="T11" fmla="*/ 2147483647 h 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2"/>
              <a:gd name="T19" fmla="*/ 0 h 43"/>
              <a:gd name="T20" fmla="*/ 32 w 32"/>
              <a:gd name="T21" fmla="*/ 43 h 4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2" h="43">
                <a:moveTo>
                  <a:pt x="0" y="43"/>
                </a:moveTo>
                <a:lnTo>
                  <a:pt x="9" y="31"/>
                </a:lnTo>
                <a:lnTo>
                  <a:pt x="28" y="25"/>
                </a:lnTo>
                <a:lnTo>
                  <a:pt x="32" y="17"/>
                </a:lnTo>
                <a:lnTo>
                  <a:pt x="11" y="0"/>
                </a:lnTo>
                <a:lnTo>
                  <a:pt x="0" y="43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5" name="Freeform 79" descr="Large grid">
            <a:extLst>
              <a:ext uri="{FF2B5EF4-FFF2-40B4-BE49-F238E27FC236}">
                <a16:creationId xmlns:a16="http://schemas.microsoft.com/office/drawing/2014/main" id="{DDF3353B-FC6D-42EF-8E0D-FF1BB84FC875}"/>
              </a:ext>
            </a:extLst>
          </p:cNvPr>
          <p:cNvSpPr>
            <a:spLocks/>
          </p:cNvSpPr>
          <p:nvPr/>
        </p:nvSpPr>
        <p:spPr bwMode="auto">
          <a:xfrm rot="21249101">
            <a:off x="6369303" y="2439886"/>
            <a:ext cx="45719" cy="45719"/>
          </a:xfrm>
          <a:custGeom>
            <a:avLst/>
            <a:gdLst>
              <a:gd name="T0" fmla="*/ 0 w 32"/>
              <a:gd name="T1" fmla="*/ 2147483647 h 43"/>
              <a:gd name="T2" fmla="*/ 2147483647 w 32"/>
              <a:gd name="T3" fmla="*/ 2147483647 h 43"/>
              <a:gd name="T4" fmla="*/ 2147483647 w 32"/>
              <a:gd name="T5" fmla="*/ 2147483647 h 43"/>
              <a:gd name="T6" fmla="*/ 2147483647 w 32"/>
              <a:gd name="T7" fmla="*/ 2147483647 h 43"/>
              <a:gd name="T8" fmla="*/ 2147483647 w 32"/>
              <a:gd name="T9" fmla="*/ 0 h 43"/>
              <a:gd name="T10" fmla="*/ 0 w 32"/>
              <a:gd name="T11" fmla="*/ 2147483647 h 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2"/>
              <a:gd name="T19" fmla="*/ 0 h 43"/>
              <a:gd name="T20" fmla="*/ 32 w 32"/>
              <a:gd name="T21" fmla="*/ 43 h 4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2" h="43">
                <a:moveTo>
                  <a:pt x="0" y="43"/>
                </a:moveTo>
                <a:lnTo>
                  <a:pt x="9" y="31"/>
                </a:lnTo>
                <a:lnTo>
                  <a:pt x="28" y="25"/>
                </a:lnTo>
                <a:lnTo>
                  <a:pt x="32" y="17"/>
                </a:lnTo>
                <a:lnTo>
                  <a:pt x="11" y="0"/>
                </a:lnTo>
                <a:lnTo>
                  <a:pt x="0" y="43"/>
                </a:lnTo>
              </a:path>
            </a:pathLst>
          </a:custGeom>
          <a:solidFill>
            <a:schemeClr val="accent3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6" name="Freeform 80" descr="Large grid">
            <a:extLst>
              <a:ext uri="{FF2B5EF4-FFF2-40B4-BE49-F238E27FC236}">
                <a16:creationId xmlns:a16="http://schemas.microsoft.com/office/drawing/2014/main" id="{AA28463F-C1F9-49AB-A3A9-B10255EA6718}"/>
              </a:ext>
            </a:extLst>
          </p:cNvPr>
          <p:cNvSpPr>
            <a:spLocks/>
          </p:cNvSpPr>
          <p:nvPr/>
        </p:nvSpPr>
        <p:spPr bwMode="auto">
          <a:xfrm rot="21249101">
            <a:off x="6355316" y="2710178"/>
            <a:ext cx="16161" cy="31132"/>
          </a:xfrm>
          <a:custGeom>
            <a:avLst/>
            <a:gdLst>
              <a:gd name="T0" fmla="*/ 2147483647 w 37"/>
              <a:gd name="T1" fmla="*/ 2147483647 h 78"/>
              <a:gd name="T2" fmla="*/ 2147483647 w 37"/>
              <a:gd name="T3" fmla="*/ 2147483647 h 78"/>
              <a:gd name="T4" fmla="*/ 2147483647 w 37"/>
              <a:gd name="T5" fmla="*/ 0 h 78"/>
              <a:gd name="T6" fmla="*/ 2147483647 w 37"/>
              <a:gd name="T7" fmla="*/ 0 h 78"/>
              <a:gd name="T8" fmla="*/ 0 w 37"/>
              <a:gd name="T9" fmla="*/ 2147483647 h 78"/>
              <a:gd name="T10" fmla="*/ 2147483647 w 37"/>
              <a:gd name="T11" fmla="*/ 2147483647 h 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7"/>
              <a:gd name="T19" fmla="*/ 0 h 78"/>
              <a:gd name="T20" fmla="*/ 37 w 37"/>
              <a:gd name="T21" fmla="*/ 78 h 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7" h="78">
                <a:moveTo>
                  <a:pt x="23" y="78"/>
                </a:moveTo>
                <a:lnTo>
                  <a:pt x="37" y="25"/>
                </a:lnTo>
                <a:lnTo>
                  <a:pt x="26" y="0"/>
                </a:lnTo>
                <a:lnTo>
                  <a:pt x="14" y="0"/>
                </a:lnTo>
                <a:lnTo>
                  <a:pt x="0" y="52"/>
                </a:lnTo>
                <a:lnTo>
                  <a:pt x="23" y="78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7" name="Freeform 81" descr="Large grid">
            <a:extLst>
              <a:ext uri="{FF2B5EF4-FFF2-40B4-BE49-F238E27FC236}">
                <a16:creationId xmlns:a16="http://schemas.microsoft.com/office/drawing/2014/main" id="{C865FACF-2385-4C10-A2E5-4BD4A0C1EE85}"/>
              </a:ext>
            </a:extLst>
          </p:cNvPr>
          <p:cNvSpPr>
            <a:spLocks/>
          </p:cNvSpPr>
          <p:nvPr/>
        </p:nvSpPr>
        <p:spPr bwMode="auto">
          <a:xfrm rot="21249101">
            <a:off x="6355316" y="2710178"/>
            <a:ext cx="16161" cy="31132"/>
          </a:xfrm>
          <a:custGeom>
            <a:avLst/>
            <a:gdLst>
              <a:gd name="T0" fmla="*/ 2147483647 w 37"/>
              <a:gd name="T1" fmla="*/ 2147483647 h 78"/>
              <a:gd name="T2" fmla="*/ 2147483647 w 37"/>
              <a:gd name="T3" fmla="*/ 2147483647 h 78"/>
              <a:gd name="T4" fmla="*/ 2147483647 w 37"/>
              <a:gd name="T5" fmla="*/ 0 h 78"/>
              <a:gd name="T6" fmla="*/ 2147483647 w 37"/>
              <a:gd name="T7" fmla="*/ 0 h 78"/>
              <a:gd name="T8" fmla="*/ 0 w 37"/>
              <a:gd name="T9" fmla="*/ 2147483647 h 78"/>
              <a:gd name="T10" fmla="*/ 2147483647 w 37"/>
              <a:gd name="T11" fmla="*/ 2147483647 h 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7"/>
              <a:gd name="T19" fmla="*/ 0 h 78"/>
              <a:gd name="T20" fmla="*/ 37 w 37"/>
              <a:gd name="T21" fmla="*/ 78 h 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7" h="78">
                <a:moveTo>
                  <a:pt x="23" y="78"/>
                </a:moveTo>
                <a:lnTo>
                  <a:pt x="37" y="25"/>
                </a:lnTo>
                <a:lnTo>
                  <a:pt x="26" y="0"/>
                </a:lnTo>
                <a:lnTo>
                  <a:pt x="14" y="0"/>
                </a:lnTo>
                <a:lnTo>
                  <a:pt x="0" y="52"/>
                </a:lnTo>
                <a:lnTo>
                  <a:pt x="23" y="78"/>
                </a:lnTo>
              </a:path>
            </a:pathLst>
          </a:custGeom>
          <a:solidFill>
            <a:schemeClr val="accent3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8" name="Freeform 82" descr="Large grid">
            <a:extLst>
              <a:ext uri="{FF2B5EF4-FFF2-40B4-BE49-F238E27FC236}">
                <a16:creationId xmlns:a16="http://schemas.microsoft.com/office/drawing/2014/main" id="{F404975F-DFCC-43D9-8CD7-05250274AB09}"/>
              </a:ext>
            </a:extLst>
          </p:cNvPr>
          <p:cNvSpPr>
            <a:spLocks/>
          </p:cNvSpPr>
          <p:nvPr/>
        </p:nvSpPr>
        <p:spPr bwMode="auto">
          <a:xfrm rot="21249101">
            <a:off x="6335565" y="2795380"/>
            <a:ext cx="12569" cy="26216"/>
          </a:xfrm>
          <a:custGeom>
            <a:avLst/>
            <a:gdLst>
              <a:gd name="T0" fmla="*/ 2147483647 w 29"/>
              <a:gd name="T1" fmla="*/ 2147483647 h 72"/>
              <a:gd name="T2" fmla="*/ 2147483647 w 29"/>
              <a:gd name="T3" fmla="*/ 2147483647 h 72"/>
              <a:gd name="T4" fmla="*/ 2147483647 w 29"/>
              <a:gd name="T5" fmla="*/ 0 h 72"/>
              <a:gd name="T6" fmla="*/ 2147483647 w 29"/>
              <a:gd name="T7" fmla="*/ 2147483647 h 72"/>
              <a:gd name="T8" fmla="*/ 0 w 29"/>
              <a:gd name="T9" fmla="*/ 2147483647 h 72"/>
              <a:gd name="T10" fmla="*/ 2147483647 w 29"/>
              <a:gd name="T11" fmla="*/ 2147483647 h 7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"/>
              <a:gd name="T19" fmla="*/ 0 h 72"/>
              <a:gd name="T20" fmla="*/ 29 w 29"/>
              <a:gd name="T21" fmla="*/ 72 h 7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" h="72">
                <a:moveTo>
                  <a:pt x="19" y="72"/>
                </a:moveTo>
                <a:lnTo>
                  <a:pt x="29" y="11"/>
                </a:lnTo>
                <a:lnTo>
                  <a:pt x="26" y="0"/>
                </a:lnTo>
                <a:lnTo>
                  <a:pt x="15" y="8"/>
                </a:lnTo>
                <a:lnTo>
                  <a:pt x="0" y="66"/>
                </a:lnTo>
                <a:lnTo>
                  <a:pt x="19" y="7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89" name="Freeform 83" descr="Large grid">
            <a:extLst>
              <a:ext uri="{FF2B5EF4-FFF2-40B4-BE49-F238E27FC236}">
                <a16:creationId xmlns:a16="http://schemas.microsoft.com/office/drawing/2014/main" id="{ABCE530C-1CE6-4878-9E25-4C7728D7122E}"/>
              </a:ext>
            </a:extLst>
          </p:cNvPr>
          <p:cNvSpPr>
            <a:spLocks/>
          </p:cNvSpPr>
          <p:nvPr/>
        </p:nvSpPr>
        <p:spPr bwMode="auto">
          <a:xfrm rot="21249101">
            <a:off x="6335565" y="2795380"/>
            <a:ext cx="12569" cy="26216"/>
          </a:xfrm>
          <a:custGeom>
            <a:avLst/>
            <a:gdLst>
              <a:gd name="T0" fmla="*/ 2147483647 w 29"/>
              <a:gd name="T1" fmla="*/ 2147483647 h 72"/>
              <a:gd name="T2" fmla="*/ 2147483647 w 29"/>
              <a:gd name="T3" fmla="*/ 2147483647 h 72"/>
              <a:gd name="T4" fmla="*/ 2147483647 w 29"/>
              <a:gd name="T5" fmla="*/ 0 h 72"/>
              <a:gd name="T6" fmla="*/ 2147483647 w 29"/>
              <a:gd name="T7" fmla="*/ 2147483647 h 72"/>
              <a:gd name="T8" fmla="*/ 0 w 29"/>
              <a:gd name="T9" fmla="*/ 2147483647 h 72"/>
              <a:gd name="T10" fmla="*/ 2147483647 w 29"/>
              <a:gd name="T11" fmla="*/ 2147483647 h 7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"/>
              <a:gd name="T19" fmla="*/ 0 h 72"/>
              <a:gd name="T20" fmla="*/ 29 w 29"/>
              <a:gd name="T21" fmla="*/ 72 h 7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" h="72">
                <a:moveTo>
                  <a:pt x="19" y="72"/>
                </a:moveTo>
                <a:lnTo>
                  <a:pt x="29" y="11"/>
                </a:lnTo>
                <a:lnTo>
                  <a:pt x="26" y="0"/>
                </a:lnTo>
                <a:lnTo>
                  <a:pt x="15" y="8"/>
                </a:lnTo>
                <a:lnTo>
                  <a:pt x="0" y="66"/>
                </a:lnTo>
                <a:lnTo>
                  <a:pt x="19" y="72"/>
                </a:lnTo>
              </a:path>
            </a:pathLst>
          </a:custGeom>
          <a:solidFill>
            <a:schemeClr val="accent3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0" name="Freeform 84">
            <a:extLst>
              <a:ext uri="{FF2B5EF4-FFF2-40B4-BE49-F238E27FC236}">
                <a16:creationId xmlns:a16="http://schemas.microsoft.com/office/drawing/2014/main" id="{D2CDE108-5D01-475E-84CF-1E2FF7C2DBC6}"/>
              </a:ext>
            </a:extLst>
          </p:cNvPr>
          <p:cNvSpPr>
            <a:spLocks/>
          </p:cNvSpPr>
          <p:nvPr/>
        </p:nvSpPr>
        <p:spPr bwMode="auto">
          <a:xfrm rot="21249101">
            <a:off x="5307484" y="2954220"/>
            <a:ext cx="211878" cy="208088"/>
          </a:xfrm>
          <a:custGeom>
            <a:avLst/>
            <a:gdLst>
              <a:gd name="T0" fmla="*/ 2147483647 w 506"/>
              <a:gd name="T1" fmla="*/ 2147483647 h 543"/>
              <a:gd name="T2" fmla="*/ 2147483647 w 506"/>
              <a:gd name="T3" fmla="*/ 2147483647 h 543"/>
              <a:gd name="T4" fmla="*/ 2147483647 w 506"/>
              <a:gd name="T5" fmla="*/ 2147483647 h 543"/>
              <a:gd name="T6" fmla="*/ 2147483647 w 506"/>
              <a:gd name="T7" fmla="*/ 2147483647 h 543"/>
              <a:gd name="T8" fmla="*/ 2147483647 w 506"/>
              <a:gd name="T9" fmla="*/ 2147483647 h 543"/>
              <a:gd name="T10" fmla="*/ 0 w 506"/>
              <a:gd name="T11" fmla="*/ 2147483647 h 543"/>
              <a:gd name="T12" fmla="*/ 2147483647 w 506"/>
              <a:gd name="T13" fmla="*/ 2147483647 h 543"/>
              <a:gd name="T14" fmla="*/ 2147483647 w 506"/>
              <a:gd name="T15" fmla="*/ 2147483647 h 543"/>
              <a:gd name="T16" fmla="*/ 2147483647 w 506"/>
              <a:gd name="T17" fmla="*/ 2147483647 h 543"/>
              <a:gd name="T18" fmla="*/ 2147483647 w 506"/>
              <a:gd name="T19" fmla="*/ 2147483647 h 543"/>
              <a:gd name="T20" fmla="*/ 2147483647 w 506"/>
              <a:gd name="T21" fmla="*/ 2147483647 h 543"/>
              <a:gd name="T22" fmla="*/ 2147483647 w 506"/>
              <a:gd name="T23" fmla="*/ 2147483647 h 543"/>
              <a:gd name="T24" fmla="*/ 2147483647 w 506"/>
              <a:gd name="T25" fmla="*/ 2147483647 h 543"/>
              <a:gd name="T26" fmla="*/ 2147483647 w 506"/>
              <a:gd name="T27" fmla="*/ 2147483647 h 543"/>
              <a:gd name="T28" fmla="*/ 2147483647 w 506"/>
              <a:gd name="T29" fmla="*/ 2147483647 h 543"/>
              <a:gd name="T30" fmla="*/ 2147483647 w 506"/>
              <a:gd name="T31" fmla="*/ 2147483647 h 543"/>
              <a:gd name="T32" fmla="*/ 2147483647 w 506"/>
              <a:gd name="T33" fmla="*/ 2147483647 h 543"/>
              <a:gd name="T34" fmla="*/ 2147483647 w 506"/>
              <a:gd name="T35" fmla="*/ 2147483647 h 543"/>
              <a:gd name="T36" fmla="*/ 2147483647 w 506"/>
              <a:gd name="T37" fmla="*/ 2147483647 h 543"/>
              <a:gd name="T38" fmla="*/ 2147483647 w 506"/>
              <a:gd name="T39" fmla="*/ 2147483647 h 543"/>
              <a:gd name="T40" fmla="*/ 2147483647 w 506"/>
              <a:gd name="T41" fmla="*/ 2147483647 h 543"/>
              <a:gd name="T42" fmla="*/ 2147483647 w 506"/>
              <a:gd name="T43" fmla="*/ 2147483647 h 543"/>
              <a:gd name="T44" fmla="*/ 2147483647 w 506"/>
              <a:gd name="T45" fmla="*/ 2147483647 h 543"/>
              <a:gd name="T46" fmla="*/ 2147483647 w 506"/>
              <a:gd name="T47" fmla="*/ 2147483647 h 543"/>
              <a:gd name="T48" fmla="*/ 2147483647 w 506"/>
              <a:gd name="T49" fmla="*/ 2147483647 h 543"/>
              <a:gd name="T50" fmla="*/ 2147483647 w 506"/>
              <a:gd name="T51" fmla="*/ 2147483647 h 543"/>
              <a:gd name="T52" fmla="*/ 2147483647 w 506"/>
              <a:gd name="T53" fmla="*/ 2147483647 h 543"/>
              <a:gd name="T54" fmla="*/ 2147483647 w 506"/>
              <a:gd name="T55" fmla="*/ 2147483647 h 543"/>
              <a:gd name="T56" fmla="*/ 2147483647 w 506"/>
              <a:gd name="T57" fmla="*/ 2147483647 h 543"/>
              <a:gd name="T58" fmla="*/ 2147483647 w 506"/>
              <a:gd name="T59" fmla="*/ 2147483647 h 543"/>
              <a:gd name="T60" fmla="*/ 2147483647 w 506"/>
              <a:gd name="T61" fmla="*/ 2147483647 h 543"/>
              <a:gd name="T62" fmla="*/ 2147483647 w 506"/>
              <a:gd name="T63" fmla="*/ 2147483647 h 543"/>
              <a:gd name="T64" fmla="*/ 2147483647 w 506"/>
              <a:gd name="T65" fmla="*/ 2147483647 h 543"/>
              <a:gd name="T66" fmla="*/ 2147483647 w 506"/>
              <a:gd name="T67" fmla="*/ 2147483647 h 543"/>
              <a:gd name="T68" fmla="*/ 2147483647 w 506"/>
              <a:gd name="T69" fmla="*/ 2147483647 h 543"/>
              <a:gd name="T70" fmla="*/ 2147483647 w 506"/>
              <a:gd name="T71" fmla="*/ 2147483647 h 543"/>
              <a:gd name="T72" fmla="*/ 2147483647 w 506"/>
              <a:gd name="T73" fmla="*/ 2147483647 h 543"/>
              <a:gd name="T74" fmla="*/ 2147483647 w 506"/>
              <a:gd name="T75" fmla="*/ 2147483647 h 543"/>
              <a:gd name="T76" fmla="*/ 2147483647 w 506"/>
              <a:gd name="T77" fmla="*/ 0 h 543"/>
              <a:gd name="T78" fmla="*/ 2147483647 w 506"/>
              <a:gd name="T79" fmla="*/ 2147483647 h 543"/>
              <a:gd name="T80" fmla="*/ 2147483647 w 506"/>
              <a:gd name="T81" fmla="*/ 2147483647 h 543"/>
              <a:gd name="T82" fmla="*/ 2147483647 w 506"/>
              <a:gd name="T83" fmla="*/ 2147483647 h 543"/>
              <a:gd name="T84" fmla="*/ 2147483647 w 506"/>
              <a:gd name="T85" fmla="*/ 2147483647 h 543"/>
              <a:gd name="T86" fmla="*/ 2147483647 w 506"/>
              <a:gd name="T87" fmla="*/ 2147483647 h 543"/>
              <a:gd name="T88" fmla="*/ 2147483647 w 506"/>
              <a:gd name="T89" fmla="*/ 2147483647 h 54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506"/>
              <a:gd name="T136" fmla="*/ 0 h 543"/>
              <a:gd name="T137" fmla="*/ 506 w 506"/>
              <a:gd name="T138" fmla="*/ 543 h 54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506" h="543">
                <a:moveTo>
                  <a:pt x="168" y="111"/>
                </a:moveTo>
                <a:lnTo>
                  <a:pt x="143" y="154"/>
                </a:lnTo>
                <a:lnTo>
                  <a:pt x="110" y="181"/>
                </a:lnTo>
                <a:lnTo>
                  <a:pt x="72" y="171"/>
                </a:lnTo>
                <a:lnTo>
                  <a:pt x="53" y="217"/>
                </a:lnTo>
                <a:lnTo>
                  <a:pt x="0" y="230"/>
                </a:lnTo>
                <a:lnTo>
                  <a:pt x="42" y="293"/>
                </a:lnTo>
                <a:lnTo>
                  <a:pt x="42" y="368"/>
                </a:lnTo>
                <a:lnTo>
                  <a:pt x="74" y="406"/>
                </a:lnTo>
                <a:lnTo>
                  <a:pt x="135" y="382"/>
                </a:lnTo>
                <a:lnTo>
                  <a:pt x="173" y="349"/>
                </a:lnTo>
                <a:lnTo>
                  <a:pt x="293" y="365"/>
                </a:lnTo>
                <a:lnTo>
                  <a:pt x="322" y="436"/>
                </a:lnTo>
                <a:lnTo>
                  <a:pt x="320" y="464"/>
                </a:lnTo>
                <a:lnTo>
                  <a:pt x="299" y="519"/>
                </a:lnTo>
                <a:lnTo>
                  <a:pt x="301" y="540"/>
                </a:lnTo>
                <a:lnTo>
                  <a:pt x="310" y="543"/>
                </a:lnTo>
                <a:lnTo>
                  <a:pt x="369" y="531"/>
                </a:lnTo>
                <a:lnTo>
                  <a:pt x="393" y="495"/>
                </a:lnTo>
                <a:lnTo>
                  <a:pt x="443" y="502"/>
                </a:lnTo>
                <a:lnTo>
                  <a:pt x="471" y="484"/>
                </a:lnTo>
                <a:lnTo>
                  <a:pt x="471" y="405"/>
                </a:lnTo>
                <a:lnTo>
                  <a:pt x="484" y="459"/>
                </a:lnTo>
                <a:lnTo>
                  <a:pt x="506" y="420"/>
                </a:lnTo>
                <a:lnTo>
                  <a:pt x="503" y="373"/>
                </a:lnTo>
                <a:lnTo>
                  <a:pt x="490" y="355"/>
                </a:lnTo>
                <a:lnTo>
                  <a:pt x="436" y="345"/>
                </a:lnTo>
                <a:lnTo>
                  <a:pt x="470" y="316"/>
                </a:lnTo>
                <a:lnTo>
                  <a:pt x="493" y="250"/>
                </a:lnTo>
                <a:lnTo>
                  <a:pt x="468" y="145"/>
                </a:lnTo>
                <a:lnTo>
                  <a:pt x="417" y="101"/>
                </a:lnTo>
                <a:lnTo>
                  <a:pt x="320" y="96"/>
                </a:lnTo>
                <a:lnTo>
                  <a:pt x="288" y="109"/>
                </a:lnTo>
                <a:lnTo>
                  <a:pt x="258" y="109"/>
                </a:lnTo>
                <a:lnTo>
                  <a:pt x="256" y="94"/>
                </a:lnTo>
                <a:lnTo>
                  <a:pt x="311" y="62"/>
                </a:lnTo>
                <a:lnTo>
                  <a:pt x="307" y="46"/>
                </a:lnTo>
                <a:lnTo>
                  <a:pt x="287" y="16"/>
                </a:lnTo>
                <a:lnTo>
                  <a:pt x="257" y="0"/>
                </a:lnTo>
                <a:lnTo>
                  <a:pt x="247" y="14"/>
                </a:lnTo>
                <a:lnTo>
                  <a:pt x="233" y="19"/>
                </a:lnTo>
                <a:lnTo>
                  <a:pt x="217" y="38"/>
                </a:lnTo>
                <a:lnTo>
                  <a:pt x="202" y="90"/>
                </a:lnTo>
                <a:lnTo>
                  <a:pt x="187" y="109"/>
                </a:lnTo>
                <a:lnTo>
                  <a:pt x="168" y="11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1" name="Freeform 85">
            <a:extLst>
              <a:ext uri="{FF2B5EF4-FFF2-40B4-BE49-F238E27FC236}">
                <a16:creationId xmlns:a16="http://schemas.microsoft.com/office/drawing/2014/main" id="{F37AB63C-6390-4FD6-AEF7-94DFFA04AC07}"/>
              </a:ext>
            </a:extLst>
          </p:cNvPr>
          <p:cNvSpPr>
            <a:spLocks/>
          </p:cNvSpPr>
          <p:nvPr/>
        </p:nvSpPr>
        <p:spPr bwMode="auto">
          <a:xfrm rot="21249101">
            <a:off x="5307484" y="2954220"/>
            <a:ext cx="211878" cy="208088"/>
          </a:xfrm>
          <a:custGeom>
            <a:avLst/>
            <a:gdLst>
              <a:gd name="T0" fmla="*/ 2147483647 w 506"/>
              <a:gd name="T1" fmla="*/ 2147483647 h 543"/>
              <a:gd name="T2" fmla="*/ 2147483647 w 506"/>
              <a:gd name="T3" fmla="*/ 2147483647 h 543"/>
              <a:gd name="T4" fmla="*/ 2147483647 w 506"/>
              <a:gd name="T5" fmla="*/ 2147483647 h 543"/>
              <a:gd name="T6" fmla="*/ 2147483647 w 506"/>
              <a:gd name="T7" fmla="*/ 2147483647 h 543"/>
              <a:gd name="T8" fmla="*/ 2147483647 w 506"/>
              <a:gd name="T9" fmla="*/ 2147483647 h 543"/>
              <a:gd name="T10" fmla="*/ 0 w 506"/>
              <a:gd name="T11" fmla="*/ 2147483647 h 543"/>
              <a:gd name="T12" fmla="*/ 2147483647 w 506"/>
              <a:gd name="T13" fmla="*/ 2147483647 h 543"/>
              <a:gd name="T14" fmla="*/ 2147483647 w 506"/>
              <a:gd name="T15" fmla="*/ 2147483647 h 543"/>
              <a:gd name="T16" fmla="*/ 2147483647 w 506"/>
              <a:gd name="T17" fmla="*/ 2147483647 h 543"/>
              <a:gd name="T18" fmla="*/ 2147483647 w 506"/>
              <a:gd name="T19" fmla="*/ 2147483647 h 543"/>
              <a:gd name="T20" fmla="*/ 2147483647 w 506"/>
              <a:gd name="T21" fmla="*/ 2147483647 h 543"/>
              <a:gd name="T22" fmla="*/ 2147483647 w 506"/>
              <a:gd name="T23" fmla="*/ 2147483647 h 543"/>
              <a:gd name="T24" fmla="*/ 2147483647 w 506"/>
              <a:gd name="T25" fmla="*/ 2147483647 h 543"/>
              <a:gd name="T26" fmla="*/ 2147483647 w 506"/>
              <a:gd name="T27" fmla="*/ 2147483647 h 543"/>
              <a:gd name="T28" fmla="*/ 2147483647 w 506"/>
              <a:gd name="T29" fmla="*/ 2147483647 h 543"/>
              <a:gd name="T30" fmla="*/ 2147483647 w 506"/>
              <a:gd name="T31" fmla="*/ 2147483647 h 543"/>
              <a:gd name="T32" fmla="*/ 2147483647 w 506"/>
              <a:gd name="T33" fmla="*/ 2147483647 h 543"/>
              <a:gd name="T34" fmla="*/ 2147483647 w 506"/>
              <a:gd name="T35" fmla="*/ 2147483647 h 543"/>
              <a:gd name="T36" fmla="*/ 2147483647 w 506"/>
              <a:gd name="T37" fmla="*/ 2147483647 h 543"/>
              <a:gd name="T38" fmla="*/ 2147483647 w 506"/>
              <a:gd name="T39" fmla="*/ 2147483647 h 543"/>
              <a:gd name="T40" fmla="*/ 2147483647 w 506"/>
              <a:gd name="T41" fmla="*/ 2147483647 h 543"/>
              <a:gd name="T42" fmla="*/ 2147483647 w 506"/>
              <a:gd name="T43" fmla="*/ 2147483647 h 543"/>
              <a:gd name="T44" fmla="*/ 2147483647 w 506"/>
              <a:gd name="T45" fmla="*/ 2147483647 h 543"/>
              <a:gd name="T46" fmla="*/ 2147483647 w 506"/>
              <a:gd name="T47" fmla="*/ 2147483647 h 543"/>
              <a:gd name="T48" fmla="*/ 2147483647 w 506"/>
              <a:gd name="T49" fmla="*/ 2147483647 h 543"/>
              <a:gd name="T50" fmla="*/ 2147483647 w 506"/>
              <a:gd name="T51" fmla="*/ 2147483647 h 543"/>
              <a:gd name="T52" fmla="*/ 2147483647 w 506"/>
              <a:gd name="T53" fmla="*/ 2147483647 h 543"/>
              <a:gd name="T54" fmla="*/ 2147483647 w 506"/>
              <a:gd name="T55" fmla="*/ 2147483647 h 543"/>
              <a:gd name="T56" fmla="*/ 2147483647 w 506"/>
              <a:gd name="T57" fmla="*/ 2147483647 h 543"/>
              <a:gd name="T58" fmla="*/ 2147483647 w 506"/>
              <a:gd name="T59" fmla="*/ 2147483647 h 543"/>
              <a:gd name="T60" fmla="*/ 2147483647 w 506"/>
              <a:gd name="T61" fmla="*/ 2147483647 h 543"/>
              <a:gd name="T62" fmla="*/ 2147483647 w 506"/>
              <a:gd name="T63" fmla="*/ 2147483647 h 543"/>
              <a:gd name="T64" fmla="*/ 2147483647 w 506"/>
              <a:gd name="T65" fmla="*/ 2147483647 h 543"/>
              <a:gd name="T66" fmla="*/ 2147483647 w 506"/>
              <a:gd name="T67" fmla="*/ 2147483647 h 543"/>
              <a:gd name="T68" fmla="*/ 2147483647 w 506"/>
              <a:gd name="T69" fmla="*/ 2147483647 h 543"/>
              <a:gd name="T70" fmla="*/ 2147483647 w 506"/>
              <a:gd name="T71" fmla="*/ 2147483647 h 543"/>
              <a:gd name="T72" fmla="*/ 2147483647 w 506"/>
              <a:gd name="T73" fmla="*/ 2147483647 h 543"/>
              <a:gd name="T74" fmla="*/ 2147483647 w 506"/>
              <a:gd name="T75" fmla="*/ 2147483647 h 543"/>
              <a:gd name="T76" fmla="*/ 2147483647 w 506"/>
              <a:gd name="T77" fmla="*/ 0 h 543"/>
              <a:gd name="T78" fmla="*/ 2147483647 w 506"/>
              <a:gd name="T79" fmla="*/ 2147483647 h 543"/>
              <a:gd name="T80" fmla="*/ 2147483647 w 506"/>
              <a:gd name="T81" fmla="*/ 2147483647 h 543"/>
              <a:gd name="T82" fmla="*/ 2147483647 w 506"/>
              <a:gd name="T83" fmla="*/ 2147483647 h 543"/>
              <a:gd name="T84" fmla="*/ 2147483647 w 506"/>
              <a:gd name="T85" fmla="*/ 2147483647 h 543"/>
              <a:gd name="T86" fmla="*/ 2147483647 w 506"/>
              <a:gd name="T87" fmla="*/ 2147483647 h 543"/>
              <a:gd name="T88" fmla="*/ 2147483647 w 506"/>
              <a:gd name="T89" fmla="*/ 2147483647 h 54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506"/>
              <a:gd name="T136" fmla="*/ 0 h 543"/>
              <a:gd name="T137" fmla="*/ 506 w 506"/>
              <a:gd name="T138" fmla="*/ 543 h 54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506" h="543">
                <a:moveTo>
                  <a:pt x="168" y="111"/>
                </a:moveTo>
                <a:lnTo>
                  <a:pt x="143" y="154"/>
                </a:lnTo>
                <a:lnTo>
                  <a:pt x="110" y="181"/>
                </a:lnTo>
                <a:lnTo>
                  <a:pt x="72" y="171"/>
                </a:lnTo>
                <a:lnTo>
                  <a:pt x="53" y="217"/>
                </a:lnTo>
                <a:lnTo>
                  <a:pt x="0" y="230"/>
                </a:lnTo>
                <a:lnTo>
                  <a:pt x="42" y="293"/>
                </a:lnTo>
                <a:lnTo>
                  <a:pt x="42" y="368"/>
                </a:lnTo>
                <a:lnTo>
                  <a:pt x="74" y="406"/>
                </a:lnTo>
                <a:lnTo>
                  <a:pt x="135" y="382"/>
                </a:lnTo>
                <a:lnTo>
                  <a:pt x="173" y="349"/>
                </a:lnTo>
                <a:lnTo>
                  <a:pt x="293" y="365"/>
                </a:lnTo>
                <a:lnTo>
                  <a:pt x="322" y="436"/>
                </a:lnTo>
                <a:lnTo>
                  <a:pt x="320" y="464"/>
                </a:lnTo>
                <a:lnTo>
                  <a:pt x="299" y="519"/>
                </a:lnTo>
                <a:lnTo>
                  <a:pt x="301" y="540"/>
                </a:lnTo>
                <a:lnTo>
                  <a:pt x="310" y="543"/>
                </a:lnTo>
                <a:lnTo>
                  <a:pt x="369" y="531"/>
                </a:lnTo>
                <a:lnTo>
                  <a:pt x="393" y="495"/>
                </a:lnTo>
                <a:lnTo>
                  <a:pt x="443" y="502"/>
                </a:lnTo>
                <a:lnTo>
                  <a:pt x="471" y="484"/>
                </a:lnTo>
                <a:lnTo>
                  <a:pt x="471" y="405"/>
                </a:lnTo>
                <a:lnTo>
                  <a:pt x="484" y="459"/>
                </a:lnTo>
                <a:lnTo>
                  <a:pt x="506" y="420"/>
                </a:lnTo>
                <a:lnTo>
                  <a:pt x="503" y="373"/>
                </a:lnTo>
                <a:lnTo>
                  <a:pt x="490" y="355"/>
                </a:lnTo>
                <a:lnTo>
                  <a:pt x="436" y="345"/>
                </a:lnTo>
                <a:lnTo>
                  <a:pt x="470" y="316"/>
                </a:lnTo>
                <a:lnTo>
                  <a:pt x="493" y="250"/>
                </a:lnTo>
                <a:lnTo>
                  <a:pt x="468" y="145"/>
                </a:lnTo>
                <a:lnTo>
                  <a:pt x="417" y="101"/>
                </a:lnTo>
                <a:lnTo>
                  <a:pt x="320" y="96"/>
                </a:lnTo>
                <a:lnTo>
                  <a:pt x="288" y="109"/>
                </a:lnTo>
                <a:lnTo>
                  <a:pt x="258" y="109"/>
                </a:lnTo>
                <a:lnTo>
                  <a:pt x="256" y="94"/>
                </a:lnTo>
                <a:lnTo>
                  <a:pt x="311" y="62"/>
                </a:lnTo>
                <a:lnTo>
                  <a:pt x="307" y="46"/>
                </a:lnTo>
                <a:lnTo>
                  <a:pt x="287" y="16"/>
                </a:lnTo>
                <a:lnTo>
                  <a:pt x="257" y="0"/>
                </a:lnTo>
                <a:lnTo>
                  <a:pt x="247" y="14"/>
                </a:lnTo>
                <a:lnTo>
                  <a:pt x="233" y="19"/>
                </a:lnTo>
                <a:lnTo>
                  <a:pt x="217" y="38"/>
                </a:lnTo>
                <a:lnTo>
                  <a:pt x="202" y="90"/>
                </a:lnTo>
                <a:lnTo>
                  <a:pt x="187" y="109"/>
                </a:lnTo>
                <a:lnTo>
                  <a:pt x="168" y="11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2" name="Freeform 88">
            <a:extLst>
              <a:ext uri="{FF2B5EF4-FFF2-40B4-BE49-F238E27FC236}">
                <a16:creationId xmlns:a16="http://schemas.microsoft.com/office/drawing/2014/main" id="{87EE6C85-73B3-4235-A0E6-BDFC41E64D19}"/>
              </a:ext>
            </a:extLst>
          </p:cNvPr>
          <p:cNvSpPr>
            <a:spLocks/>
          </p:cNvSpPr>
          <p:nvPr/>
        </p:nvSpPr>
        <p:spPr bwMode="auto">
          <a:xfrm rot="21249101">
            <a:off x="6851363" y="3947582"/>
            <a:ext cx="667956" cy="375211"/>
          </a:xfrm>
          <a:custGeom>
            <a:avLst/>
            <a:gdLst>
              <a:gd name="T0" fmla="*/ 2147483647 w 1599"/>
              <a:gd name="T1" fmla="*/ 2147483647 h 983"/>
              <a:gd name="T2" fmla="*/ 2147483647 w 1599"/>
              <a:gd name="T3" fmla="*/ 2147483647 h 983"/>
              <a:gd name="T4" fmla="*/ 2147483647 w 1599"/>
              <a:gd name="T5" fmla="*/ 2147483647 h 983"/>
              <a:gd name="T6" fmla="*/ 2147483647 w 1599"/>
              <a:gd name="T7" fmla="*/ 2147483647 h 983"/>
              <a:gd name="T8" fmla="*/ 2147483647 w 1599"/>
              <a:gd name="T9" fmla="*/ 2147483647 h 983"/>
              <a:gd name="T10" fmla="*/ 2147483647 w 1599"/>
              <a:gd name="T11" fmla="*/ 2147483647 h 983"/>
              <a:gd name="T12" fmla="*/ 2147483647 w 1599"/>
              <a:gd name="T13" fmla="*/ 2147483647 h 983"/>
              <a:gd name="T14" fmla="*/ 2147483647 w 1599"/>
              <a:gd name="T15" fmla="*/ 2147483647 h 983"/>
              <a:gd name="T16" fmla="*/ 2147483647 w 1599"/>
              <a:gd name="T17" fmla="*/ 2147483647 h 983"/>
              <a:gd name="T18" fmla="*/ 2147483647 w 1599"/>
              <a:gd name="T19" fmla="*/ 2147483647 h 983"/>
              <a:gd name="T20" fmla="*/ 2147483647 w 1599"/>
              <a:gd name="T21" fmla="*/ 2147483647 h 983"/>
              <a:gd name="T22" fmla="*/ 2147483647 w 1599"/>
              <a:gd name="T23" fmla="*/ 2147483647 h 983"/>
              <a:gd name="T24" fmla="*/ 2147483647 w 1599"/>
              <a:gd name="T25" fmla="*/ 2147483647 h 983"/>
              <a:gd name="T26" fmla="*/ 2147483647 w 1599"/>
              <a:gd name="T27" fmla="*/ 2147483647 h 983"/>
              <a:gd name="T28" fmla="*/ 2147483647 w 1599"/>
              <a:gd name="T29" fmla="*/ 2147483647 h 983"/>
              <a:gd name="T30" fmla="*/ 2147483647 w 1599"/>
              <a:gd name="T31" fmla="*/ 2147483647 h 983"/>
              <a:gd name="T32" fmla="*/ 2147483647 w 1599"/>
              <a:gd name="T33" fmla="*/ 2147483647 h 983"/>
              <a:gd name="T34" fmla="*/ 2147483647 w 1599"/>
              <a:gd name="T35" fmla="*/ 2147483647 h 983"/>
              <a:gd name="T36" fmla="*/ 2147483647 w 1599"/>
              <a:gd name="T37" fmla="*/ 2147483647 h 983"/>
              <a:gd name="T38" fmla="*/ 2147483647 w 1599"/>
              <a:gd name="T39" fmla="*/ 2147483647 h 983"/>
              <a:gd name="T40" fmla="*/ 2147483647 w 1599"/>
              <a:gd name="T41" fmla="*/ 2147483647 h 983"/>
              <a:gd name="T42" fmla="*/ 2147483647 w 1599"/>
              <a:gd name="T43" fmla="*/ 2147483647 h 983"/>
              <a:gd name="T44" fmla="*/ 2147483647 w 1599"/>
              <a:gd name="T45" fmla="*/ 0 h 983"/>
              <a:gd name="T46" fmla="*/ 2147483647 w 1599"/>
              <a:gd name="T47" fmla="*/ 2147483647 h 983"/>
              <a:gd name="T48" fmla="*/ 2147483647 w 1599"/>
              <a:gd name="T49" fmla="*/ 2147483647 h 983"/>
              <a:gd name="T50" fmla="*/ 2147483647 w 1599"/>
              <a:gd name="T51" fmla="*/ 2147483647 h 983"/>
              <a:gd name="T52" fmla="*/ 2147483647 w 1599"/>
              <a:gd name="T53" fmla="*/ 2147483647 h 983"/>
              <a:gd name="T54" fmla="*/ 2147483647 w 1599"/>
              <a:gd name="T55" fmla="*/ 2147483647 h 983"/>
              <a:gd name="T56" fmla="*/ 2147483647 w 1599"/>
              <a:gd name="T57" fmla="*/ 2147483647 h 983"/>
              <a:gd name="T58" fmla="*/ 2147483647 w 1599"/>
              <a:gd name="T59" fmla="*/ 2147483647 h 983"/>
              <a:gd name="T60" fmla="*/ 2147483647 w 1599"/>
              <a:gd name="T61" fmla="*/ 2147483647 h 983"/>
              <a:gd name="T62" fmla="*/ 2147483647 w 1599"/>
              <a:gd name="T63" fmla="*/ 2147483647 h 983"/>
              <a:gd name="T64" fmla="*/ 2147483647 w 1599"/>
              <a:gd name="T65" fmla="*/ 2147483647 h 983"/>
              <a:gd name="T66" fmla="*/ 2147483647 w 1599"/>
              <a:gd name="T67" fmla="*/ 2147483647 h 983"/>
              <a:gd name="T68" fmla="*/ 2147483647 w 1599"/>
              <a:gd name="T69" fmla="*/ 2147483647 h 98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599"/>
              <a:gd name="T106" fmla="*/ 0 h 983"/>
              <a:gd name="T107" fmla="*/ 1599 w 1599"/>
              <a:gd name="T108" fmla="*/ 983 h 983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599" h="983">
                <a:moveTo>
                  <a:pt x="1599" y="625"/>
                </a:moveTo>
                <a:lnTo>
                  <a:pt x="1567" y="652"/>
                </a:lnTo>
                <a:lnTo>
                  <a:pt x="1519" y="648"/>
                </a:lnTo>
                <a:lnTo>
                  <a:pt x="1472" y="712"/>
                </a:lnTo>
                <a:lnTo>
                  <a:pt x="1435" y="721"/>
                </a:lnTo>
                <a:lnTo>
                  <a:pt x="1425" y="741"/>
                </a:lnTo>
                <a:lnTo>
                  <a:pt x="1421" y="795"/>
                </a:lnTo>
                <a:lnTo>
                  <a:pt x="1396" y="832"/>
                </a:lnTo>
                <a:lnTo>
                  <a:pt x="1358" y="838"/>
                </a:lnTo>
                <a:lnTo>
                  <a:pt x="1357" y="869"/>
                </a:lnTo>
                <a:lnTo>
                  <a:pt x="1299" y="911"/>
                </a:lnTo>
                <a:lnTo>
                  <a:pt x="1233" y="915"/>
                </a:lnTo>
                <a:lnTo>
                  <a:pt x="1210" y="896"/>
                </a:lnTo>
                <a:lnTo>
                  <a:pt x="1179" y="893"/>
                </a:lnTo>
                <a:lnTo>
                  <a:pt x="1122" y="983"/>
                </a:lnTo>
                <a:lnTo>
                  <a:pt x="1124" y="923"/>
                </a:lnTo>
                <a:lnTo>
                  <a:pt x="1092" y="877"/>
                </a:lnTo>
                <a:lnTo>
                  <a:pt x="935" y="882"/>
                </a:lnTo>
                <a:lnTo>
                  <a:pt x="878" y="824"/>
                </a:lnTo>
                <a:lnTo>
                  <a:pt x="841" y="803"/>
                </a:lnTo>
                <a:lnTo>
                  <a:pt x="696" y="786"/>
                </a:lnTo>
                <a:lnTo>
                  <a:pt x="651" y="865"/>
                </a:lnTo>
                <a:lnTo>
                  <a:pt x="606" y="898"/>
                </a:lnTo>
                <a:lnTo>
                  <a:pt x="568" y="912"/>
                </a:lnTo>
                <a:lnTo>
                  <a:pt x="468" y="905"/>
                </a:lnTo>
                <a:lnTo>
                  <a:pt x="463" y="902"/>
                </a:lnTo>
                <a:lnTo>
                  <a:pt x="455" y="896"/>
                </a:lnTo>
                <a:lnTo>
                  <a:pt x="441" y="888"/>
                </a:lnTo>
                <a:lnTo>
                  <a:pt x="426" y="877"/>
                </a:lnTo>
                <a:lnTo>
                  <a:pt x="411" y="867"/>
                </a:lnTo>
                <a:lnTo>
                  <a:pt x="397" y="859"/>
                </a:lnTo>
                <a:lnTo>
                  <a:pt x="388" y="852"/>
                </a:lnTo>
                <a:lnTo>
                  <a:pt x="385" y="850"/>
                </a:lnTo>
                <a:lnTo>
                  <a:pt x="78" y="499"/>
                </a:lnTo>
                <a:lnTo>
                  <a:pt x="80" y="369"/>
                </a:lnTo>
                <a:lnTo>
                  <a:pt x="32" y="340"/>
                </a:lnTo>
                <a:lnTo>
                  <a:pt x="0" y="293"/>
                </a:lnTo>
                <a:lnTo>
                  <a:pt x="4" y="256"/>
                </a:lnTo>
                <a:lnTo>
                  <a:pt x="12" y="238"/>
                </a:lnTo>
                <a:lnTo>
                  <a:pt x="71" y="305"/>
                </a:lnTo>
                <a:lnTo>
                  <a:pt x="82" y="304"/>
                </a:lnTo>
                <a:lnTo>
                  <a:pt x="108" y="251"/>
                </a:lnTo>
                <a:lnTo>
                  <a:pt x="327" y="183"/>
                </a:lnTo>
                <a:lnTo>
                  <a:pt x="360" y="137"/>
                </a:lnTo>
                <a:lnTo>
                  <a:pt x="524" y="92"/>
                </a:lnTo>
                <a:lnTo>
                  <a:pt x="545" y="0"/>
                </a:lnTo>
                <a:lnTo>
                  <a:pt x="585" y="13"/>
                </a:lnTo>
                <a:lnTo>
                  <a:pt x="637" y="106"/>
                </a:lnTo>
                <a:lnTo>
                  <a:pt x="665" y="108"/>
                </a:lnTo>
                <a:lnTo>
                  <a:pt x="690" y="127"/>
                </a:lnTo>
                <a:lnTo>
                  <a:pt x="756" y="66"/>
                </a:lnTo>
                <a:lnTo>
                  <a:pt x="797" y="91"/>
                </a:lnTo>
                <a:lnTo>
                  <a:pt x="817" y="134"/>
                </a:lnTo>
                <a:lnTo>
                  <a:pt x="938" y="155"/>
                </a:lnTo>
                <a:lnTo>
                  <a:pt x="974" y="208"/>
                </a:lnTo>
                <a:lnTo>
                  <a:pt x="1020" y="218"/>
                </a:lnTo>
                <a:lnTo>
                  <a:pt x="1026" y="225"/>
                </a:lnTo>
                <a:lnTo>
                  <a:pt x="1025" y="238"/>
                </a:lnTo>
                <a:lnTo>
                  <a:pt x="1002" y="283"/>
                </a:lnTo>
                <a:lnTo>
                  <a:pt x="1081" y="364"/>
                </a:lnTo>
                <a:lnTo>
                  <a:pt x="1111" y="378"/>
                </a:lnTo>
                <a:lnTo>
                  <a:pt x="1161" y="347"/>
                </a:lnTo>
                <a:lnTo>
                  <a:pt x="1149" y="321"/>
                </a:lnTo>
                <a:lnTo>
                  <a:pt x="1156" y="296"/>
                </a:lnTo>
                <a:lnTo>
                  <a:pt x="1340" y="351"/>
                </a:lnTo>
                <a:lnTo>
                  <a:pt x="1341" y="418"/>
                </a:lnTo>
                <a:lnTo>
                  <a:pt x="1378" y="449"/>
                </a:lnTo>
                <a:lnTo>
                  <a:pt x="1398" y="443"/>
                </a:lnTo>
                <a:lnTo>
                  <a:pt x="1437" y="464"/>
                </a:lnTo>
                <a:lnTo>
                  <a:pt x="1517" y="586"/>
                </a:lnTo>
                <a:lnTo>
                  <a:pt x="1599" y="625"/>
                </a:lnTo>
                <a:close/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AT" kern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93" name="Freeform 89">
            <a:extLst>
              <a:ext uri="{FF2B5EF4-FFF2-40B4-BE49-F238E27FC236}">
                <a16:creationId xmlns:a16="http://schemas.microsoft.com/office/drawing/2014/main" id="{615415CF-B628-4838-8A57-1DDACB1936DD}"/>
              </a:ext>
            </a:extLst>
          </p:cNvPr>
          <p:cNvSpPr>
            <a:spLocks/>
          </p:cNvSpPr>
          <p:nvPr/>
        </p:nvSpPr>
        <p:spPr bwMode="auto">
          <a:xfrm rot="21249101">
            <a:off x="7032251" y="4289670"/>
            <a:ext cx="32321" cy="19662"/>
          </a:xfrm>
          <a:custGeom>
            <a:avLst/>
            <a:gdLst>
              <a:gd name="T0" fmla="*/ 2147483647 w 83"/>
              <a:gd name="T1" fmla="*/ 2147483647 h 55"/>
              <a:gd name="T2" fmla="*/ 2147483647 w 83"/>
              <a:gd name="T3" fmla="*/ 2147483647 h 55"/>
              <a:gd name="T4" fmla="*/ 2147483647 w 83"/>
              <a:gd name="T5" fmla="*/ 2147483647 h 55"/>
              <a:gd name="T6" fmla="*/ 2147483647 w 83"/>
              <a:gd name="T7" fmla="*/ 2147483647 h 55"/>
              <a:gd name="T8" fmla="*/ 2147483647 w 83"/>
              <a:gd name="T9" fmla="*/ 2147483647 h 55"/>
              <a:gd name="T10" fmla="*/ 2147483647 w 83"/>
              <a:gd name="T11" fmla="*/ 2147483647 h 55"/>
              <a:gd name="T12" fmla="*/ 2147483647 w 83"/>
              <a:gd name="T13" fmla="*/ 2147483647 h 55"/>
              <a:gd name="T14" fmla="*/ 2147483647 w 83"/>
              <a:gd name="T15" fmla="*/ 2147483647 h 55"/>
              <a:gd name="T16" fmla="*/ 0 w 83"/>
              <a:gd name="T17" fmla="*/ 0 h 5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3"/>
              <a:gd name="T28" fmla="*/ 0 h 55"/>
              <a:gd name="T29" fmla="*/ 83 w 83"/>
              <a:gd name="T30" fmla="*/ 55 h 5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3" h="55">
                <a:moveTo>
                  <a:pt x="83" y="55"/>
                </a:moveTo>
                <a:lnTo>
                  <a:pt x="78" y="52"/>
                </a:lnTo>
                <a:lnTo>
                  <a:pt x="70" y="46"/>
                </a:lnTo>
                <a:lnTo>
                  <a:pt x="56" y="38"/>
                </a:lnTo>
                <a:lnTo>
                  <a:pt x="41" y="27"/>
                </a:lnTo>
                <a:lnTo>
                  <a:pt x="26" y="17"/>
                </a:lnTo>
                <a:lnTo>
                  <a:pt x="12" y="9"/>
                </a:lnTo>
                <a:lnTo>
                  <a:pt x="3" y="2"/>
                </a:lnTo>
                <a:lnTo>
                  <a:pt x="0" y="0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4" name="Freeform 93">
            <a:extLst>
              <a:ext uri="{FF2B5EF4-FFF2-40B4-BE49-F238E27FC236}">
                <a16:creationId xmlns:a16="http://schemas.microsoft.com/office/drawing/2014/main" id="{64EE3138-6E6A-4E43-B346-1A10BAB63520}"/>
              </a:ext>
            </a:extLst>
          </p:cNvPr>
          <p:cNvSpPr>
            <a:spLocks/>
          </p:cNvSpPr>
          <p:nvPr/>
        </p:nvSpPr>
        <p:spPr bwMode="auto">
          <a:xfrm rot="21249101">
            <a:off x="5989018" y="3880051"/>
            <a:ext cx="307046" cy="280180"/>
          </a:xfrm>
          <a:custGeom>
            <a:avLst/>
            <a:gdLst>
              <a:gd name="T0" fmla="*/ 2147483647 w 737"/>
              <a:gd name="T1" fmla="*/ 2147483647 h 728"/>
              <a:gd name="T2" fmla="*/ 2147483647 w 737"/>
              <a:gd name="T3" fmla="*/ 2147483647 h 728"/>
              <a:gd name="T4" fmla="*/ 2147483647 w 737"/>
              <a:gd name="T5" fmla="*/ 2147483647 h 728"/>
              <a:gd name="T6" fmla="*/ 2147483647 w 737"/>
              <a:gd name="T7" fmla="*/ 2147483647 h 728"/>
              <a:gd name="T8" fmla="*/ 2147483647 w 737"/>
              <a:gd name="T9" fmla="*/ 2147483647 h 728"/>
              <a:gd name="T10" fmla="*/ 2147483647 w 737"/>
              <a:gd name="T11" fmla="*/ 2147483647 h 728"/>
              <a:gd name="T12" fmla="*/ 2147483647 w 737"/>
              <a:gd name="T13" fmla="*/ 2147483647 h 728"/>
              <a:gd name="T14" fmla="*/ 2147483647 w 737"/>
              <a:gd name="T15" fmla="*/ 2147483647 h 728"/>
              <a:gd name="T16" fmla="*/ 2147483647 w 737"/>
              <a:gd name="T17" fmla="*/ 2147483647 h 728"/>
              <a:gd name="T18" fmla="*/ 2147483647 w 737"/>
              <a:gd name="T19" fmla="*/ 2147483647 h 728"/>
              <a:gd name="T20" fmla="*/ 2147483647 w 737"/>
              <a:gd name="T21" fmla="*/ 2147483647 h 728"/>
              <a:gd name="T22" fmla="*/ 2147483647 w 737"/>
              <a:gd name="T23" fmla="*/ 2147483647 h 728"/>
              <a:gd name="T24" fmla="*/ 2147483647 w 737"/>
              <a:gd name="T25" fmla="*/ 2147483647 h 728"/>
              <a:gd name="T26" fmla="*/ 2147483647 w 737"/>
              <a:gd name="T27" fmla="*/ 2147483647 h 728"/>
              <a:gd name="T28" fmla="*/ 2147483647 w 737"/>
              <a:gd name="T29" fmla="*/ 2147483647 h 728"/>
              <a:gd name="T30" fmla="*/ 2147483647 w 737"/>
              <a:gd name="T31" fmla="*/ 2147483647 h 728"/>
              <a:gd name="T32" fmla="*/ 2147483647 w 737"/>
              <a:gd name="T33" fmla="*/ 2147483647 h 728"/>
              <a:gd name="T34" fmla="*/ 0 w 737"/>
              <a:gd name="T35" fmla="*/ 2147483647 h 728"/>
              <a:gd name="T36" fmla="*/ 2147483647 w 737"/>
              <a:gd name="T37" fmla="*/ 2147483647 h 728"/>
              <a:gd name="T38" fmla="*/ 2147483647 w 737"/>
              <a:gd name="T39" fmla="*/ 0 h 728"/>
              <a:gd name="T40" fmla="*/ 2147483647 w 737"/>
              <a:gd name="T41" fmla="*/ 2147483647 h 728"/>
              <a:gd name="T42" fmla="*/ 2147483647 w 737"/>
              <a:gd name="T43" fmla="*/ 2147483647 h 728"/>
              <a:gd name="T44" fmla="*/ 2147483647 w 737"/>
              <a:gd name="T45" fmla="*/ 2147483647 h 728"/>
              <a:gd name="T46" fmla="*/ 2147483647 w 737"/>
              <a:gd name="T47" fmla="*/ 2147483647 h 728"/>
              <a:gd name="T48" fmla="*/ 2147483647 w 737"/>
              <a:gd name="T49" fmla="*/ 2147483647 h 728"/>
              <a:gd name="T50" fmla="*/ 2147483647 w 737"/>
              <a:gd name="T51" fmla="*/ 2147483647 h 728"/>
              <a:gd name="T52" fmla="*/ 2147483647 w 737"/>
              <a:gd name="T53" fmla="*/ 2147483647 h 728"/>
              <a:gd name="T54" fmla="*/ 2147483647 w 737"/>
              <a:gd name="T55" fmla="*/ 2147483647 h 728"/>
              <a:gd name="T56" fmla="*/ 2147483647 w 737"/>
              <a:gd name="T57" fmla="*/ 2147483647 h 728"/>
              <a:gd name="T58" fmla="*/ 2147483647 w 737"/>
              <a:gd name="T59" fmla="*/ 2147483647 h 728"/>
              <a:gd name="T60" fmla="*/ 2147483647 w 737"/>
              <a:gd name="T61" fmla="*/ 2147483647 h 728"/>
              <a:gd name="T62" fmla="*/ 2147483647 w 737"/>
              <a:gd name="T63" fmla="*/ 2147483647 h 728"/>
              <a:gd name="T64" fmla="*/ 2147483647 w 737"/>
              <a:gd name="T65" fmla="*/ 2147483647 h 728"/>
              <a:gd name="T66" fmla="*/ 2147483647 w 737"/>
              <a:gd name="T67" fmla="*/ 2147483647 h 728"/>
              <a:gd name="T68" fmla="*/ 2147483647 w 737"/>
              <a:gd name="T69" fmla="*/ 2147483647 h 728"/>
              <a:gd name="T70" fmla="*/ 2147483647 w 737"/>
              <a:gd name="T71" fmla="*/ 2147483647 h 728"/>
              <a:gd name="T72" fmla="*/ 2147483647 w 737"/>
              <a:gd name="T73" fmla="*/ 2147483647 h 728"/>
              <a:gd name="T74" fmla="*/ 2147483647 w 737"/>
              <a:gd name="T75" fmla="*/ 2147483647 h 728"/>
              <a:gd name="T76" fmla="*/ 2147483647 w 737"/>
              <a:gd name="T77" fmla="*/ 2147483647 h 728"/>
              <a:gd name="T78" fmla="*/ 2147483647 w 737"/>
              <a:gd name="T79" fmla="*/ 2147483647 h 728"/>
              <a:gd name="T80" fmla="*/ 2147483647 w 737"/>
              <a:gd name="T81" fmla="*/ 2147483647 h 728"/>
              <a:gd name="T82" fmla="*/ 2147483647 w 737"/>
              <a:gd name="T83" fmla="*/ 2147483647 h 728"/>
              <a:gd name="T84" fmla="*/ 2147483647 w 737"/>
              <a:gd name="T85" fmla="*/ 2147483647 h 728"/>
              <a:gd name="T86" fmla="*/ 2147483647 w 737"/>
              <a:gd name="T87" fmla="*/ 2147483647 h 728"/>
              <a:gd name="T88" fmla="*/ 2147483647 w 737"/>
              <a:gd name="T89" fmla="*/ 2147483647 h 72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737"/>
              <a:gd name="T136" fmla="*/ 0 h 728"/>
              <a:gd name="T137" fmla="*/ 737 w 737"/>
              <a:gd name="T138" fmla="*/ 728 h 72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737" h="728">
                <a:moveTo>
                  <a:pt x="561" y="727"/>
                </a:moveTo>
                <a:lnTo>
                  <a:pt x="523" y="728"/>
                </a:lnTo>
                <a:lnTo>
                  <a:pt x="480" y="708"/>
                </a:lnTo>
                <a:lnTo>
                  <a:pt x="409" y="636"/>
                </a:lnTo>
                <a:lnTo>
                  <a:pt x="424" y="614"/>
                </a:lnTo>
                <a:lnTo>
                  <a:pt x="406" y="599"/>
                </a:lnTo>
                <a:lnTo>
                  <a:pt x="426" y="502"/>
                </a:lnTo>
                <a:lnTo>
                  <a:pt x="401" y="496"/>
                </a:lnTo>
                <a:lnTo>
                  <a:pt x="343" y="549"/>
                </a:lnTo>
                <a:lnTo>
                  <a:pt x="300" y="541"/>
                </a:lnTo>
                <a:lnTo>
                  <a:pt x="262" y="516"/>
                </a:lnTo>
                <a:lnTo>
                  <a:pt x="263" y="412"/>
                </a:lnTo>
                <a:lnTo>
                  <a:pt x="246" y="384"/>
                </a:lnTo>
                <a:lnTo>
                  <a:pt x="109" y="286"/>
                </a:lnTo>
                <a:lnTo>
                  <a:pt x="90" y="200"/>
                </a:lnTo>
                <a:lnTo>
                  <a:pt x="43" y="195"/>
                </a:lnTo>
                <a:lnTo>
                  <a:pt x="2" y="162"/>
                </a:lnTo>
                <a:lnTo>
                  <a:pt x="0" y="123"/>
                </a:lnTo>
                <a:lnTo>
                  <a:pt x="20" y="41"/>
                </a:lnTo>
                <a:lnTo>
                  <a:pt x="169" y="0"/>
                </a:lnTo>
                <a:lnTo>
                  <a:pt x="200" y="2"/>
                </a:lnTo>
                <a:lnTo>
                  <a:pt x="198" y="6"/>
                </a:lnTo>
                <a:lnTo>
                  <a:pt x="258" y="59"/>
                </a:lnTo>
                <a:lnTo>
                  <a:pt x="342" y="51"/>
                </a:lnTo>
                <a:lnTo>
                  <a:pt x="411" y="25"/>
                </a:lnTo>
                <a:lnTo>
                  <a:pt x="525" y="33"/>
                </a:lnTo>
                <a:lnTo>
                  <a:pt x="541" y="63"/>
                </a:lnTo>
                <a:lnTo>
                  <a:pt x="554" y="65"/>
                </a:lnTo>
                <a:lnTo>
                  <a:pt x="558" y="93"/>
                </a:lnTo>
                <a:lnTo>
                  <a:pt x="586" y="118"/>
                </a:lnTo>
                <a:lnTo>
                  <a:pt x="626" y="129"/>
                </a:lnTo>
                <a:lnTo>
                  <a:pt x="653" y="158"/>
                </a:lnTo>
                <a:lnTo>
                  <a:pt x="633" y="288"/>
                </a:lnTo>
                <a:lnTo>
                  <a:pt x="660" y="319"/>
                </a:lnTo>
                <a:lnTo>
                  <a:pt x="708" y="328"/>
                </a:lnTo>
                <a:lnTo>
                  <a:pt x="722" y="359"/>
                </a:lnTo>
                <a:lnTo>
                  <a:pt x="721" y="404"/>
                </a:lnTo>
                <a:lnTo>
                  <a:pt x="737" y="445"/>
                </a:lnTo>
                <a:lnTo>
                  <a:pt x="731" y="478"/>
                </a:lnTo>
                <a:lnTo>
                  <a:pt x="676" y="539"/>
                </a:lnTo>
                <a:lnTo>
                  <a:pt x="647" y="536"/>
                </a:lnTo>
                <a:lnTo>
                  <a:pt x="601" y="558"/>
                </a:lnTo>
                <a:lnTo>
                  <a:pt x="565" y="607"/>
                </a:lnTo>
                <a:lnTo>
                  <a:pt x="572" y="663"/>
                </a:lnTo>
                <a:lnTo>
                  <a:pt x="561" y="727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5" name="Freeform 94">
            <a:extLst>
              <a:ext uri="{FF2B5EF4-FFF2-40B4-BE49-F238E27FC236}">
                <a16:creationId xmlns:a16="http://schemas.microsoft.com/office/drawing/2014/main" id="{867EF41E-D60A-4C41-8A49-5A971E6D5A1E}"/>
              </a:ext>
            </a:extLst>
          </p:cNvPr>
          <p:cNvSpPr>
            <a:spLocks/>
          </p:cNvSpPr>
          <p:nvPr/>
        </p:nvSpPr>
        <p:spPr bwMode="auto">
          <a:xfrm rot="21249101">
            <a:off x="5989018" y="3880051"/>
            <a:ext cx="307046" cy="280180"/>
          </a:xfrm>
          <a:custGeom>
            <a:avLst/>
            <a:gdLst>
              <a:gd name="T0" fmla="*/ 2147483647 w 737"/>
              <a:gd name="T1" fmla="*/ 2147483647 h 728"/>
              <a:gd name="T2" fmla="*/ 2147483647 w 737"/>
              <a:gd name="T3" fmla="*/ 2147483647 h 728"/>
              <a:gd name="T4" fmla="*/ 2147483647 w 737"/>
              <a:gd name="T5" fmla="*/ 2147483647 h 728"/>
              <a:gd name="T6" fmla="*/ 2147483647 w 737"/>
              <a:gd name="T7" fmla="*/ 2147483647 h 728"/>
              <a:gd name="T8" fmla="*/ 2147483647 w 737"/>
              <a:gd name="T9" fmla="*/ 2147483647 h 728"/>
              <a:gd name="T10" fmla="*/ 2147483647 w 737"/>
              <a:gd name="T11" fmla="*/ 2147483647 h 728"/>
              <a:gd name="T12" fmla="*/ 2147483647 w 737"/>
              <a:gd name="T13" fmla="*/ 2147483647 h 728"/>
              <a:gd name="T14" fmla="*/ 2147483647 w 737"/>
              <a:gd name="T15" fmla="*/ 2147483647 h 728"/>
              <a:gd name="T16" fmla="*/ 2147483647 w 737"/>
              <a:gd name="T17" fmla="*/ 2147483647 h 728"/>
              <a:gd name="T18" fmla="*/ 2147483647 w 737"/>
              <a:gd name="T19" fmla="*/ 2147483647 h 728"/>
              <a:gd name="T20" fmla="*/ 2147483647 w 737"/>
              <a:gd name="T21" fmla="*/ 2147483647 h 728"/>
              <a:gd name="T22" fmla="*/ 2147483647 w 737"/>
              <a:gd name="T23" fmla="*/ 2147483647 h 728"/>
              <a:gd name="T24" fmla="*/ 2147483647 w 737"/>
              <a:gd name="T25" fmla="*/ 2147483647 h 728"/>
              <a:gd name="T26" fmla="*/ 2147483647 w 737"/>
              <a:gd name="T27" fmla="*/ 2147483647 h 728"/>
              <a:gd name="T28" fmla="*/ 2147483647 w 737"/>
              <a:gd name="T29" fmla="*/ 2147483647 h 728"/>
              <a:gd name="T30" fmla="*/ 2147483647 w 737"/>
              <a:gd name="T31" fmla="*/ 2147483647 h 728"/>
              <a:gd name="T32" fmla="*/ 2147483647 w 737"/>
              <a:gd name="T33" fmla="*/ 2147483647 h 728"/>
              <a:gd name="T34" fmla="*/ 0 w 737"/>
              <a:gd name="T35" fmla="*/ 2147483647 h 728"/>
              <a:gd name="T36" fmla="*/ 2147483647 w 737"/>
              <a:gd name="T37" fmla="*/ 2147483647 h 728"/>
              <a:gd name="T38" fmla="*/ 2147483647 w 737"/>
              <a:gd name="T39" fmla="*/ 0 h 728"/>
              <a:gd name="T40" fmla="*/ 2147483647 w 737"/>
              <a:gd name="T41" fmla="*/ 2147483647 h 728"/>
              <a:gd name="T42" fmla="*/ 2147483647 w 737"/>
              <a:gd name="T43" fmla="*/ 2147483647 h 728"/>
              <a:gd name="T44" fmla="*/ 2147483647 w 737"/>
              <a:gd name="T45" fmla="*/ 2147483647 h 728"/>
              <a:gd name="T46" fmla="*/ 2147483647 w 737"/>
              <a:gd name="T47" fmla="*/ 2147483647 h 728"/>
              <a:gd name="T48" fmla="*/ 2147483647 w 737"/>
              <a:gd name="T49" fmla="*/ 2147483647 h 728"/>
              <a:gd name="T50" fmla="*/ 2147483647 w 737"/>
              <a:gd name="T51" fmla="*/ 2147483647 h 728"/>
              <a:gd name="T52" fmla="*/ 2147483647 w 737"/>
              <a:gd name="T53" fmla="*/ 2147483647 h 728"/>
              <a:gd name="T54" fmla="*/ 2147483647 w 737"/>
              <a:gd name="T55" fmla="*/ 2147483647 h 728"/>
              <a:gd name="T56" fmla="*/ 2147483647 w 737"/>
              <a:gd name="T57" fmla="*/ 2147483647 h 728"/>
              <a:gd name="T58" fmla="*/ 2147483647 w 737"/>
              <a:gd name="T59" fmla="*/ 2147483647 h 728"/>
              <a:gd name="T60" fmla="*/ 2147483647 w 737"/>
              <a:gd name="T61" fmla="*/ 2147483647 h 728"/>
              <a:gd name="T62" fmla="*/ 2147483647 w 737"/>
              <a:gd name="T63" fmla="*/ 2147483647 h 728"/>
              <a:gd name="T64" fmla="*/ 2147483647 w 737"/>
              <a:gd name="T65" fmla="*/ 2147483647 h 728"/>
              <a:gd name="T66" fmla="*/ 2147483647 w 737"/>
              <a:gd name="T67" fmla="*/ 2147483647 h 728"/>
              <a:gd name="T68" fmla="*/ 2147483647 w 737"/>
              <a:gd name="T69" fmla="*/ 2147483647 h 728"/>
              <a:gd name="T70" fmla="*/ 2147483647 w 737"/>
              <a:gd name="T71" fmla="*/ 2147483647 h 728"/>
              <a:gd name="T72" fmla="*/ 2147483647 w 737"/>
              <a:gd name="T73" fmla="*/ 2147483647 h 728"/>
              <a:gd name="T74" fmla="*/ 2147483647 w 737"/>
              <a:gd name="T75" fmla="*/ 2147483647 h 728"/>
              <a:gd name="T76" fmla="*/ 2147483647 w 737"/>
              <a:gd name="T77" fmla="*/ 2147483647 h 728"/>
              <a:gd name="T78" fmla="*/ 2147483647 w 737"/>
              <a:gd name="T79" fmla="*/ 2147483647 h 728"/>
              <a:gd name="T80" fmla="*/ 2147483647 w 737"/>
              <a:gd name="T81" fmla="*/ 2147483647 h 728"/>
              <a:gd name="T82" fmla="*/ 2147483647 w 737"/>
              <a:gd name="T83" fmla="*/ 2147483647 h 728"/>
              <a:gd name="T84" fmla="*/ 2147483647 w 737"/>
              <a:gd name="T85" fmla="*/ 2147483647 h 728"/>
              <a:gd name="T86" fmla="*/ 2147483647 w 737"/>
              <a:gd name="T87" fmla="*/ 2147483647 h 728"/>
              <a:gd name="T88" fmla="*/ 2147483647 w 737"/>
              <a:gd name="T89" fmla="*/ 2147483647 h 72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737"/>
              <a:gd name="T136" fmla="*/ 0 h 728"/>
              <a:gd name="T137" fmla="*/ 737 w 737"/>
              <a:gd name="T138" fmla="*/ 728 h 72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737" h="728">
                <a:moveTo>
                  <a:pt x="561" y="727"/>
                </a:moveTo>
                <a:lnTo>
                  <a:pt x="523" y="728"/>
                </a:lnTo>
                <a:lnTo>
                  <a:pt x="480" y="708"/>
                </a:lnTo>
                <a:lnTo>
                  <a:pt x="409" y="636"/>
                </a:lnTo>
                <a:lnTo>
                  <a:pt x="424" y="614"/>
                </a:lnTo>
                <a:lnTo>
                  <a:pt x="406" y="599"/>
                </a:lnTo>
                <a:lnTo>
                  <a:pt x="426" y="502"/>
                </a:lnTo>
                <a:lnTo>
                  <a:pt x="401" y="496"/>
                </a:lnTo>
                <a:lnTo>
                  <a:pt x="343" y="549"/>
                </a:lnTo>
                <a:lnTo>
                  <a:pt x="300" y="541"/>
                </a:lnTo>
                <a:lnTo>
                  <a:pt x="262" y="516"/>
                </a:lnTo>
                <a:lnTo>
                  <a:pt x="263" y="412"/>
                </a:lnTo>
                <a:lnTo>
                  <a:pt x="246" y="384"/>
                </a:lnTo>
                <a:lnTo>
                  <a:pt x="109" y="286"/>
                </a:lnTo>
                <a:lnTo>
                  <a:pt x="90" y="200"/>
                </a:lnTo>
                <a:lnTo>
                  <a:pt x="43" y="195"/>
                </a:lnTo>
                <a:lnTo>
                  <a:pt x="2" y="162"/>
                </a:lnTo>
                <a:lnTo>
                  <a:pt x="0" y="123"/>
                </a:lnTo>
                <a:lnTo>
                  <a:pt x="20" y="41"/>
                </a:lnTo>
                <a:lnTo>
                  <a:pt x="169" y="0"/>
                </a:lnTo>
                <a:lnTo>
                  <a:pt x="200" y="2"/>
                </a:lnTo>
                <a:lnTo>
                  <a:pt x="198" y="6"/>
                </a:lnTo>
                <a:lnTo>
                  <a:pt x="258" y="59"/>
                </a:lnTo>
                <a:lnTo>
                  <a:pt x="342" y="51"/>
                </a:lnTo>
                <a:lnTo>
                  <a:pt x="411" y="25"/>
                </a:lnTo>
                <a:lnTo>
                  <a:pt x="525" y="33"/>
                </a:lnTo>
                <a:lnTo>
                  <a:pt x="541" y="63"/>
                </a:lnTo>
                <a:lnTo>
                  <a:pt x="554" y="65"/>
                </a:lnTo>
                <a:lnTo>
                  <a:pt x="558" y="93"/>
                </a:lnTo>
                <a:lnTo>
                  <a:pt x="586" y="118"/>
                </a:lnTo>
                <a:lnTo>
                  <a:pt x="626" y="129"/>
                </a:lnTo>
                <a:lnTo>
                  <a:pt x="653" y="158"/>
                </a:lnTo>
                <a:lnTo>
                  <a:pt x="633" y="288"/>
                </a:lnTo>
                <a:lnTo>
                  <a:pt x="660" y="319"/>
                </a:lnTo>
                <a:lnTo>
                  <a:pt x="708" y="328"/>
                </a:lnTo>
                <a:lnTo>
                  <a:pt x="722" y="359"/>
                </a:lnTo>
                <a:lnTo>
                  <a:pt x="721" y="404"/>
                </a:lnTo>
                <a:lnTo>
                  <a:pt x="737" y="445"/>
                </a:lnTo>
                <a:lnTo>
                  <a:pt x="731" y="478"/>
                </a:lnTo>
                <a:lnTo>
                  <a:pt x="676" y="539"/>
                </a:lnTo>
                <a:lnTo>
                  <a:pt x="647" y="536"/>
                </a:lnTo>
                <a:lnTo>
                  <a:pt x="601" y="558"/>
                </a:lnTo>
                <a:lnTo>
                  <a:pt x="565" y="607"/>
                </a:lnTo>
                <a:lnTo>
                  <a:pt x="572" y="663"/>
                </a:lnTo>
                <a:lnTo>
                  <a:pt x="561" y="727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6" name="Freeform 95">
            <a:extLst>
              <a:ext uri="{FF2B5EF4-FFF2-40B4-BE49-F238E27FC236}">
                <a16:creationId xmlns:a16="http://schemas.microsoft.com/office/drawing/2014/main" id="{C5A66A1E-01CE-46A7-AE32-C5D6E699D244}"/>
              </a:ext>
            </a:extLst>
          </p:cNvPr>
          <p:cNvSpPr>
            <a:spLocks/>
          </p:cNvSpPr>
          <p:nvPr/>
        </p:nvSpPr>
        <p:spPr bwMode="auto">
          <a:xfrm rot="21249101">
            <a:off x="4496888" y="4687821"/>
            <a:ext cx="1398758" cy="1127272"/>
          </a:xfrm>
          <a:custGeom>
            <a:avLst/>
            <a:gdLst>
              <a:gd name="T0" fmla="*/ 2147483647 w 3350"/>
              <a:gd name="T1" fmla="*/ 2147483647 h 2942"/>
              <a:gd name="T2" fmla="*/ 2147483647 w 3350"/>
              <a:gd name="T3" fmla="*/ 2147483647 h 2942"/>
              <a:gd name="T4" fmla="*/ 2147483647 w 3350"/>
              <a:gd name="T5" fmla="*/ 2147483647 h 2942"/>
              <a:gd name="T6" fmla="*/ 2147483647 w 3350"/>
              <a:gd name="T7" fmla="*/ 2147483647 h 2942"/>
              <a:gd name="T8" fmla="*/ 2147483647 w 3350"/>
              <a:gd name="T9" fmla="*/ 2147483647 h 2942"/>
              <a:gd name="T10" fmla="*/ 2147483647 w 3350"/>
              <a:gd name="T11" fmla="*/ 2147483647 h 2942"/>
              <a:gd name="T12" fmla="*/ 2147483647 w 3350"/>
              <a:gd name="T13" fmla="*/ 2147483647 h 2942"/>
              <a:gd name="T14" fmla="*/ 2147483647 w 3350"/>
              <a:gd name="T15" fmla="*/ 2147483647 h 2942"/>
              <a:gd name="T16" fmla="*/ 2147483647 w 3350"/>
              <a:gd name="T17" fmla="*/ 2147483647 h 2942"/>
              <a:gd name="T18" fmla="*/ 2147483647 w 3350"/>
              <a:gd name="T19" fmla="*/ 2147483647 h 2942"/>
              <a:gd name="T20" fmla="*/ 2147483647 w 3350"/>
              <a:gd name="T21" fmla="*/ 2147483647 h 2942"/>
              <a:gd name="T22" fmla="*/ 2147483647 w 3350"/>
              <a:gd name="T23" fmla="*/ 2147483647 h 2942"/>
              <a:gd name="T24" fmla="*/ 2147483647 w 3350"/>
              <a:gd name="T25" fmla="*/ 2147483647 h 2942"/>
              <a:gd name="T26" fmla="*/ 2147483647 w 3350"/>
              <a:gd name="T27" fmla="*/ 2147483647 h 2942"/>
              <a:gd name="T28" fmla="*/ 2147483647 w 3350"/>
              <a:gd name="T29" fmla="*/ 2147483647 h 2942"/>
              <a:gd name="T30" fmla="*/ 2147483647 w 3350"/>
              <a:gd name="T31" fmla="*/ 2147483647 h 2942"/>
              <a:gd name="T32" fmla="*/ 2147483647 w 3350"/>
              <a:gd name="T33" fmla="*/ 2147483647 h 2942"/>
              <a:gd name="T34" fmla="*/ 2147483647 w 3350"/>
              <a:gd name="T35" fmla="*/ 2147483647 h 2942"/>
              <a:gd name="T36" fmla="*/ 2147483647 w 3350"/>
              <a:gd name="T37" fmla="*/ 2147483647 h 2942"/>
              <a:gd name="T38" fmla="*/ 2147483647 w 3350"/>
              <a:gd name="T39" fmla="*/ 2147483647 h 2942"/>
              <a:gd name="T40" fmla="*/ 2147483647 w 3350"/>
              <a:gd name="T41" fmla="*/ 2147483647 h 2942"/>
              <a:gd name="T42" fmla="*/ 2147483647 w 3350"/>
              <a:gd name="T43" fmla="*/ 2147483647 h 2942"/>
              <a:gd name="T44" fmla="*/ 2147483647 w 3350"/>
              <a:gd name="T45" fmla="*/ 0 h 2942"/>
              <a:gd name="T46" fmla="*/ 2147483647 w 3350"/>
              <a:gd name="T47" fmla="*/ 2147483647 h 2942"/>
              <a:gd name="T48" fmla="*/ 2147483647 w 3350"/>
              <a:gd name="T49" fmla="*/ 2147483647 h 2942"/>
              <a:gd name="T50" fmla="*/ 2147483647 w 3350"/>
              <a:gd name="T51" fmla="*/ 2147483647 h 2942"/>
              <a:gd name="T52" fmla="*/ 2147483647 w 3350"/>
              <a:gd name="T53" fmla="*/ 2147483647 h 2942"/>
              <a:gd name="T54" fmla="*/ 2147483647 w 3350"/>
              <a:gd name="T55" fmla="*/ 2147483647 h 2942"/>
              <a:gd name="T56" fmla="*/ 2147483647 w 3350"/>
              <a:gd name="T57" fmla="*/ 2147483647 h 2942"/>
              <a:gd name="T58" fmla="*/ 2147483647 w 3350"/>
              <a:gd name="T59" fmla="*/ 2147483647 h 2942"/>
              <a:gd name="T60" fmla="*/ 2147483647 w 3350"/>
              <a:gd name="T61" fmla="*/ 2147483647 h 2942"/>
              <a:gd name="T62" fmla="*/ 2147483647 w 3350"/>
              <a:gd name="T63" fmla="*/ 2147483647 h 2942"/>
              <a:gd name="T64" fmla="*/ 2147483647 w 3350"/>
              <a:gd name="T65" fmla="*/ 2147483647 h 2942"/>
              <a:gd name="T66" fmla="*/ 2147483647 w 3350"/>
              <a:gd name="T67" fmla="*/ 2147483647 h 2942"/>
              <a:gd name="T68" fmla="*/ 2147483647 w 3350"/>
              <a:gd name="T69" fmla="*/ 2147483647 h 2942"/>
              <a:gd name="T70" fmla="*/ 2147483647 w 3350"/>
              <a:gd name="T71" fmla="*/ 2147483647 h 2942"/>
              <a:gd name="T72" fmla="*/ 2147483647 w 3350"/>
              <a:gd name="T73" fmla="*/ 2147483647 h 2942"/>
              <a:gd name="T74" fmla="*/ 2147483647 w 3350"/>
              <a:gd name="T75" fmla="*/ 2147483647 h 2942"/>
              <a:gd name="T76" fmla="*/ 2147483647 w 3350"/>
              <a:gd name="T77" fmla="*/ 2147483647 h 2942"/>
              <a:gd name="T78" fmla="*/ 2147483647 w 3350"/>
              <a:gd name="T79" fmla="*/ 2147483647 h 2942"/>
              <a:gd name="T80" fmla="*/ 2147483647 w 3350"/>
              <a:gd name="T81" fmla="*/ 2147483647 h 2942"/>
              <a:gd name="T82" fmla="*/ 2147483647 w 3350"/>
              <a:gd name="T83" fmla="*/ 2147483647 h 2942"/>
              <a:gd name="T84" fmla="*/ 2147483647 w 3350"/>
              <a:gd name="T85" fmla="*/ 2147483647 h 2942"/>
              <a:gd name="T86" fmla="*/ 2147483647 w 3350"/>
              <a:gd name="T87" fmla="*/ 2147483647 h 2942"/>
              <a:gd name="T88" fmla="*/ 2147483647 w 3350"/>
              <a:gd name="T89" fmla="*/ 2147483647 h 2942"/>
              <a:gd name="T90" fmla="*/ 2147483647 w 3350"/>
              <a:gd name="T91" fmla="*/ 2147483647 h 2942"/>
              <a:gd name="T92" fmla="*/ 2147483647 w 3350"/>
              <a:gd name="T93" fmla="*/ 2147483647 h 2942"/>
              <a:gd name="T94" fmla="*/ 2147483647 w 3350"/>
              <a:gd name="T95" fmla="*/ 2147483647 h 2942"/>
              <a:gd name="T96" fmla="*/ 2147483647 w 3350"/>
              <a:gd name="T97" fmla="*/ 2147483647 h 2942"/>
              <a:gd name="T98" fmla="*/ 2147483647 w 3350"/>
              <a:gd name="T99" fmla="*/ 2147483647 h 2942"/>
              <a:gd name="T100" fmla="*/ 2147483647 w 3350"/>
              <a:gd name="T101" fmla="*/ 2147483647 h 2942"/>
              <a:gd name="T102" fmla="*/ 2147483647 w 3350"/>
              <a:gd name="T103" fmla="*/ 2147483647 h 2942"/>
              <a:gd name="T104" fmla="*/ 2147483647 w 3350"/>
              <a:gd name="T105" fmla="*/ 2147483647 h 2942"/>
              <a:gd name="T106" fmla="*/ 2147483647 w 3350"/>
              <a:gd name="T107" fmla="*/ 2147483647 h 2942"/>
              <a:gd name="T108" fmla="*/ 2147483647 w 3350"/>
              <a:gd name="T109" fmla="*/ 2147483647 h 2942"/>
              <a:gd name="T110" fmla="*/ 2147483647 w 3350"/>
              <a:gd name="T111" fmla="*/ 2147483647 h 2942"/>
              <a:gd name="T112" fmla="*/ 2147483647 w 3350"/>
              <a:gd name="T113" fmla="*/ 2147483647 h 2942"/>
              <a:gd name="T114" fmla="*/ 2147483647 w 3350"/>
              <a:gd name="T115" fmla="*/ 2147483647 h 2942"/>
              <a:gd name="T116" fmla="*/ 2147483647 w 3350"/>
              <a:gd name="T117" fmla="*/ 2147483647 h 2942"/>
              <a:gd name="T118" fmla="*/ 2147483647 w 3350"/>
              <a:gd name="T119" fmla="*/ 2147483647 h 294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350"/>
              <a:gd name="T181" fmla="*/ 0 h 2942"/>
              <a:gd name="T182" fmla="*/ 3350 w 3350"/>
              <a:gd name="T183" fmla="*/ 2942 h 294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350" h="2942">
                <a:moveTo>
                  <a:pt x="0" y="2311"/>
                </a:moveTo>
                <a:lnTo>
                  <a:pt x="25" y="2162"/>
                </a:lnTo>
                <a:lnTo>
                  <a:pt x="217" y="2062"/>
                </a:lnTo>
                <a:lnTo>
                  <a:pt x="220" y="2001"/>
                </a:lnTo>
                <a:lnTo>
                  <a:pt x="193" y="1934"/>
                </a:lnTo>
                <a:lnTo>
                  <a:pt x="197" y="1860"/>
                </a:lnTo>
                <a:lnTo>
                  <a:pt x="224" y="1792"/>
                </a:lnTo>
                <a:lnTo>
                  <a:pt x="311" y="1706"/>
                </a:lnTo>
                <a:lnTo>
                  <a:pt x="280" y="1565"/>
                </a:lnTo>
                <a:lnTo>
                  <a:pt x="291" y="1482"/>
                </a:lnTo>
                <a:lnTo>
                  <a:pt x="343" y="1465"/>
                </a:lnTo>
                <a:lnTo>
                  <a:pt x="400" y="1469"/>
                </a:lnTo>
                <a:lnTo>
                  <a:pt x="465" y="1430"/>
                </a:lnTo>
                <a:lnTo>
                  <a:pt x="484" y="1384"/>
                </a:lnTo>
                <a:lnTo>
                  <a:pt x="469" y="1323"/>
                </a:lnTo>
                <a:lnTo>
                  <a:pt x="612" y="1050"/>
                </a:lnTo>
                <a:lnTo>
                  <a:pt x="751" y="982"/>
                </a:lnTo>
                <a:lnTo>
                  <a:pt x="810" y="928"/>
                </a:lnTo>
                <a:lnTo>
                  <a:pt x="823" y="889"/>
                </a:lnTo>
                <a:lnTo>
                  <a:pt x="790" y="778"/>
                </a:lnTo>
                <a:lnTo>
                  <a:pt x="644" y="704"/>
                </a:lnTo>
                <a:lnTo>
                  <a:pt x="571" y="714"/>
                </a:lnTo>
                <a:lnTo>
                  <a:pt x="401" y="646"/>
                </a:lnTo>
                <a:lnTo>
                  <a:pt x="375" y="612"/>
                </a:lnTo>
                <a:lnTo>
                  <a:pt x="390" y="552"/>
                </a:lnTo>
                <a:lnTo>
                  <a:pt x="245" y="540"/>
                </a:lnTo>
                <a:lnTo>
                  <a:pt x="187" y="573"/>
                </a:lnTo>
                <a:lnTo>
                  <a:pt x="184" y="547"/>
                </a:lnTo>
                <a:lnTo>
                  <a:pt x="198" y="503"/>
                </a:lnTo>
                <a:lnTo>
                  <a:pt x="235" y="453"/>
                </a:lnTo>
                <a:lnTo>
                  <a:pt x="282" y="422"/>
                </a:lnTo>
                <a:lnTo>
                  <a:pt x="241" y="412"/>
                </a:lnTo>
                <a:lnTo>
                  <a:pt x="269" y="378"/>
                </a:lnTo>
                <a:lnTo>
                  <a:pt x="234" y="342"/>
                </a:lnTo>
                <a:lnTo>
                  <a:pt x="289" y="293"/>
                </a:lnTo>
                <a:lnTo>
                  <a:pt x="265" y="288"/>
                </a:lnTo>
                <a:lnTo>
                  <a:pt x="242" y="256"/>
                </a:lnTo>
                <a:lnTo>
                  <a:pt x="263" y="219"/>
                </a:lnTo>
                <a:lnTo>
                  <a:pt x="214" y="128"/>
                </a:lnTo>
                <a:lnTo>
                  <a:pt x="259" y="76"/>
                </a:lnTo>
                <a:lnTo>
                  <a:pt x="326" y="58"/>
                </a:lnTo>
                <a:lnTo>
                  <a:pt x="383" y="62"/>
                </a:lnTo>
                <a:lnTo>
                  <a:pt x="470" y="92"/>
                </a:lnTo>
                <a:lnTo>
                  <a:pt x="519" y="70"/>
                </a:lnTo>
                <a:lnTo>
                  <a:pt x="528" y="36"/>
                </a:lnTo>
                <a:lnTo>
                  <a:pt x="575" y="0"/>
                </a:lnTo>
                <a:lnTo>
                  <a:pt x="687" y="15"/>
                </a:lnTo>
                <a:lnTo>
                  <a:pt x="786" y="103"/>
                </a:lnTo>
                <a:lnTo>
                  <a:pt x="1054" y="217"/>
                </a:lnTo>
                <a:lnTo>
                  <a:pt x="1110" y="208"/>
                </a:lnTo>
                <a:lnTo>
                  <a:pt x="1602" y="451"/>
                </a:lnTo>
                <a:lnTo>
                  <a:pt x="1668" y="454"/>
                </a:lnTo>
                <a:lnTo>
                  <a:pt x="1800" y="530"/>
                </a:lnTo>
                <a:lnTo>
                  <a:pt x="1938" y="566"/>
                </a:lnTo>
                <a:lnTo>
                  <a:pt x="1998" y="607"/>
                </a:lnTo>
                <a:lnTo>
                  <a:pt x="2081" y="635"/>
                </a:lnTo>
                <a:lnTo>
                  <a:pt x="2126" y="636"/>
                </a:lnTo>
                <a:lnTo>
                  <a:pt x="2129" y="658"/>
                </a:lnTo>
                <a:lnTo>
                  <a:pt x="2244" y="804"/>
                </a:lnTo>
                <a:lnTo>
                  <a:pt x="2292" y="830"/>
                </a:lnTo>
                <a:lnTo>
                  <a:pt x="2361" y="914"/>
                </a:lnTo>
                <a:lnTo>
                  <a:pt x="2633" y="1057"/>
                </a:lnTo>
                <a:lnTo>
                  <a:pt x="2666" y="1059"/>
                </a:lnTo>
                <a:lnTo>
                  <a:pt x="2722" y="1037"/>
                </a:lnTo>
                <a:lnTo>
                  <a:pt x="2764" y="1037"/>
                </a:lnTo>
                <a:lnTo>
                  <a:pt x="2859" y="1126"/>
                </a:lnTo>
                <a:lnTo>
                  <a:pt x="2883" y="1166"/>
                </a:lnTo>
                <a:lnTo>
                  <a:pt x="2891" y="1198"/>
                </a:lnTo>
                <a:lnTo>
                  <a:pt x="2922" y="1208"/>
                </a:lnTo>
                <a:lnTo>
                  <a:pt x="2945" y="1205"/>
                </a:lnTo>
                <a:lnTo>
                  <a:pt x="2939" y="1182"/>
                </a:lnTo>
                <a:lnTo>
                  <a:pt x="2983" y="1235"/>
                </a:lnTo>
                <a:lnTo>
                  <a:pt x="3018" y="1256"/>
                </a:lnTo>
                <a:lnTo>
                  <a:pt x="3317" y="1305"/>
                </a:lnTo>
                <a:lnTo>
                  <a:pt x="3349" y="1327"/>
                </a:lnTo>
                <a:lnTo>
                  <a:pt x="3350" y="1364"/>
                </a:lnTo>
                <a:lnTo>
                  <a:pt x="3306" y="1376"/>
                </a:lnTo>
                <a:lnTo>
                  <a:pt x="3301" y="1426"/>
                </a:lnTo>
                <a:lnTo>
                  <a:pt x="3310" y="1472"/>
                </a:lnTo>
                <a:lnTo>
                  <a:pt x="3255" y="1519"/>
                </a:lnTo>
                <a:lnTo>
                  <a:pt x="2966" y="1639"/>
                </a:lnTo>
                <a:lnTo>
                  <a:pt x="2653" y="1676"/>
                </a:lnTo>
                <a:lnTo>
                  <a:pt x="2577" y="1735"/>
                </a:lnTo>
                <a:lnTo>
                  <a:pt x="2570" y="1768"/>
                </a:lnTo>
                <a:lnTo>
                  <a:pt x="2200" y="2074"/>
                </a:lnTo>
                <a:lnTo>
                  <a:pt x="2145" y="2160"/>
                </a:lnTo>
                <a:lnTo>
                  <a:pt x="2142" y="2171"/>
                </a:lnTo>
                <a:lnTo>
                  <a:pt x="2153" y="2203"/>
                </a:lnTo>
                <a:lnTo>
                  <a:pt x="2153" y="2294"/>
                </a:lnTo>
                <a:lnTo>
                  <a:pt x="2171" y="2328"/>
                </a:lnTo>
                <a:lnTo>
                  <a:pt x="2195" y="2350"/>
                </a:lnTo>
                <a:lnTo>
                  <a:pt x="2231" y="2369"/>
                </a:lnTo>
                <a:lnTo>
                  <a:pt x="2243" y="2404"/>
                </a:lnTo>
                <a:lnTo>
                  <a:pt x="2208" y="2445"/>
                </a:lnTo>
                <a:lnTo>
                  <a:pt x="2073" y="2498"/>
                </a:lnTo>
                <a:lnTo>
                  <a:pt x="1879" y="2715"/>
                </a:lnTo>
                <a:lnTo>
                  <a:pt x="1882" y="2749"/>
                </a:lnTo>
                <a:lnTo>
                  <a:pt x="1713" y="2730"/>
                </a:lnTo>
                <a:lnTo>
                  <a:pt x="1586" y="2794"/>
                </a:lnTo>
                <a:lnTo>
                  <a:pt x="1492" y="2915"/>
                </a:lnTo>
                <a:lnTo>
                  <a:pt x="1457" y="2942"/>
                </a:lnTo>
                <a:lnTo>
                  <a:pt x="1414" y="2937"/>
                </a:lnTo>
                <a:lnTo>
                  <a:pt x="1355" y="2907"/>
                </a:lnTo>
                <a:lnTo>
                  <a:pt x="1268" y="2915"/>
                </a:lnTo>
                <a:lnTo>
                  <a:pt x="786" y="2775"/>
                </a:lnTo>
                <a:lnTo>
                  <a:pt x="708" y="2819"/>
                </a:lnTo>
                <a:lnTo>
                  <a:pt x="641" y="2805"/>
                </a:lnTo>
                <a:lnTo>
                  <a:pt x="575" y="2810"/>
                </a:lnTo>
                <a:lnTo>
                  <a:pt x="518" y="2842"/>
                </a:lnTo>
                <a:lnTo>
                  <a:pt x="493" y="2869"/>
                </a:lnTo>
                <a:lnTo>
                  <a:pt x="460" y="2886"/>
                </a:lnTo>
                <a:lnTo>
                  <a:pt x="413" y="2895"/>
                </a:lnTo>
                <a:lnTo>
                  <a:pt x="330" y="2849"/>
                </a:lnTo>
                <a:lnTo>
                  <a:pt x="282" y="2784"/>
                </a:lnTo>
                <a:lnTo>
                  <a:pt x="253" y="2679"/>
                </a:lnTo>
                <a:lnTo>
                  <a:pt x="261" y="2632"/>
                </a:lnTo>
                <a:lnTo>
                  <a:pt x="234" y="2589"/>
                </a:lnTo>
                <a:lnTo>
                  <a:pt x="249" y="2509"/>
                </a:lnTo>
                <a:lnTo>
                  <a:pt x="208" y="2433"/>
                </a:lnTo>
                <a:lnTo>
                  <a:pt x="112" y="2344"/>
                </a:lnTo>
                <a:lnTo>
                  <a:pt x="0" y="231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7" name="Freeform 96">
            <a:extLst>
              <a:ext uri="{FF2B5EF4-FFF2-40B4-BE49-F238E27FC236}">
                <a16:creationId xmlns:a16="http://schemas.microsoft.com/office/drawing/2014/main" id="{C1116DBE-C0D8-418A-8DAF-8AF29DFB8D41}"/>
              </a:ext>
            </a:extLst>
          </p:cNvPr>
          <p:cNvSpPr>
            <a:spLocks/>
          </p:cNvSpPr>
          <p:nvPr/>
        </p:nvSpPr>
        <p:spPr bwMode="auto">
          <a:xfrm rot="21249101">
            <a:off x="4496888" y="4687821"/>
            <a:ext cx="1398758" cy="1127272"/>
          </a:xfrm>
          <a:custGeom>
            <a:avLst/>
            <a:gdLst>
              <a:gd name="T0" fmla="*/ 2147483647 w 3350"/>
              <a:gd name="T1" fmla="*/ 2147483647 h 2942"/>
              <a:gd name="T2" fmla="*/ 2147483647 w 3350"/>
              <a:gd name="T3" fmla="*/ 2147483647 h 2942"/>
              <a:gd name="T4" fmla="*/ 2147483647 w 3350"/>
              <a:gd name="T5" fmla="*/ 2147483647 h 2942"/>
              <a:gd name="T6" fmla="*/ 2147483647 w 3350"/>
              <a:gd name="T7" fmla="*/ 2147483647 h 2942"/>
              <a:gd name="T8" fmla="*/ 2147483647 w 3350"/>
              <a:gd name="T9" fmla="*/ 2147483647 h 2942"/>
              <a:gd name="T10" fmla="*/ 2147483647 w 3350"/>
              <a:gd name="T11" fmla="*/ 2147483647 h 2942"/>
              <a:gd name="T12" fmla="*/ 2147483647 w 3350"/>
              <a:gd name="T13" fmla="*/ 2147483647 h 2942"/>
              <a:gd name="T14" fmla="*/ 2147483647 w 3350"/>
              <a:gd name="T15" fmla="*/ 2147483647 h 2942"/>
              <a:gd name="T16" fmla="*/ 2147483647 w 3350"/>
              <a:gd name="T17" fmla="*/ 2147483647 h 2942"/>
              <a:gd name="T18" fmla="*/ 2147483647 w 3350"/>
              <a:gd name="T19" fmla="*/ 2147483647 h 2942"/>
              <a:gd name="T20" fmla="*/ 2147483647 w 3350"/>
              <a:gd name="T21" fmla="*/ 2147483647 h 2942"/>
              <a:gd name="T22" fmla="*/ 2147483647 w 3350"/>
              <a:gd name="T23" fmla="*/ 2147483647 h 2942"/>
              <a:gd name="T24" fmla="*/ 2147483647 w 3350"/>
              <a:gd name="T25" fmla="*/ 2147483647 h 2942"/>
              <a:gd name="T26" fmla="*/ 2147483647 w 3350"/>
              <a:gd name="T27" fmla="*/ 2147483647 h 2942"/>
              <a:gd name="T28" fmla="*/ 2147483647 w 3350"/>
              <a:gd name="T29" fmla="*/ 2147483647 h 2942"/>
              <a:gd name="T30" fmla="*/ 2147483647 w 3350"/>
              <a:gd name="T31" fmla="*/ 2147483647 h 2942"/>
              <a:gd name="T32" fmla="*/ 2147483647 w 3350"/>
              <a:gd name="T33" fmla="*/ 2147483647 h 2942"/>
              <a:gd name="T34" fmla="*/ 2147483647 w 3350"/>
              <a:gd name="T35" fmla="*/ 2147483647 h 2942"/>
              <a:gd name="T36" fmla="*/ 2147483647 w 3350"/>
              <a:gd name="T37" fmla="*/ 2147483647 h 2942"/>
              <a:gd name="T38" fmla="*/ 2147483647 w 3350"/>
              <a:gd name="T39" fmla="*/ 2147483647 h 2942"/>
              <a:gd name="T40" fmla="*/ 2147483647 w 3350"/>
              <a:gd name="T41" fmla="*/ 2147483647 h 2942"/>
              <a:gd name="T42" fmla="*/ 2147483647 w 3350"/>
              <a:gd name="T43" fmla="*/ 2147483647 h 2942"/>
              <a:gd name="T44" fmla="*/ 2147483647 w 3350"/>
              <a:gd name="T45" fmla="*/ 0 h 2942"/>
              <a:gd name="T46" fmla="*/ 2147483647 w 3350"/>
              <a:gd name="T47" fmla="*/ 2147483647 h 2942"/>
              <a:gd name="T48" fmla="*/ 2147483647 w 3350"/>
              <a:gd name="T49" fmla="*/ 2147483647 h 2942"/>
              <a:gd name="T50" fmla="*/ 2147483647 w 3350"/>
              <a:gd name="T51" fmla="*/ 2147483647 h 2942"/>
              <a:gd name="T52" fmla="*/ 2147483647 w 3350"/>
              <a:gd name="T53" fmla="*/ 2147483647 h 2942"/>
              <a:gd name="T54" fmla="*/ 2147483647 w 3350"/>
              <a:gd name="T55" fmla="*/ 2147483647 h 2942"/>
              <a:gd name="T56" fmla="*/ 2147483647 w 3350"/>
              <a:gd name="T57" fmla="*/ 2147483647 h 2942"/>
              <a:gd name="T58" fmla="*/ 2147483647 w 3350"/>
              <a:gd name="T59" fmla="*/ 2147483647 h 2942"/>
              <a:gd name="T60" fmla="*/ 2147483647 w 3350"/>
              <a:gd name="T61" fmla="*/ 2147483647 h 2942"/>
              <a:gd name="T62" fmla="*/ 2147483647 w 3350"/>
              <a:gd name="T63" fmla="*/ 2147483647 h 2942"/>
              <a:gd name="T64" fmla="*/ 2147483647 w 3350"/>
              <a:gd name="T65" fmla="*/ 2147483647 h 2942"/>
              <a:gd name="T66" fmla="*/ 2147483647 w 3350"/>
              <a:gd name="T67" fmla="*/ 2147483647 h 2942"/>
              <a:gd name="T68" fmla="*/ 2147483647 w 3350"/>
              <a:gd name="T69" fmla="*/ 2147483647 h 2942"/>
              <a:gd name="T70" fmla="*/ 2147483647 w 3350"/>
              <a:gd name="T71" fmla="*/ 2147483647 h 2942"/>
              <a:gd name="T72" fmla="*/ 2147483647 w 3350"/>
              <a:gd name="T73" fmla="*/ 2147483647 h 2942"/>
              <a:gd name="T74" fmla="*/ 2147483647 w 3350"/>
              <a:gd name="T75" fmla="*/ 2147483647 h 2942"/>
              <a:gd name="T76" fmla="*/ 2147483647 w 3350"/>
              <a:gd name="T77" fmla="*/ 2147483647 h 2942"/>
              <a:gd name="T78" fmla="*/ 2147483647 w 3350"/>
              <a:gd name="T79" fmla="*/ 2147483647 h 2942"/>
              <a:gd name="T80" fmla="*/ 2147483647 w 3350"/>
              <a:gd name="T81" fmla="*/ 2147483647 h 2942"/>
              <a:gd name="T82" fmla="*/ 2147483647 w 3350"/>
              <a:gd name="T83" fmla="*/ 2147483647 h 2942"/>
              <a:gd name="T84" fmla="*/ 2147483647 w 3350"/>
              <a:gd name="T85" fmla="*/ 2147483647 h 2942"/>
              <a:gd name="T86" fmla="*/ 2147483647 w 3350"/>
              <a:gd name="T87" fmla="*/ 2147483647 h 2942"/>
              <a:gd name="T88" fmla="*/ 2147483647 w 3350"/>
              <a:gd name="T89" fmla="*/ 2147483647 h 2942"/>
              <a:gd name="T90" fmla="*/ 2147483647 w 3350"/>
              <a:gd name="T91" fmla="*/ 2147483647 h 2942"/>
              <a:gd name="T92" fmla="*/ 2147483647 w 3350"/>
              <a:gd name="T93" fmla="*/ 2147483647 h 2942"/>
              <a:gd name="T94" fmla="*/ 2147483647 w 3350"/>
              <a:gd name="T95" fmla="*/ 2147483647 h 2942"/>
              <a:gd name="T96" fmla="*/ 2147483647 w 3350"/>
              <a:gd name="T97" fmla="*/ 2147483647 h 2942"/>
              <a:gd name="T98" fmla="*/ 2147483647 w 3350"/>
              <a:gd name="T99" fmla="*/ 2147483647 h 2942"/>
              <a:gd name="T100" fmla="*/ 2147483647 w 3350"/>
              <a:gd name="T101" fmla="*/ 2147483647 h 2942"/>
              <a:gd name="T102" fmla="*/ 2147483647 w 3350"/>
              <a:gd name="T103" fmla="*/ 2147483647 h 2942"/>
              <a:gd name="T104" fmla="*/ 2147483647 w 3350"/>
              <a:gd name="T105" fmla="*/ 2147483647 h 2942"/>
              <a:gd name="T106" fmla="*/ 2147483647 w 3350"/>
              <a:gd name="T107" fmla="*/ 2147483647 h 2942"/>
              <a:gd name="T108" fmla="*/ 2147483647 w 3350"/>
              <a:gd name="T109" fmla="*/ 2147483647 h 2942"/>
              <a:gd name="T110" fmla="*/ 2147483647 w 3350"/>
              <a:gd name="T111" fmla="*/ 2147483647 h 2942"/>
              <a:gd name="T112" fmla="*/ 2147483647 w 3350"/>
              <a:gd name="T113" fmla="*/ 2147483647 h 2942"/>
              <a:gd name="T114" fmla="*/ 2147483647 w 3350"/>
              <a:gd name="T115" fmla="*/ 2147483647 h 2942"/>
              <a:gd name="T116" fmla="*/ 2147483647 w 3350"/>
              <a:gd name="T117" fmla="*/ 2147483647 h 2942"/>
              <a:gd name="T118" fmla="*/ 2147483647 w 3350"/>
              <a:gd name="T119" fmla="*/ 2147483647 h 294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350"/>
              <a:gd name="T181" fmla="*/ 0 h 2942"/>
              <a:gd name="T182" fmla="*/ 3350 w 3350"/>
              <a:gd name="T183" fmla="*/ 2942 h 294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350" h="2942">
                <a:moveTo>
                  <a:pt x="0" y="2311"/>
                </a:moveTo>
                <a:lnTo>
                  <a:pt x="25" y="2162"/>
                </a:lnTo>
                <a:lnTo>
                  <a:pt x="217" y="2062"/>
                </a:lnTo>
                <a:lnTo>
                  <a:pt x="220" y="2001"/>
                </a:lnTo>
                <a:lnTo>
                  <a:pt x="193" y="1934"/>
                </a:lnTo>
                <a:lnTo>
                  <a:pt x="197" y="1860"/>
                </a:lnTo>
                <a:lnTo>
                  <a:pt x="224" y="1792"/>
                </a:lnTo>
                <a:lnTo>
                  <a:pt x="311" y="1706"/>
                </a:lnTo>
                <a:lnTo>
                  <a:pt x="280" y="1565"/>
                </a:lnTo>
                <a:lnTo>
                  <a:pt x="291" y="1482"/>
                </a:lnTo>
                <a:lnTo>
                  <a:pt x="343" y="1465"/>
                </a:lnTo>
                <a:lnTo>
                  <a:pt x="400" y="1469"/>
                </a:lnTo>
                <a:lnTo>
                  <a:pt x="465" y="1430"/>
                </a:lnTo>
                <a:lnTo>
                  <a:pt x="484" y="1384"/>
                </a:lnTo>
                <a:lnTo>
                  <a:pt x="469" y="1323"/>
                </a:lnTo>
                <a:lnTo>
                  <a:pt x="612" y="1050"/>
                </a:lnTo>
                <a:lnTo>
                  <a:pt x="751" y="982"/>
                </a:lnTo>
                <a:lnTo>
                  <a:pt x="810" y="928"/>
                </a:lnTo>
                <a:lnTo>
                  <a:pt x="823" y="889"/>
                </a:lnTo>
                <a:lnTo>
                  <a:pt x="790" y="778"/>
                </a:lnTo>
                <a:lnTo>
                  <a:pt x="644" y="704"/>
                </a:lnTo>
                <a:lnTo>
                  <a:pt x="571" y="714"/>
                </a:lnTo>
                <a:lnTo>
                  <a:pt x="401" y="646"/>
                </a:lnTo>
                <a:lnTo>
                  <a:pt x="375" y="612"/>
                </a:lnTo>
                <a:lnTo>
                  <a:pt x="390" y="552"/>
                </a:lnTo>
                <a:lnTo>
                  <a:pt x="245" y="540"/>
                </a:lnTo>
                <a:lnTo>
                  <a:pt x="187" y="573"/>
                </a:lnTo>
                <a:lnTo>
                  <a:pt x="184" y="547"/>
                </a:lnTo>
                <a:lnTo>
                  <a:pt x="198" y="503"/>
                </a:lnTo>
                <a:lnTo>
                  <a:pt x="235" y="453"/>
                </a:lnTo>
                <a:lnTo>
                  <a:pt x="282" y="422"/>
                </a:lnTo>
                <a:lnTo>
                  <a:pt x="241" y="412"/>
                </a:lnTo>
                <a:lnTo>
                  <a:pt x="269" y="378"/>
                </a:lnTo>
                <a:lnTo>
                  <a:pt x="234" y="342"/>
                </a:lnTo>
                <a:lnTo>
                  <a:pt x="289" y="293"/>
                </a:lnTo>
                <a:lnTo>
                  <a:pt x="265" y="288"/>
                </a:lnTo>
                <a:lnTo>
                  <a:pt x="242" y="256"/>
                </a:lnTo>
                <a:lnTo>
                  <a:pt x="263" y="219"/>
                </a:lnTo>
                <a:lnTo>
                  <a:pt x="214" y="128"/>
                </a:lnTo>
                <a:lnTo>
                  <a:pt x="259" y="76"/>
                </a:lnTo>
                <a:lnTo>
                  <a:pt x="326" y="58"/>
                </a:lnTo>
                <a:lnTo>
                  <a:pt x="383" y="62"/>
                </a:lnTo>
                <a:lnTo>
                  <a:pt x="470" y="92"/>
                </a:lnTo>
                <a:lnTo>
                  <a:pt x="519" y="70"/>
                </a:lnTo>
                <a:lnTo>
                  <a:pt x="528" y="36"/>
                </a:lnTo>
                <a:lnTo>
                  <a:pt x="575" y="0"/>
                </a:lnTo>
                <a:lnTo>
                  <a:pt x="687" y="15"/>
                </a:lnTo>
                <a:lnTo>
                  <a:pt x="786" y="103"/>
                </a:lnTo>
                <a:lnTo>
                  <a:pt x="1054" y="217"/>
                </a:lnTo>
                <a:lnTo>
                  <a:pt x="1110" y="208"/>
                </a:lnTo>
                <a:lnTo>
                  <a:pt x="1602" y="451"/>
                </a:lnTo>
                <a:lnTo>
                  <a:pt x="1668" y="454"/>
                </a:lnTo>
                <a:lnTo>
                  <a:pt x="1800" y="530"/>
                </a:lnTo>
                <a:lnTo>
                  <a:pt x="1938" y="566"/>
                </a:lnTo>
                <a:lnTo>
                  <a:pt x="1998" y="607"/>
                </a:lnTo>
                <a:lnTo>
                  <a:pt x="2081" y="635"/>
                </a:lnTo>
                <a:lnTo>
                  <a:pt x="2126" y="636"/>
                </a:lnTo>
                <a:lnTo>
                  <a:pt x="2129" y="658"/>
                </a:lnTo>
                <a:lnTo>
                  <a:pt x="2244" y="804"/>
                </a:lnTo>
                <a:lnTo>
                  <a:pt x="2292" y="830"/>
                </a:lnTo>
                <a:lnTo>
                  <a:pt x="2361" y="914"/>
                </a:lnTo>
                <a:lnTo>
                  <a:pt x="2633" y="1057"/>
                </a:lnTo>
                <a:lnTo>
                  <a:pt x="2666" y="1059"/>
                </a:lnTo>
                <a:lnTo>
                  <a:pt x="2722" y="1037"/>
                </a:lnTo>
                <a:lnTo>
                  <a:pt x="2764" y="1037"/>
                </a:lnTo>
                <a:lnTo>
                  <a:pt x="2859" y="1126"/>
                </a:lnTo>
                <a:lnTo>
                  <a:pt x="2883" y="1166"/>
                </a:lnTo>
                <a:lnTo>
                  <a:pt x="2891" y="1198"/>
                </a:lnTo>
                <a:lnTo>
                  <a:pt x="2922" y="1208"/>
                </a:lnTo>
                <a:lnTo>
                  <a:pt x="2945" y="1205"/>
                </a:lnTo>
                <a:lnTo>
                  <a:pt x="2939" y="1182"/>
                </a:lnTo>
                <a:lnTo>
                  <a:pt x="2983" y="1235"/>
                </a:lnTo>
                <a:lnTo>
                  <a:pt x="3018" y="1256"/>
                </a:lnTo>
                <a:lnTo>
                  <a:pt x="3317" y="1305"/>
                </a:lnTo>
                <a:lnTo>
                  <a:pt x="3349" y="1327"/>
                </a:lnTo>
                <a:lnTo>
                  <a:pt x="3350" y="1364"/>
                </a:lnTo>
                <a:lnTo>
                  <a:pt x="3306" y="1376"/>
                </a:lnTo>
                <a:lnTo>
                  <a:pt x="3301" y="1426"/>
                </a:lnTo>
                <a:lnTo>
                  <a:pt x="3310" y="1472"/>
                </a:lnTo>
                <a:lnTo>
                  <a:pt x="3255" y="1519"/>
                </a:lnTo>
                <a:lnTo>
                  <a:pt x="2966" y="1639"/>
                </a:lnTo>
                <a:lnTo>
                  <a:pt x="2653" y="1676"/>
                </a:lnTo>
                <a:lnTo>
                  <a:pt x="2577" y="1735"/>
                </a:lnTo>
                <a:lnTo>
                  <a:pt x="2570" y="1768"/>
                </a:lnTo>
                <a:lnTo>
                  <a:pt x="2200" y="2074"/>
                </a:lnTo>
                <a:lnTo>
                  <a:pt x="2145" y="2160"/>
                </a:lnTo>
                <a:lnTo>
                  <a:pt x="2142" y="2171"/>
                </a:lnTo>
                <a:lnTo>
                  <a:pt x="2153" y="2203"/>
                </a:lnTo>
                <a:lnTo>
                  <a:pt x="2153" y="2294"/>
                </a:lnTo>
                <a:lnTo>
                  <a:pt x="2171" y="2328"/>
                </a:lnTo>
                <a:lnTo>
                  <a:pt x="2195" y="2350"/>
                </a:lnTo>
                <a:lnTo>
                  <a:pt x="2231" y="2369"/>
                </a:lnTo>
                <a:lnTo>
                  <a:pt x="2243" y="2404"/>
                </a:lnTo>
                <a:lnTo>
                  <a:pt x="2208" y="2445"/>
                </a:lnTo>
                <a:lnTo>
                  <a:pt x="2073" y="2498"/>
                </a:lnTo>
                <a:lnTo>
                  <a:pt x="1879" y="2715"/>
                </a:lnTo>
                <a:lnTo>
                  <a:pt x="1882" y="2749"/>
                </a:lnTo>
                <a:lnTo>
                  <a:pt x="1713" y="2730"/>
                </a:lnTo>
                <a:lnTo>
                  <a:pt x="1586" y="2794"/>
                </a:lnTo>
                <a:lnTo>
                  <a:pt x="1492" y="2915"/>
                </a:lnTo>
                <a:lnTo>
                  <a:pt x="1457" y="2942"/>
                </a:lnTo>
                <a:lnTo>
                  <a:pt x="1414" y="2937"/>
                </a:lnTo>
                <a:lnTo>
                  <a:pt x="1355" y="2907"/>
                </a:lnTo>
                <a:lnTo>
                  <a:pt x="1268" y="2915"/>
                </a:lnTo>
                <a:lnTo>
                  <a:pt x="786" y="2775"/>
                </a:lnTo>
                <a:lnTo>
                  <a:pt x="708" y="2819"/>
                </a:lnTo>
                <a:lnTo>
                  <a:pt x="641" y="2805"/>
                </a:lnTo>
                <a:lnTo>
                  <a:pt x="575" y="2810"/>
                </a:lnTo>
                <a:lnTo>
                  <a:pt x="518" y="2842"/>
                </a:lnTo>
                <a:lnTo>
                  <a:pt x="493" y="2869"/>
                </a:lnTo>
                <a:lnTo>
                  <a:pt x="460" y="2886"/>
                </a:lnTo>
                <a:lnTo>
                  <a:pt x="413" y="2895"/>
                </a:lnTo>
                <a:lnTo>
                  <a:pt x="330" y="2849"/>
                </a:lnTo>
                <a:lnTo>
                  <a:pt x="282" y="2784"/>
                </a:lnTo>
                <a:lnTo>
                  <a:pt x="253" y="2679"/>
                </a:lnTo>
                <a:lnTo>
                  <a:pt x="261" y="2632"/>
                </a:lnTo>
                <a:lnTo>
                  <a:pt x="234" y="2589"/>
                </a:lnTo>
                <a:lnTo>
                  <a:pt x="249" y="2509"/>
                </a:lnTo>
                <a:lnTo>
                  <a:pt x="208" y="2433"/>
                </a:lnTo>
                <a:lnTo>
                  <a:pt x="112" y="2344"/>
                </a:lnTo>
                <a:lnTo>
                  <a:pt x="0" y="2311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98" name="Freeform 97">
            <a:extLst>
              <a:ext uri="{FF2B5EF4-FFF2-40B4-BE49-F238E27FC236}">
                <a16:creationId xmlns:a16="http://schemas.microsoft.com/office/drawing/2014/main" id="{34612ED6-2D9B-481C-95A8-F77D114E366B}"/>
              </a:ext>
            </a:extLst>
          </p:cNvPr>
          <p:cNvSpPr>
            <a:spLocks/>
          </p:cNvSpPr>
          <p:nvPr/>
        </p:nvSpPr>
        <p:spPr bwMode="auto">
          <a:xfrm rot="21249101">
            <a:off x="8007252" y="4802515"/>
            <a:ext cx="684118" cy="406342"/>
          </a:xfrm>
          <a:custGeom>
            <a:avLst/>
            <a:gdLst>
              <a:gd name="T0" fmla="*/ 2147483647 w 1639"/>
              <a:gd name="T1" fmla="*/ 2147483647 h 1064"/>
              <a:gd name="T2" fmla="*/ 2147483647 w 1639"/>
              <a:gd name="T3" fmla="*/ 2147483647 h 1064"/>
              <a:gd name="T4" fmla="*/ 2147483647 w 1639"/>
              <a:gd name="T5" fmla="*/ 2147483647 h 1064"/>
              <a:gd name="T6" fmla="*/ 2147483647 w 1639"/>
              <a:gd name="T7" fmla="*/ 2147483647 h 1064"/>
              <a:gd name="T8" fmla="*/ 2147483647 w 1639"/>
              <a:gd name="T9" fmla="*/ 2147483647 h 1064"/>
              <a:gd name="T10" fmla="*/ 2147483647 w 1639"/>
              <a:gd name="T11" fmla="*/ 2147483647 h 1064"/>
              <a:gd name="T12" fmla="*/ 2147483647 w 1639"/>
              <a:gd name="T13" fmla="*/ 2147483647 h 1064"/>
              <a:gd name="T14" fmla="*/ 0 w 1639"/>
              <a:gd name="T15" fmla="*/ 2147483647 h 1064"/>
              <a:gd name="T16" fmla="*/ 2147483647 w 1639"/>
              <a:gd name="T17" fmla="*/ 2147483647 h 1064"/>
              <a:gd name="T18" fmla="*/ 2147483647 w 1639"/>
              <a:gd name="T19" fmla="*/ 2147483647 h 1064"/>
              <a:gd name="T20" fmla="*/ 2147483647 w 1639"/>
              <a:gd name="T21" fmla="*/ 2147483647 h 1064"/>
              <a:gd name="T22" fmla="*/ 2147483647 w 1639"/>
              <a:gd name="T23" fmla="*/ 2147483647 h 1064"/>
              <a:gd name="T24" fmla="*/ 2147483647 w 1639"/>
              <a:gd name="T25" fmla="*/ 2147483647 h 1064"/>
              <a:gd name="T26" fmla="*/ 2147483647 w 1639"/>
              <a:gd name="T27" fmla="*/ 2147483647 h 1064"/>
              <a:gd name="T28" fmla="*/ 2147483647 w 1639"/>
              <a:gd name="T29" fmla="*/ 0 h 1064"/>
              <a:gd name="T30" fmla="*/ 2147483647 w 1639"/>
              <a:gd name="T31" fmla="*/ 2147483647 h 1064"/>
              <a:gd name="T32" fmla="*/ 2147483647 w 1639"/>
              <a:gd name="T33" fmla="*/ 2147483647 h 1064"/>
              <a:gd name="T34" fmla="*/ 2147483647 w 1639"/>
              <a:gd name="T35" fmla="*/ 2147483647 h 1064"/>
              <a:gd name="T36" fmla="*/ 2147483647 w 1639"/>
              <a:gd name="T37" fmla="*/ 2147483647 h 1064"/>
              <a:gd name="T38" fmla="*/ 2147483647 w 1639"/>
              <a:gd name="T39" fmla="*/ 2147483647 h 1064"/>
              <a:gd name="T40" fmla="*/ 2147483647 w 1639"/>
              <a:gd name="T41" fmla="*/ 2147483647 h 1064"/>
              <a:gd name="T42" fmla="*/ 2147483647 w 1639"/>
              <a:gd name="T43" fmla="*/ 2147483647 h 1064"/>
              <a:gd name="T44" fmla="*/ 2147483647 w 1639"/>
              <a:gd name="T45" fmla="*/ 2147483647 h 1064"/>
              <a:gd name="T46" fmla="*/ 2147483647 w 1639"/>
              <a:gd name="T47" fmla="*/ 2147483647 h 1064"/>
              <a:gd name="T48" fmla="*/ 2147483647 w 1639"/>
              <a:gd name="T49" fmla="*/ 2147483647 h 1064"/>
              <a:gd name="T50" fmla="*/ 2147483647 w 1639"/>
              <a:gd name="T51" fmla="*/ 2147483647 h 1064"/>
              <a:gd name="T52" fmla="*/ 2147483647 w 1639"/>
              <a:gd name="T53" fmla="*/ 2147483647 h 1064"/>
              <a:gd name="T54" fmla="*/ 2147483647 w 1639"/>
              <a:gd name="T55" fmla="*/ 2147483647 h 1064"/>
              <a:gd name="T56" fmla="*/ 2147483647 w 1639"/>
              <a:gd name="T57" fmla="*/ 2147483647 h 1064"/>
              <a:gd name="T58" fmla="*/ 2147483647 w 1639"/>
              <a:gd name="T59" fmla="*/ 2147483647 h 1064"/>
              <a:gd name="T60" fmla="*/ 2147483647 w 1639"/>
              <a:gd name="T61" fmla="*/ 2147483647 h 1064"/>
              <a:gd name="T62" fmla="*/ 2147483647 w 1639"/>
              <a:gd name="T63" fmla="*/ 2147483647 h 1064"/>
              <a:gd name="T64" fmla="*/ 2147483647 w 1639"/>
              <a:gd name="T65" fmla="*/ 2147483647 h 1064"/>
              <a:gd name="T66" fmla="*/ 2147483647 w 1639"/>
              <a:gd name="T67" fmla="*/ 2147483647 h 1064"/>
              <a:gd name="T68" fmla="*/ 2147483647 w 1639"/>
              <a:gd name="T69" fmla="*/ 2147483647 h 1064"/>
              <a:gd name="T70" fmla="*/ 2147483647 w 1639"/>
              <a:gd name="T71" fmla="*/ 2147483647 h 1064"/>
              <a:gd name="T72" fmla="*/ 2147483647 w 1639"/>
              <a:gd name="T73" fmla="*/ 2147483647 h 1064"/>
              <a:gd name="T74" fmla="*/ 2147483647 w 1639"/>
              <a:gd name="T75" fmla="*/ 2147483647 h 1064"/>
              <a:gd name="T76" fmla="*/ 2147483647 w 1639"/>
              <a:gd name="T77" fmla="*/ 2147483647 h 1064"/>
              <a:gd name="T78" fmla="*/ 2147483647 w 1639"/>
              <a:gd name="T79" fmla="*/ 2147483647 h 1064"/>
              <a:gd name="T80" fmla="*/ 2147483647 w 1639"/>
              <a:gd name="T81" fmla="*/ 2147483647 h 1064"/>
              <a:gd name="T82" fmla="*/ 2147483647 w 1639"/>
              <a:gd name="T83" fmla="*/ 2147483647 h 1064"/>
              <a:gd name="T84" fmla="*/ 2147483647 w 1639"/>
              <a:gd name="T85" fmla="*/ 2147483647 h 106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639"/>
              <a:gd name="T130" fmla="*/ 0 h 1064"/>
              <a:gd name="T131" fmla="*/ 1639 w 1639"/>
              <a:gd name="T132" fmla="*/ 1064 h 1064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639" h="1064">
                <a:moveTo>
                  <a:pt x="173" y="1064"/>
                </a:moveTo>
                <a:lnTo>
                  <a:pt x="132" y="836"/>
                </a:lnTo>
                <a:lnTo>
                  <a:pt x="15" y="745"/>
                </a:lnTo>
                <a:lnTo>
                  <a:pt x="12" y="628"/>
                </a:lnTo>
                <a:lnTo>
                  <a:pt x="68" y="502"/>
                </a:lnTo>
                <a:lnTo>
                  <a:pt x="121" y="445"/>
                </a:lnTo>
                <a:lnTo>
                  <a:pt x="2" y="297"/>
                </a:lnTo>
                <a:lnTo>
                  <a:pt x="0" y="94"/>
                </a:lnTo>
                <a:lnTo>
                  <a:pt x="78" y="55"/>
                </a:lnTo>
                <a:lnTo>
                  <a:pt x="139" y="73"/>
                </a:lnTo>
                <a:lnTo>
                  <a:pt x="110" y="142"/>
                </a:lnTo>
                <a:lnTo>
                  <a:pt x="164" y="184"/>
                </a:lnTo>
                <a:lnTo>
                  <a:pt x="804" y="204"/>
                </a:lnTo>
                <a:lnTo>
                  <a:pt x="1184" y="5"/>
                </a:lnTo>
                <a:lnTo>
                  <a:pt x="1275" y="0"/>
                </a:lnTo>
                <a:lnTo>
                  <a:pt x="1308" y="22"/>
                </a:lnTo>
                <a:lnTo>
                  <a:pt x="1451" y="45"/>
                </a:lnTo>
                <a:lnTo>
                  <a:pt x="1555" y="104"/>
                </a:lnTo>
                <a:lnTo>
                  <a:pt x="1639" y="86"/>
                </a:lnTo>
                <a:lnTo>
                  <a:pt x="1635" y="162"/>
                </a:lnTo>
                <a:lnTo>
                  <a:pt x="1615" y="220"/>
                </a:lnTo>
                <a:lnTo>
                  <a:pt x="1527" y="253"/>
                </a:lnTo>
                <a:lnTo>
                  <a:pt x="1476" y="329"/>
                </a:lnTo>
                <a:lnTo>
                  <a:pt x="1487" y="472"/>
                </a:lnTo>
                <a:lnTo>
                  <a:pt x="1448" y="491"/>
                </a:lnTo>
                <a:lnTo>
                  <a:pt x="1436" y="519"/>
                </a:lnTo>
                <a:lnTo>
                  <a:pt x="1387" y="571"/>
                </a:lnTo>
                <a:lnTo>
                  <a:pt x="1404" y="590"/>
                </a:lnTo>
                <a:lnTo>
                  <a:pt x="1429" y="596"/>
                </a:lnTo>
                <a:lnTo>
                  <a:pt x="1535" y="741"/>
                </a:lnTo>
                <a:lnTo>
                  <a:pt x="1542" y="772"/>
                </a:lnTo>
                <a:lnTo>
                  <a:pt x="1502" y="770"/>
                </a:lnTo>
                <a:lnTo>
                  <a:pt x="1390" y="797"/>
                </a:lnTo>
                <a:lnTo>
                  <a:pt x="1300" y="758"/>
                </a:lnTo>
                <a:lnTo>
                  <a:pt x="1135" y="823"/>
                </a:lnTo>
                <a:lnTo>
                  <a:pt x="1092" y="860"/>
                </a:lnTo>
                <a:lnTo>
                  <a:pt x="1036" y="869"/>
                </a:lnTo>
                <a:lnTo>
                  <a:pt x="1034" y="969"/>
                </a:lnTo>
                <a:lnTo>
                  <a:pt x="970" y="1034"/>
                </a:lnTo>
                <a:lnTo>
                  <a:pt x="871" y="1063"/>
                </a:lnTo>
                <a:lnTo>
                  <a:pt x="690" y="1012"/>
                </a:lnTo>
                <a:lnTo>
                  <a:pt x="640" y="973"/>
                </a:lnTo>
                <a:lnTo>
                  <a:pt x="173" y="1064"/>
                </a:lnTo>
                <a:close/>
              </a:path>
            </a:pathLst>
          </a:custGeom>
          <a:solidFill>
            <a:srgbClr val="4BB2FF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AT" kern="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99" name="Freeform 101">
            <a:extLst>
              <a:ext uri="{FF2B5EF4-FFF2-40B4-BE49-F238E27FC236}">
                <a16:creationId xmlns:a16="http://schemas.microsoft.com/office/drawing/2014/main" id="{41FAA2B8-A870-4C6A-9644-19D3129B6099}"/>
              </a:ext>
            </a:extLst>
          </p:cNvPr>
          <p:cNvSpPr>
            <a:spLocks/>
          </p:cNvSpPr>
          <p:nvPr/>
        </p:nvSpPr>
        <p:spPr bwMode="auto">
          <a:xfrm rot="21249101">
            <a:off x="7113052" y="4777937"/>
            <a:ext cx="30526" cy="37685"/>
          </a:xfrm>
          <a:custGeom>
            <a:avLst/>
            <a:gdLst>
              <a:gd name="T0" fmla="*/ 2147483647 w 75"/>
              <a:gd name="T1" fmla="*/ 0 h 93"/>
              <a:gd name="T2" fmla="*/ 2147483647 w 75"/>
              <a:gd name="T3" fmla="*/ 2147483647 h 93"/>
              <a:gd name="T4" fmla="*/ 2147483647 w 75"/>
              <a:gd name="T5" fmla="*/ 2147483647 h 93"/>
              <a:gd name="T6" fmla="*/ 2147483647 w 75"/>
              <a:gd name="T7" fmla="*/ 2147483647 h 93"/>
              <a:gd name="T8" fmla="*/ 2147483647 w 75"/>
              <a:gd name="T9" fmla="*/ 2147483647 h 93"/>
              <a:gd name="T10" fmla="*/ 2147483647 w 75"/>
              <a:gd name="T11" fmla="*/ 2147483647 h 93"/>
              <a:gd name="T12" fmla="*/ 0 w 75"/>
              <a:gd name="T13" fmla="*/ 2147483647 h 93"/>
              <a:gd name="T14" fmla="*/ 2147483647 w 75"/>
              <a:gd name="T15" fmla="*/ 2147483647 h 93"/>
              <a:gd name="T16" fmla="*/ 2147483647 w 75"/>
              <a:gd name="T17" fmla="*/ 0 h 9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5"/>
              <a:gd name="T28" fmla="*/ 0 h 93"/>
              <a:gd name="T29" fmla="*/ 75 w 75"/>
              <a:gd name="T30" fmla="*/ 93 h 9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5" h="93">
                <a:moveTo>
                  <a:pt x="27" y="0"/>
                </a:moveTo>
                <a:lnTo>
                  <a:pt x="38" y="45"/>
                </a:lnTo>
                <a:lnTo>
                  <a:pt x="71" y="73"/>
                </a:lnTo>
                <a:lnTo>
                  <a:pt x="75" y="93"/>
                </a:lnTo>
                <a:lnTo>
                  <a:pt x="42" y="73"/>
                </a:lnTo>
                <a:lnTo>
                  <a:pt x="13" y="69"/>
                </a:lnTo>
                <a:lnTo>
                  <a:pt x="0" y="57"/>
                </a:lnTo>
                <a:lnTo>
                  <a:pt x="15" y="12"/>
                </a:lnTo>
                <a:lnTo>
                  <a:pt x="27" y="0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0" name="Freeform 102">
            <a:extLst>
              <a:ext uri="{FF2B5EF4-FFF2-40B4-BE49-F238E27FC236}">
                <a16:creationId xmlns:a16="http://schemas.microsoft.com/office/drawing/2014/main" id="{F67878BE-BB08-4B76-B2F8-200B70D4214D}"/>
              </a:ext>
            </a:extLst>
          </p:cNvPr>
          <p:cNvSpPr>
            <a:spLocks/>
          </p:cNvSpPr>
          <p:nvPr/>
        </p:nvSpPr>
        <p:spPr bwMode="auto">
          <a:xfrm rot="21249101">
            <a:off x="7113052" y="4777937"/>
            <a:ext cx="30526" cy="37685"/>
          </a:xfrm>
          <a:custGeom>
            <a:avLst/>
            <a:gdLst>
              <a:gd name="T0" fmla="*/ 2147483647 w 75"/>
              <a:gd name="T1" fmla="*/ 0 h 93"/>
              <a:gd name="T2" fmla="*/ 2147483647 w 75"/>
              <a:gd name="T3" fmla="*/ 2147483647 h 93"/>
              <a:gd name="T4" fmla="*/ 2147483647 w 75"/>
              <a:gd name="T5" fmla="*/ 2147483647 h 93"/>
              <a:gd name="T6" fmla="*/ 2147483647 w 75"/>
              <a:gd name="T7" fmla="*/ 2147483647 h 93"/>
              <a:gd name="T8" fmla="*/ 2147483647 w 75"/>
              <a:gd name="T9" fmla="*/ 2147483647 h 93"/>
              <a:gd name="T10" fmla="*/ 2147483647 w 75"/>
              <a:gd name="T11" fmla="*/ 2147483647 h 93"/>
              <a:gd name="T12" fmla="*/ 0 w 75"/>
              <a:gd name="T13" fmla="*/ 2147483647 h 93"/>
              <a:gd name="T14" fmla="*/ 2147483647 w 75"/>
              <a:gd name="T15" fmla="*/ 2147483647 h 93"/>
              <a:gd name="T16" fmla="*/ 2147483647 w 75"/>
              <a:gd name="T17" fmla="*/ 0 h 9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5"/>
              <a:gd name="T28" fmla="*/ 0 h 93"/>
              <a:gd name="T29" fmla="*/ 75 w 75"/>
              <a:gd name="T30" fmla="*/ 93 h 9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5" h="93">
                <a:moveTo>
                  <a:pt x="27" y="0"/>
                </a:moveTo>
                <a:lnTo>
                  <a:pt x="38" y="45"/>
                </a:lnTo>
                <a:lnTo>
                  <a:pt x="71" y="73"/>
                </a:lnTo>
                <a:lnTo>
                  <a:pt x="75" y="93"/>
                </a:lnTo>
                <a:lnTo>
                  <a:pt x="42" y="73"/>
                </a:lnTo>
                <a:lnTo>
                  <a:pt x="13" y="69"/>
                </a:lnTo>
                <a:lnTo>
                  <a:pt x="0" y="57"/>
                </a:lnTo>
                <a:lnTo>
                  <a:pt x="15" y="12"/>
                </a:lnTo>
                <a:lnTo>
                  <a:pt x="27" y="0"/>
                </a:lnTo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1" name="Freeform 103">
            <a:extLst>
              <a:ext uri="{FF2B5EF4-FFF2-40B4-BE49-F238E27FC236}">
                <a16:creationId xmlns:a16="http://schemas.microsoft.com/office/drawing/2014/main" id="{AC143C14-001A-4080-AD25-3C9BF7E1BD04}"/>
              </a:ext>
            </a:extLst>
          </p:cNvPr>
          <p:cNvSpPr>
            <a:spLocks/>
          </p:cNvSpPr>
          <p:nvPr/>
        </p:nvSpPr>
        <p:spPr bwMode="auto">
          <a:xfrm rot="21249101">
            <a:off x="7096893" y="4784490"/>
            <a:ext cx="17956" cy="73732"/>
          </a:xfrm>
          <a:custGeom>
            <a:avLst/>
            <a:gdLst>
              <a:gd name="T0" fmla="*/ 2147483647 w 40"/>
              <a:gd name="T1" fmla="*/ 2147483647 h 188"/>
              <a:gd name="T2" fmla="*/ 2147483647 w 40"/>
              <a:gd name="T3" fmla="*/ 2147483647 h 188"/>
              <a:gd name="T4" fmla="*/ 2147483647 w 40"/>
              <a:gd name="T5" fmla="*/ 0 h 188"/>
              <a:gd name="T6" fmla="*/ 2147483647 w 40"/>
              <a:gd name="T7" fmla="*/ 2147483647 h 188"/>
              <a:gd name="T8" fmla="*/ 2147483647 w 40"/>
              <a:gd name="T9" fmla="*/ 2147483647 h 188"/>
              <a:gd name="T10" fmla="*/ 0 w 40"/>
              <a:gd name="T11" fmla="*/ 2147483647 h 188"/>
              <a:gd name="T12" fmla="*/ 2147483647 w 40"/>
              <a:gd name="T13" fmla="*/ 2147483647 h 188"/>
              <a:gd name="T14" fmla="*/ 2147483647 w 40"/>
              <a:gd name="T15" fmla="*/ 2147483647 h 188"/>
              <a:gd name="T16" fmla="*/ 2147483647 w 40"/>
              <a:gd name="T17" fmla="*/ 2147483647 h 188"/>
              <a:gd name="T18" fmla="*/ 2147483647 w 40"/>
              <a:gd name="T19" fmla="*/ 2147483647 h 18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188"/>
              <a:gd name="T32" fmla="*/ 40 w 40"/>
              <a:gd name="T33" fmla="*/ 188 h 18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188">
                <a:moveTo>
                  <a:pt x="12" y="11"/>
                </a:moveTo>
                <a:lnTo>
                  <a:pt x="11" y="4"/>
                </a:lnTo>
                <a:lnTo>
                  <a:pt x="19" y="0"/>
                </a:lnTo>
                <a:lnTo>
                  <a:pt x="26" y="19"/>
                </a:lnTo>
                <a:lnTo>
                  <a:pt x="40" y="188"/>
                </a:lnTo>
                <a:lnTo>
                  <a:pt x="0" y="109"/>
                </a:lnTo>
                <a:lnTo>
                  <a:pt x="1" y="102"/>
                </a:lnTo>
                <a:lnTo>
                  <a:pt x="22" y="80"/>
                </a:lnTo>
                <a:lnTo>
                  <a:pt x="24" y="57"/>
                </a:lnTo>
                <a:lnTo>
                  <a:pt x="12" y="1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2" name="Freeform 104">
            <a:extLst>
              <a:ext uri="{FF2B5EF4-FFF2-40B4-BE49-F238E27FC236}">
                <a16:creationId xmlns:a16="http://schemas.microsoft.com/office/drawing/2014/main" id="{41FBBE8D-877D-4C13-ADE4-FDD381561397}"/>
              </a:ext>
            </a:extLst>
          </p:cNvPr>
          <p:cNvSpPr>
            <a:spLocks/>
          </p:cNvSpPr>
          <p:nvPr/>
        </p:nvSpPr>
        <p:spPr bwMode="auto">
          <a:xfrm rot="21249101">
            <a:off x="7096893" y="4784490"/>
            <a:ext cx="17956" cy="73732"/>
          </a:xfrm>
          <a:custGeom>
            <a:avLst/>
            <a:gdLst>
              <a:gd name="T0" fmla="*/ 2147483647 w 40"/>
              <a:gd name="T1" fmla="*/ 2147483647 h 188"/>
              <a:gd name="T2" fmla="*/ 2147483647 w 40"/>
              <a:gd name="T3" fmla="*/ 2147483647 h 188"/>
              <a:gd name="T4" fmla="*/ 2147483647 w 40"/>
              <a:gd name="T5" fmla="*/ 0 h 188"/>
              <a:gd name="T6" fmla="*/ 2147483647 w 40"/>
              <a:gd name="T7" fmla="*/ 2147483647 h 188"/>
              <a:gd name="T8" fmla="*/ 2147483647 w 40"/>
              <a:gd name="T9" fmla="*/ 2147483647 h 188"/>
              <a:gd name="T10" fmla="*/ 0 w 40"/>
              <a:gd name="T11" fmla="*/ 2147483647 h 188"/>
              <a:gd name="T12" fmla="*/ 2147483647 w 40"/>
              <a:gd name="T13" fmla="*/ 2147483647 h 188"/>
              <a:gd name="T14" fmla="*/ 2147483647 w 40"/>
              <a:gd name="T15" fmla="*/ 2147483647 h 188"/>
              <a:gd name="T16" fmla="*/ 2147483647 w 40"/>
              <a:gd name="T17" fmla="*/ 2147483647 h 188"/>
              <a:gd name="T18" fmla="*/ 2147483647 w 40"/>
              <a:gd name="T19" fmla="*/ 2147483647 h 18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188"/>
              <a:gd name="T32" fmla="*/ 40 w 40"/>
              <a:gd name="T33" fmla="*/ 188 h 18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188">
                <a:moveTo>
                  <a:pt x="12" y="11"/>
                </a:moveTo>
                <a:lnTo>
                  <a:pt x="11" y="4"/>
                </a:lnTo>
                <a:lnTo>
                  <a:pt x="19" y="0"/>
                </a:lnTo>
                <a:lnTo>
                  <a:pt x="26" y="19"/>
                </a:lnTo>
                <a:lnTo>
                  <a:pt x="40" y="188"/>
                </a:lnTo>
                <a:lnTo>
                  <a:pt x="0" y="109"/>
                </a:lnTo>
                <a:lnTo>
                  <a:pt x="1" y="102"/>
                </a:lnTo>
                <a:lnTo>
                  <a:pt x="22" y="80"/>
                </a:lnTo>
                <a:lnTo>
                  <a:pt x="24" y="57"/>
                </a:lnTo>
                <a:lnTo>
                  <a:pt x="12" y="11"/>
                </a:lnTo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3" name="Freeform 105">
            <a:extLst>
              <a:ext uri="{FF2B5EF4-FFF2-40B4-BE49-F238E27FC236}">
                <a16:creationId xmlns:a16="http://schemas.microsoft.com/office/drawing/2014/main" id="{01071F8A-E17F-484C-A5FE-0870A72B5BC6}"/>
              </a:ext>
            </a:extLst>
          </p:cNvPr>
          <p:cNvSpPr>
            <a:spLocks/>
          </p:cNvSpPr>
          <p:nvPr/>
        </p:nvSpPr>
        <p:spPr bwMode="auto">
          <a:xfrm rot="21249101">
            <a:off x="7339295" y="5018793"/>
            <a:ext cx="48481" cy="18023"/>
          </a:xfrm>
          <a:custGeom>
            <a:avLst/>
            <a:gdLst>
              <a:gd name="T0" fmla="*/ 0 w 115"/>
              <a:gd name="T1" fmla="*/ 2147483647 h 45"/>
              <a:gd name="T2" fmla="*/ 2147483647 w 115"/>
              <a:gd name="T3" fmla="*/ 0 h 45"/>
              <a:gd name="T4" fmla="*/ 2147483647 w 115"/>
              <a:gd name="T5" fmla="*/ 2147483647 h 45"/>
              <a:gd name="T6" fmla="*/ 2147483647 w 115"/>
              <a:gd name="T7" fmla="*/ 2147483647 h 45"/>
              <a:gd name="T8" fmla="*/ 2147483647 w 115"/>
              <a:gd name="T9" fmla="*/ 2147483647 h 45"/>
              <a:gd name="T10" fmla="*/ 2147483647 w 115"/>
              <a:gd name="T11" fmla="*/ 2147483647 h 45"/>
              <a:gd name="T12" fmla="*/ 0 w 115"/>
              <a:gd name="T13" fmla="*/ 2147483647 h 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45"/>
              <a:gd name="T23" fmla="*/ 115 w 115"/>
              <a:gd name="T24" fmla="*/ 45 h 4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45">
                <a:moveTo>
                  <a:pt x="0" y="6"/>
                </a:moveTo>
                <a:lnTo>
                  <a:pt x="11" y="0"/>
                </a:lnTo>
                <a:lnTo>
                  <a:pt x="109" y="31"/>
                </a:lnTo>
                <a:lnTo>
                  <a:pt x="115" y="40"/>
                </a:lnTo>
                <a:lnTo>
                  <a:pt x="108" y="45"/>
                </a:lnTo>
                <a:lnTo>
                  <a:pt x="9" y="41"/>
                </a:lnTo>
                <a:lnTo>
                  <a:pt x="0" y="6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4" name="Freeform 106">
            <a:extLst>
              <a:ext uri="{FF2B5EF4-FFF2-40B4-BE49-F238E27FC236}">
                <a16:creationId xmlns:a16="http://schemas.microsoft.com/office/drawing/2014/main" id="{E3238D95-86D0-4692-9C8F-34A2F8096477}"/>
              </a:ext>
            </a:extLst>
          </p:cNvPr>
          <p:cNvSpPr>
            <a:spLocks/>
          </p:cNvSpPr>
          <p:nvPr/>
        </p:nvSpPr>
        <p:spPr bwMode="auto">
          <a:xfrm rot="21249101">
            <a:off x="7339295" y="5018793"/>
            <a:ext cx="48481" cy="18023"/>
          </a:xfrm>
          <a:custGeom>
            <a:avLst/>
            <a:gdLst>
              <a:gd name="T0" fmla="*/ 0 w 115"/>
              <a:gd name="T1" fmla="*/ 2147483647 h 45"/>
              <a:gd name="T2" fmla="*/ 2147483647 w 115"/>
              <a:gd name="T3" fmla="*/ 0 h 45"/>
              <a:gd name="T4" fmla="*/ 2147483647 w 115"/>
              <a:gd name="T5" fmla="*/ 2147483647 h 45"/>
              <a:gd name="T6" fmla="*/ 2147483647 w 115"/>
              <a:gd name="T7" fmla="*/ 2147483647 h 45"/>
              <a:gd name="T8" fmla="*/ 2147483647 w 115"/>
              <a:gd name="T9" fmla="*/ 2147483647 h 45"/>
              <a:gd name="T10" fmla="*/ 2147483647 w 115"/>
              <a:gd name="T11" fmla="*/ 2147483647 h 45"/>
              <a:gd name="T12" fmla="*/ 0 w 115"/>
              <a:gd name="T13" fmla="*/ 2147483647 h 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45"/>
              <a:gd name="T23" fmla="*/ 115 w 115"/>
              <a:gd name="T24" fmla="*/ 45 h 4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45">
                <a:moveTo>
                  <a:pt x="0" y="6"/>
                </a:moveTo>
                <a:lnTo>
                  <a:pt x="11" y="0"/>
                </a:lnTo>
                <a:lnTo>
                  <a:pt x="109" y="31"/>
                </a:lnTo>
                <a:lnTo>
                  <a:pt x="115" y="40"/>
                </a:lnTo>
                <a:lnTo>
                  <a:pt x="108" y="45"/>
                </a:lnTo>
                <a:lnTo>
                  <a:pt x="9" y="41"/>
                </a:lnTo>
                <a:lnTo>
                  <a:pt x="0" y="6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5" name="Freeform 107">
            <a:extLst>
              <a:ext uri="{FF2B5EF4-FFF2-40B4-BE49-F238E27FC236}">
                <a16:creationId xmlns:a16="http://schemas.microsoft.com/office/drawing/2014/main" id="{9D1B8E62-4619-490C-9194-35FBBF44103F}"/>
              </a:ext>
            </a:extLst>
          </p:cNvPr>
          <p:cNvSpPr>
            <a:spLocks/>
          </p:cNvSpPr>
          <p:nvPr/>
        </p:nvSpPr>
        <p:spPr bwMode="auto">
          <a:xfrm rot="21249101">
            <a:off x="7373412" y="5076140"/>
            <a:ext cx="48480" cy="11470"/>
          </a:xfrm>
          <a:custGeom>
            <a:avLst/>
            <a:gdLst>
              <a:gd name="T0" fmla="*/ 0 w 120"/>
              <a:gd name="T1" fmla="*/ 2147483647 h 27"/>
              <a:gd name="T2" fmla="*/ 2147483647 w 120"/>
              <a:gd name="T3" fmla="*/ 0 h 27"/>
              <a:gd name="T4" fmla="*/ 2147483647 w 120"/>
              <a:gd name="T5" fmla="*/ 2147483647 h 27"/>
              <a:gd name="T6" fmla="*/ 2147483647 w 120"/>
              <a:gd name="T7" fmla="*/ 2147483647 h 27"/>
              <a:gd name="T8" fmla="*/ 2147483647 w 120"/>
              <a:gd name="T9" fmla="*/ 2147483647 h 27"/>
              <a:gd name="T10" fmla="*/ 2147483647 w 120"/>
              <a:gd name="T11" fmla="*/ 2147483647 h 27"/>
              <a:gd name="T12" fmla="*/ 0 w 120"/>
              <a:gd name="T13" fmla="*/ 2147483647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0"/>
              <a:gd name="T22" fmla="*/ 0 h 27"/>
              <a:gd name="T23" fmla="*/ 120 w 120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0" h="27">
                <a:moveTo>
                  <a:pt x="0" y="10"/>
                </a:moveTo>
                <a:lnTo>
                  <a:pt x="9" y="0"/>
                </a:lnTo>
                <a:lnTo>
                  <a:pt x="97" y="3"/>
                </a:lnTo>
                <a:lnTo>
                  <a:pt x="114" y="9"/>
                </a:lnTo>
                <a:lnTo>
                  <a:pt x="120" y="27"/>
                </a:lnTo>
                <a:lnTo>
                  <a:pt x="2" y="26"/>
                </a:lnTo>
                <a:lnTo>
                  <a:pt x="0" y="10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6" name="Freeform 108">
            <a:extLst>
              <a:ext uri="{FF2B5EF4-FFF2-40B4-BE49-F238E27FC236}">
                <a16:creationId xmlns:a16="http://schemas.microsoft.com/office/drawing/2014/main" id="{F74885FA-540E-480F-AAEA-1FBC2B8A7B31}"/>
              </a:ext>
            </a:extLst>
          </p:cNvPr>
          <p:cNvSpPr>
            <a:spLocks/>
          </p:cNvSpPr>
          <p:nvPr/>
        </p:nvSpPr>
        <p:spPr bwMode="auto">
          <a:xfrm rot="21249101">
            <a:off x="7373412" y="5076140"/>
            <a:ext cx="48480" cy="11470"/>
          </a:xfrm>
          <a:custGeom>
            <a:avLst/>
            <a:gdLst>
              <a:gd name="T0" fmla="*/ 0 w 120"/>
              <a:gd name="T1" fmla="*/ 2147483647 h 27"/>
              <a:gd name="T2" fmla="*/ 2147483647 w 120"/>
              <a:gd name="T3" fmla="*/ 0 h 27"/>
              <a:gd name="T4" fmla="*/ 2147483647 w 120"/>
              <a:gd name="T5" fmla="*/ 2147483647 h 27"/>
              <a:gd name="T6" fmla="*/ 2147483647 w 120"/>
              <a:gd name="T7" fmla="*/ 2147483647 h 27"/>
              <a:gd name="T8" fmla="*/ 2147483647 w 120"/>
              <a:gd name="T9" fmla="*/ 2147483647 h 27"/>
              <a:gd name="T10" fmla="*/ 2147483647 w 120"/>
              <a:gd name="T11" fmla="*/ 2147483647 h 27"/>
              <a:gd name="T12" fmla="*/ 0 w 120"/>
              <a:gd name="T13" fmla="*/ 2147483647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0"/>
              <a:gd name="T22" fmla="*/ 0 h 27"/>
              <a:gd name="T23" fmla="*/ 120 w 120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0" h="27">
                <a:moveTo>
                  <a:pt x="0" y="10"/>
                </a:moveTo>
                <a:lnTo>
                  <a:pt x="9" y="0"/>
                </a:lnTo>
                <a:lnTo>
                  <a:pt x="97" y="3"/>
                </a:lnTo>
                <a:lnTo>
                  <a:pt x="114" y="9"/>
                </a:lnTo>
                <a:lnTo>
                  <a:pt x="120" y="27"/>
                </a:lnTo>
                <a:lnTo>
                  <a:pt x="2" y="26"/>
                </a:lnTo>
                <a:lnTo>
                  <a:pt x="0" y="10"/>
                </a:lnTo>
              </a:path>
            </a:pathLst>
          </a:custGeom>
          <a:solidFill>
            <a:schemeClr val="accent4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7" name="Freeform 109">
            <a:extLst>
              <a:ext uri="{FF2B5EF4-FFF2-40B4-BE49-F238E27FC236}">
                <a16:creationId xmlns:a16="http://schemas.microsoft.com/office/drawing/2014/main" id="{F322B362-2C64-41AB-928A-D7B95CE39E4A}"/>
              </a:ext>
            </a:extLst>
          </p:cNvPr>
          <p:cNvSpPr>
            <a:spLocks/>
          </p:cNvSpPr>
          <p:nvPr/>
        </p:nvSpPr>
        <p:spPr bwMode="auto">
          <a:xfrm rot="21249101">
            <a:off x="7421892" y="5058117"/>
            <a:ext cx="152625" cy="81923"/>
          </a:xfrm>
          <a:custGeom>
            <a:avLst/>
            <a:gdLst>
              <a:gd name="T0" fmla="*/ 2147483647 w 364"/>
              <a:gd name="T1" fmla="*/ 2147483647 h 213"/>
              <a:gd name="T2" fmla="*/ 2147483647 w 364"/>
              <a:gd name="T3" fmla="*/ 2147483647 h 213"/>
              <a:gd name="T4" fmla="*/ 2147483647 w 364"/>
              <a:gd name="T5" fmla="*/ 2147483647 h 213"/>
              <a:gd name="T6" fmla="*/ 2147483647 w 364"/>
              <a:gd name="T7" fmla="*/ 2147483647 h 213"/>
              <a:gd name="T8" fmla="*/ 0 w 364"/>
              <a:gd name="T9" fmla="*/ 2147483647 h 213"/>
              <a:gd name="T10" fmla="*/ 2147483647 w 364"/>
              <a:gd name="T11" fmla="*/ 0 h 213"/>
              <a:gd name="T12" fmla="*/ 2147483647 w 364"/>
              <a:gd name="T13" fmla="*/ 2147483647 h 213"/>
              <a:gd name="T14" fmla="*/ 2147483647 w 364"/>
              <a:gd name="T15" fmla="*/ 2147483647 h 213"/>
              <a:gd name="T16" fmla="*/ 2147483647 w 364"/>
              <a:gd name="T17" fmla="*/ 2147483647 h 213"/>
              <a:gd name="T18" fmla="*/ 2147483647 w 364"/>
              <a:gd name="T19" fmla="*/ 2147483647 h 213"/>
              <a:gd name="T20" fmla="*/ 2147483647 w 364"/>
              <a:gd name="T21" fmla="*/ 2147483647 h 213"/>
              <a:gd name="T22" fmla="*/ 2147483647 w 364"/>
              <a:gd name="T23" fmla="*/ 2147483647 h 213"/>
              <a:gd name="T24" fmla="*/ 2147483647 w 364"/>
              <a:gd name="T25" fmla="*/ 2147483647 h 213"/>
              <a:gd name="T26" fmla="*/ 2147483647 w 364"/>
              <a:gd name="T27" fmla="*/ 2147483647 h 213"/>
              <a:gd name="T28" fmla="*/ 2147483647 w 364"/>
              <a:gd name="T29" fmla="*/ 2147483647 h 213"/>
              <a:gd name="T30" fmla="*/ 2147483647 w 364"/>
              <a:gd name="T31" fmla="*/ 2147483647 h 213"/>
              <a:gd name="T32" fmla="*/ 2147483647 w 364"/>
              <a:gd name="T33" fmla="*/ 2147483647 h 213"/>
              <a:gd name="T34" fmla="*/ 2147483647 w 364"/>
              <a:gd name="T35" fmla="*/ 2147483647 h 213"/>
              <a:gd name="T36" fmla="*/ 2147483647 w 364"/>
              <a:gd name="T37" fmla="*/ 2147483647 h 21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364"/>
              <a:gd name="T58" fmla="*/ 0 h 213"/>
              <a:gd name="T59" fmla="*/ 364 w 364"/>
              <a:gd name="T60" fmla="*/ 213 h 21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364" h="213">
                <a:moveTo>
                  <a:pt x="362" y="213"/>
                </a:moveTo>
                <a:lnTo>
                  <a:pt x="216" y="100"/>
                </a:lnTo>
                <a:lnTo>
                  <a:pt x="138" y="85"/>
                </a:lnTo>
                <a:lnTo>
                  <a:pt x="62" y="38"/>
                </a:lnTo>
                <a:lnTo>
                  <a:pt x="0" y="21"/>
                </a:lnTo>
                <a:lnTo>
                  <a:pt x="19" y="0"/>
                </a:lnTo>
                <a:lnTo>
                  <a:pt x="72" y="13"/>
                </a:lnTo>
                <a:lnTo>
                  <a:pt x="97" y="46"/>
                </a:lnTo>
                <a:lnTo>
                  <a:pt x="123" y="50"/>
                </a:lnTo>
                <a:lnTo>
                  <a:pt x="159" y="30"/>
                </a:lnTo>
                <a:lnTo>
                  <a:pt x="193" y="35"/>
                </a:lnTo>
                <a:lnTo>
                  <a:pt x="195" y="60"/>
                </a:lnTo>
                <a:lnTo>
                  <a:pt x="231" y="91"/>
                </a:lnTo>
                <a:lnTo>
                  <a:pt x="263" y="97"/>
                </a:lnTo>
                <a:lnTo>
                  <a:pt x="305" y="142"/>
                </a:lnTo>
                <a:lnTo>
                  <a:pt x="344" y="149"/>
                </a:lnTo>
                <a:lnTo>
                  <a:pt x="342" y="174"/>
                </a:lnTo>
                <a:lnTo>
                  <a:pt x="364" y="176"/>
                </a:lnTo>
                <a:lnTo>
                  <a:pt x="362" y="213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8" name="Freeform 110">
            <a:extLst>
              <a:ext uri="{FF2B5EF4-FFF2-40B4-BE49-F238E27FC236}">
                <a16:creationId xmlns:a16="http://schemas.microsoft.com/office/drawing/2014/main" id="{8004C5C6-97D6-47DD-8113-29FD933D80D7}"/>
              </a:ext>
            </a:extLst>
          </p:cNvPr>
          <p:cNvSpPr>
            <a:spLocks/>
          </p:cNvSpPr>
          <p:nvPr/>
        </p:nvSpPr>
        <p:spPr bwMode="auto">
          <a:xfrm rot="21249101">
            <a:off x="7421892" y="5058117"/>
            <a:ext cx="152625" cy="81923"/>
          </a:xfrm>
          <a:custGeom>
            <a:avLst/>
            <a:gdLst>
              <a:gd name="T0" fmla="*/ 2147483647 w 364"/>
              <a:gd name="T1" fmla="*/ 2147483647 h 213"/>
              <a:gd name="T2" fmla="*/ 2147483647 w 364"/>
              <a:gd name="T3" fmla="*/ 2147483647 h 213"/>
              <a:gd name="T4" fmla="*/ 2147483647 w 364"/>
              <a:gd name="T5" fmla="*/ 2147483647 h 213"/>
              <a:gd name="T6" fmla="*/ 2147483647 w 364"/>
              <a:gd name="T7" fmla="*/ 2147483647 h 213"/>
              <a:gd name="T8" fmla="*/ 0 w 364"/>
              <a:gd name="T9" fmla="*/ 2147483647 h 213"/>
              <a:gd name="T10" fmla="*/ 2147483647 w 364"/>
              <a:gd name="T11" fmla="*/ 0 h 213"/>
              <a:gd name="T12" fmla="*/ 2147483647 w 364"/>
              <a:gd name="T13" fmla="*/ 2147483647 h 213"/>
              <a:gd name="T14" fmla="*/ 2147483647 w 364"/>
              <a:gd name="T15" fmla="*/ 2147483647 h 213"/>
              <a:gd name="T16" fmla="*/ 2147483647 w 364"/>
              <a:gd name="T17" fmla="*/ 2147483647 h 213"/>
              <a:gd name="T18" fmla="*/ 2147483647 w 364"/>
              <a:gd name="T19" fmla="*/ 2147483647 h 213"/>
              <a:gd name="T20" fmla="*/ 2147483647 w 364"/>
              <a:gd name="T21" fmla="*/ 2147483647 h 213"/>
              <a:gd name="T22" fmla="*/ 2147483647 w 364"/>
              <a:gd name="T23" fmla="*/ 2147483647 h 213"/>
              <a:gd name="T24" fmla="*/ 2147483647 w 364"/>
              <a:gd name="T25" fmla="*/ 2147483647 h 213"/>
              <a:gd name="T26" fmla="*/ 2147483647 w 364"/>
              <a:gd name="T27" fmla="*/ 2147483647 h 213"/>
              <a:gd name="T28" fmla="*/ 2147483647 w 364"/>
              <a:gd name="T29" fmla="*/ 2147483647 h 213"/>
              <a:gd name="T30" fmla="*/ 2147483647 w 364"/>
              <a:gd name="T31" fmla="*/ 2147483647 h 213"/>
              <a:gd name="T32" fmla="*/ 2147483647 w 364"/>
              <a:gd name="T33" fmla="*/ 2147483647 h 213"/>
              <a:gd name="T34" fmla="*/ 2147483647 w 364"/>
              <a:gd name="T35" fmla="*/ 2147483647 h 213"/>
              <a:gd name="T36" fmla="*/ 2147483647 w 364"/>
              <a:gd name="T37" fmla="*/ 2147483647 h 21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364"/>
              <a:gd name="T58" fmla="*/ 0 h 213"/>
              <a:gd name="T59" fmla="*/ 364 w 364"/>
              <a:gd name="T60" fmla="*/ 213 h 21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364" h="213">
                <a:moveTo>
                  <a:pt x="362" y="213"/>
                </a:moveTo>
                <a:lnTo>
                  <a:pt x="216" y="100"/>
                </a:lnTo>
                <a:lnTo>
                  <a:pt x="138" y="85"/>
                </a:lnTo>
                <a:lnTo>
                  <a:pt x="62" y="38"/>
                </a:lnTo>
                <a:lnTo>
                  <a:pt x="0" y="21"/>
                </a:lnTo>
                <a:lnTo>
                  <a:pt x="19" y="0"/>
                </a:lnTo>
                <a:lnTo>
                  <a:pt x="72" y="13"/>
                </a:lnTo>
                <a:lnTo>
                  <a:pt x="97" y="46"/>
                </a:lnTo>
                <a:lnTo>
                  <a:pt x="123" y="50"/>
                </a:lnTo>
                <a:lnTo>
                  <a:pt x="159" y="30"/>
                </a:lnTo>
                <a:lnTo>
                  <a:pt x="193" y="35"/>
                </a:lnTo>
                <a:lnTo>
                  <a:pt x="195" y="60"/>
                </a:lnTo>
                <a:lnTo>
                  <a:pt x="231" y="91"/>
                </a:lnTo>
                <a:lnTo>
                  <a:pt x="263" y="97"/>
                </a:lnTo>
                <a:lnTo>
                  <a:pt x="305" y="142"/>
                </a:lnTo>
                <a:lnTo>
                  <a:pt x="344" y="149"/>
                </a:lnTo>
                <a:lnTo>
                  <a:pt x="342" y="174"/>
                </a:lnTo>
                <a:lnTo>
                  <a:pt x="364" y="176"/>
                </a:lnTo>
                <a:lnTo>
                  <a:pt x="362" y="213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09" name="Freeform 111">
            <a:extLst>
              <a:ext uri="{FF2B5EF4-FFF2-40B4-BE49-F238E27FC236}">
                <a16:creationId xmlns:a16="http://schemas.microsoft.com/office/drawing/2014/main" id="{5157CBD2-D545-449B-B716-ADA39FFA43DD}"/>
              </a:ext>
            </a:extLst>
          </p:cNvPr>
          <p:cNvSpPr>
            <a:spLocks/>
          </p:cNvSpPr>
          <p:nvPr/>
        </p:nvSpPr>
        <p:spPr bwMode="auto">
          <a:xfrm rot="21249101">
            <a:off x="7026864" y="4581320"/>
            <a:ext cx="624863" cy="501374"/>
          </a:xfrm>
          <a:custGeom>
            <a:avLst/>
            <a:gdLst>
              <a:gd name="T0" fmla="*/ 2147483647 w 1497"/>
              <a:gd name="T1" fmla="*/ 2147483647 h 1310"/>
              <a:gd name="T2" fmla="*/ 2147483647 w 1497"/>
              <a:gd name="T3" fmla="*/ 2147483647 h 1310"/>
              <a:gd name="T4" fmla="*/ 2147483647 w 1497"/>
              <a:gd name="T5" fmla="*/ 2147483647 h 1310"/>
              <a:gd name="T6" fmla="*/ 2147483647 w 1497"/>
              <a:gd name="T7" fmla="*/ 2147483647 h 1310"/>
              <a:gd name="T8" fmla="*/ 2147483647 w 1497"/>
              <a:gd name="T9" fmla="*/ 2147483647 h 1310"/>
              <a:gd name="T10" fmla="*/ 2147483647 w 1497"/>
              <a:gd name="T11" fmla="*/ 2147483647 h 1310"/>
              <a:gd name="T12" fmla="*/ 2147483647 w 1497"/>
              <a:gd name="T13" fmla="*/ 2147483647 h 1310"/>
              <a:gd name="T14" fmla="*/ 2147483647 w 1497"/>
              <a:gd name="T15" fmla="*/ 2147483647 h 1310"/>
              <a:gd name="T16" fmla="*/ 2147483647 w 1497"/>
              <a:gd name="T17" fmla="*/ 2147483647 h 1310"/>
              <a:gd name="T18" fmla="*/ 2147483647 w 1497"/>
              <a:gd name="T19" fmla="*/ 2147483647 h 1310"/>
              <a:gd name="T20" fmla="*/ 2147483647 w 1497"/>
              <a:gd name="T21" fmla="*/ 2147483647 h 1310"/>
              <a:gd name="T22" fmla="*/ 2147483647 w 1497"/>
              <a:gd name="T23" fmla="*/ 2147483647 h 1310"/>
              <a:gd name="T24" fmla="*/ 2147483647 w 1497"/>
              <a:gd name="T25" fmla="*/ 2147483647 h 1310"/>
              <a:gd name="T26" fmla="*/ 2147483647 w 1497"/>
              <a:gd name="T27" fmla="*/ 2147483647 h 1310"/>
              <a:gd name="T28" fmla="*/ 2147483647 w 1497"/>
              <a:gd name="T29" fmla="*/ 2147483647 h 1310"/>
              <a:gd name="T30" fmla="*/ 0 w 1497"/>
              <a:gd name="T31" fmla="*/ 2147483647 h 1310"/>
              <a:gd name="T32" fmla="*/ 2147483647 w 1497"/>
              <a:gd name="T33" fmla="*/ 2147483647 h 1310"/>
              <a:gd name="T34" fmla="*/ 2147483647 w 1497"/>
              <a:gd name="T35" fmla="*/ 2147483647 h 1310"/>
              <a:gd name="T36" fmla="*/ 2147483647 w 1497"/>
              <a:gd name="T37" fmla="*/ 2147483647 h 1310"/>
              <a:gd name="T38" fmla="*/ 2147483647 w 1497"/>
              <a:gd name="T39" fmla="*/ 2147483647 h 1310"/>
              <a:gd name="T40" fmla="*/ 2147483647 w 1497"/>
              <a:gd name="T41" fmla="*/ 2147483647 h 1310"/>
              <a:gd name="T42" fmla="*/ 2147483647 w 1497"/>
              <a:gd name="T43" fmla="*/ 2147483647 h 1310"/>
              <a:gd name="T44" fmla="*/ 2147483647 w 1497"/>
              <a:gd name="T45" fmla="*/ 2147483647 h 1310"/>
              <a:gd name="T46" fmla="*/ 2147483647 w 1497"/>
              <a:gd name="T47" fmla="*/ 2147483647 h 1310"/>
              <a:gd name="T48" fmla="*/ 2147483647 w 1497"/>
              <a:gd name="T49" fmla="*/ 2147483647 h 1310"/>
              <a:gd name="T50" fmla="*/ 2147483647 w 1497"/>
              <a:gd name="T51" fmla="*/ 2147483647 h 1310"/>
              <a:gd name="T52" fmla="*/ 2147483647 w 1497"/>
              <a:gd name="T53" fmla="*/ 2147483647 h 1310"/>
              <a:gd name="T54" fmla="*/ 2147483647 w 1497"/>
              <a:gd name="T55" fmla="*/ 2147483647 h 1310"/>
              <a:gd name="T56" fmla="*/ 2147483647 w 1497"/>
              <a:gd name="T57" fmla="*/ 2147483647 h 1310"/>
              <a:gd name="T58" fmla="*/ 2147483647 w 1497"/>
              <a:gd name="T59" fmla="*/ 2147483647 h 1310"/>
              <a:gd name="T60" fmla="*/ 2147483647 w 1497"/>
              <a:gd name="T61" fmla="*/ 2147483647 h 1310"/>
              <a:gd name="T62" fmla="*/ 2147483647 w 1497"/>
              <a:gd name="T63" fmla="*/ 2147483647 h 1310"/>
              <a:gd name="T64" fmla="*/ 2147483647 w 1497"/>
              <a:gd name="T65" fmla="*/ 2147483647 h 1310"/>
              <a:gd name="T66" fmla="*/ 2147483647 w 1497"/>
              <a:gd name="T67" fmla="*/ 2147483647 h 1310"/>
              <a:gd name="T68" fmla="*/ 2147483647 w 1497"/>
              <a:gd name="T69" fmla="*/ 2147483647 h 1310"/>
              <a:gd name="T70" fmla="*/ 2147483647 w 1497"/>
              <a:gd name="T71" fmla="*/ 2147483647 h 1310"/>
              <a:gd name="T72" fmla="*/ 2147483647 w 1497"/>
              <a:gd name="T73" fmla="*/ 2147483647 h 1310"/>
              <a:gd name="T74" fmla="*/ 2147483647 w 1497"/>
              <a:gd name="T75" fmla="*/ 2147483647 h 1310"/>
              <a:gd name="T76" fmla="*/ 2147483647 w 1497"/>
              <a:gd name="T77" fmla="*/ 2147483647 h 1310"/>
              <a:gd name="T78" fmla="*/ 2147483647 w 1497"/>
              <a:gd name="T79" fmla="*/ 2147483647 h 1310"/>
              <a:gd name="T80" fmla="*/ 2147483647 w 1497"/>
              <a:gd name="T81" fmla="*/ 2147483647 h 1310"/>
              <a:gd name="T82" fmla="*/ 2147483647 w 1497"/>
              <a:gd name="T83" fmla="*/ 2147483647 h 1310"/>
              <a:gd name="T84" fmla="*/ 2147483647 w 1497"/>
              <a:gd name="T85" fmla="*/ 2147483647 h 1310"/>
              <a:gd name="T86" fmla="*/ 2147483647 w 1497"/>
              <a:gd name="T87" fmla="*/ 2147483647 h 1310"/>
              <a:gd name="T88" fmla="*/ 2147483647 w 1497"/>
              <a:gd name="T89" fmla="*/ 2147483647 h 1310"/>
              <a:gd name="T90" fmla="*/ 2147483647 w 1497"/>
              <a:gd name="T91" fmla="*/ 2147483647 h 1310"/>
              <a:gd name="T92" fmla="*/ 2147483647 w 1497"/>
              <a:gd name="T93" fmla="*/ 2147483647 h 1310"/>
              <a:gd name="T94" fmla="*/ 2147483647 w 1497"/>
              <a:gd name="T95" fmla="*/ 2147483647 h 1310"/>
              <a:gd name="T96" fmla="*/ 2147483647 w 1497"/>
              <a:gd name="T97" fmla="*/ 2147483647 h 1310"/>
              <a:gd name="T98" fmla="*/ 2147483647 w 1497"/>
              <a:gd name="T99" fmla="*/ 2147483647 h 1310"/>
              <a:gd name="T100" fmla="*/ 2147483647 w 1497"/>
              <a:gd name="T101" fmla="*/ 2147483647 h 1310"/>
              <a:gd name="T102" fmla="*/ 2147483647 w 1497"/>
              <a:gd name="T103" fmla="*/ 2147483647 h 1310"/>
              <a:gd name="T104" fmla="*/ 2147483647 w 1497"/>
              <a:gd name="T105" fmla="*/ 2147483647 h 131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497"/>
              <a:gd name="T160" fmla="*/ 0 h 1310"/>
              <a:gd name="T161" fmla="*/ 1497 w 1497"/>
              <a:gd name="T162" fmla="*/ 1310 h 131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497" h="1310">
                <a:moveTo>
                  <a:pt x="1325" y="252"/>
                </a:moveTo>
                <a:lnTo>
                  <a:pt x="1265" y="286"/>
                </a:lnTo>
                <a:lnTo>
                  <a:pt x="1123" y="306"/>
                </a:lnTo>
                <a:lnTo>
                  <a:pt x="1057" y="259"/>
                </a:lnTo>
                <a:lnTo>
                  <a:pt x="1004" y="240"/>
                </a:lnTo>
                <a:lnTo>
                  <a:pt x="953" y="169"/>
                </a:lnTo>
                <a:lnTo>
                  <a:pt x="891" y="133"/>
                </a:lnTo>
                <a:lnTo>
                  <a:pt x="847" y="62"/>
                </a:lnTo>
                <a:lnTo>
                  <a:pt x="796" y="36"/>
                </a:lnTo>
                <a:lnTo>
                  <a:pt x="792" y="26"/>
                </a:lnTo>
                <a:lnTo>
                  <a:pt x="775" y="34"/>
                </a:lnTo>
                <a:lnTo>
                  <a:pt x="737" y="3"/>
                </a:lnTo>
                <a:lnTo>
                  <a:pt x="720" y="0"/>
                </a:lnTo>
                <a:lnTo>
                  <a:pt x="702" y="15"/>
                </a:lnTo>
                <a:lnTo>
                  <a:pt x="701" y="38"/>
                </a:lnTo>
                <a:lnTo>
                  <a:pt x="709" y="67"/>
                </a:lnTo>
                <a:lnTo>
                  <a:pt x="705" y="74"/>
                </a:lnTo>
                <a:lnTo>
                  <a:pt x="690" y="65"/>
                </a:lnTo>
                <a:lnTo>
                  <a:pt x="657" y="64"/>
                </a:lnTo>
                <a:lnTo>
                  <a:pt x="654" y="85"/>
                </a:lnTo>
                <a:lnTo>
                  <a:pt x="639" y="97"/>
                </a:lnTo>
                <a:lnTo>
                  <a:pt x="546" y="123"/>
                </a:lnTo>
                <a:lnTo>
                  <a:pt x="530" y="148"/>
                </a:lnTo>
                <a:lnTo>
                  <a:pt x="531" y="165"/>
                </a:lnTo>
                <a:lnTo>
                  <a:pt x="559" y="195"/>
                </a:lnTo>
                <a:lnTo>
                  <a:pt x="555" y="248"/>
                </a:lnTo>
                <a:lnTo>
                  <a:pt x="533" y="283"/>
                </a:lnTo>
                <a:lnTo>
                  <a:pt x="492" y="283"/>
                </a:lnTo>
                <a:lnTo>
                  <a:pt x="441" y="322"/>
                </a:lnTo>
                <a:lnTo>
                  <a:pt x="455" y="346"/>
                </a:lnTo>
                <a:lnTo>
                  <a:pt x="437" y="369"/>
                </a:lnTo>
                <a:lnTo>
                  <a:pt x="438" y="424"/>
                </a:lnTo>
                <a:lnTo>
                  <a:pt x="413" y="440"/>
                </a:lnTo>
                <a:lnTo>
                  <a:pt x="397" y="439"/>
                </a:lnTo>
                <a:lnTo>
                  <a:pt x="377" y="411"/>
                </a:lnTo>
                <a:lnTo>
                  <a:pt x="357" y="409"/>
                </a:lnTo>
                <a:lnTo>
                  <a:pt x="350" y="395"/>
                </a:lnTo>
                <a:lnTo>
                  <a:pt x="338" y="394"/>
                </a:lnTo>
                <a:lnTo>
                  <a:pt x="333" y="413"/>
                </a:lnTo>
                <a:lnTo>
                  <a:pt x="314" y="415"/>
                </a:lnTo>
                <a:lnTo>
                  <a:pt x="266" y="323"/>
                </a:lnTo>
                <a:lnTo>
                  <a:pt x="253" y="321"/>
                </a:lnTo>
                <a:lnTo>
                  <a:pt x="213" y="390"/>
                </a:lnTo>
                <a:lnTo>
                  <a:pt x="134" y="386"/>
                </a:lnTo>
                <a:lnTo>
                  <a:pt x="112" y="361"/>
                </a:lnTo>
                <a:lnTo>
                  <a:pt x="99" y="386"/>
                </a:lnTo>
                <a:lnTo>
                  <a:pt x="31" y="382"/>
                </a:lnTo>
                <a:lnTo>
                  <a:pt x="0" y="351"/>
                </a:lnTo>
                <a:lnTo>
                  <a:pt x="9" y="451"/>
                </a:lnTo>
                <a:lnTo>
                  <a:pt x="61" y="580"/>
                </a:lnTo>
                <a:lnTo>
                  <a:pt x="82" y="599"/>
                </a:lnTo>
                <a:lnTo>
                  <a:pt x="108" y="596"/>
                </a:lnTo>
                <a:lnTo>
                  <a:pt x="202" y="424"/>
                </a:lnTo>
                <a:lnTo>
                  <a:pt x="258" y="448"/>
                </a:lnTo>
                <a:lnTo>
                  <a:pt x="294" y="495"/>
                </a:lnTo>
                <a:lnTo>
                  <a:pt x="309" y="497"/>
                </a:lnTo>
                <a:lnTo>
                  <a:pt x="326" y="525"/>
                </a:lnTo>
                <a:lnTo>
                  <a:pt x="337" y="574"/>
                </a:lnTo>
                <a:lnTo>
                  <a:pt x="332" y="642"/>
                </a:lnTo>
                <a:lnTo>
                  <a:pt x="364" y="721"/>
                </a:lnTo>
                <a:lnTo>
                  <a:pt x="458" y="804"/>
                </a:lnTo>
                <a:lnTo>
                  <a:pt x="408" y="813"/>
                </a:lnTo>
                <a:lnTo>
                  <a:pt x="392" y="833"/>
                </a:lnTo>
                <a:lnTo>
                  <a:pt x="394" y="858"/>
                </a:lnTo>
                <a:lnTo>
                  <a:pt x="441" y="930"/>
                </a:lnTo>
                <a:lnTo>
                  <a:pt x="570" y="1027"/>
                </a:lnTo>
                <a:lnTo>
                  <a:pt x="595" y="1107"/>
                </a:lnTo>
                <a:lnTo>
                  <a:pt x="740" y="1117"/>
                </a:lnTo>
                <a:lnTo>
                  <a:pt x="989" y="1310"/>
                </a:lnTo>
                <a:lnTo>
                  <a:pt x="1026" y="1291"/>
                </a:lnTo>
                <a:lnTo>
                  <a:pt x="920" y="1173"/>
                </a:lnTo>
                <a:lnTo>
                  <a:pt x="915" y="1117"/>
                </a:lnTo>
                <a:lnTo>
                  <a:pt x="896" y="1098"/>
                </a:lnTo>
                <a:lnTo>
                  <a:pt x="870" y="1087"/>
                </a:lnTo>
                <a:lnTo>
                  <a:pt x="780" y="985"/>
                </a:lnTo>
                <a:lnTo>
                  <a:pt x="777" y="963"/>
                </a:lnTo>
                <a:lnTo>
                  <a:pt x="734" y="897"/>
                </a:lnTo>
                <a:lnTo>
                  <a:pt x="701" y="886"/>
                </a:lnTo>
                <a:lnTo>
                  <a:pt x="666" y="822"/>
                </a:lnTo>
                <a:lnTo>
                  <a:pt x="644" y="820"/>
                </a:lnTo>
                <a:lnTo>
                  <a:pt x="649" y="786"/>
                </a:lnTo>
                <a:lnTo>
                  <a:pt x="660" y="777"/>
                </a:lnTo>
                <a:lnTo>
                  <a:pt x="643" y="749"/>
                </a:lnTo>
                <a:lnTo>
                  <a:pt x="643" y="722"/>
                </a:lnTo>
                <a:lnTo>
                  <a:pt x="620" y="692"/>
                </a:lnTo>
                <a:lnTo>
                  <a:pt x="603" y="634"/>
                </a:lnTo>
                <a:lnTo>
                  <a:pt x="582" y="630"/>
                </a:lnTo>
                <a:lnTo>
                  <a:pt x="549" y="597"/>
                </a:lnTo>
                <a:lnTo>
                  <a:pt x="551" y="586"/>
                </a:lnTo>
                <a:lnTo>
                  <a:pt x="567" y="576"/>
                </a:lnTo>
                <a:lnTo>
                  <a:pt x="563" y="557"/>
                </a:lnTo>
                <a:lnTo>
                  <a:pt x="569" y="469"/>
                </a:lnTo>
                <a:lnTo>
                  <a:pt x="596" y="442"/>
                </a:lnTo>
                <a:lnTo>
                  <a:pt x="637" y="452"/>
                </a:lnTo>
                <a:lnTo>
                  <a:pt x="638" y="467"/>
                </a:lnTo>
                <a:lnTo>
                  <a:pt x="698" y="536"/>
                </a:lnTo>
                <a:lnTo>
                  <a:pt x="711" y="538"/>
                </a:lnTo>
                <a:lnTo>
                  <a:pt x="758" y="459"/>
                </a:lnTo>
                <a:lnTo>
                  <a:pt x="844" y="473"/>
                </a:lnTo>
                <a:lnTo>
                  <a:pt x="863" y="450"/>
                </a:lnTo>
                <a:lnTo>
                  <a:pt x="870" y="450"/>
                </a:lnTo>
                <a:lnTo>
                  <a:pt x="926" y="494"/>
                </a:lnTo>
                <a:lnTo>
                  <a:pt x="944" y="495"/>
                </a:lnTo>
                <a:lnTo>
                  <a:pt x="954" y="483"/>
                </a:lnTo>
                <a:lnTo>
                  <a:pt x="972" y="502"/>
                </a:lnTo>
                <a:lnTo>
                  <a:pt x="1043" y="514"/>
                </a:lnTo>
                <a:lnTo>
                  <a:pt x="1049" y="506"/>
                </a:lnTo>
                <a:lnTo>
                  <a:pt x="1059" y="507"/>
                </a:lnTo>
                <a:lnTo>
                  <a:pt x="1097" y="539"/>
                </a:lnTo>
                <a:lnTo>
                  <a:pt x="1110" y="538"/>
                </a:lnTo>
                <a:lnTo>
                  <a:pt x="1139" y="506"/>
                </a:lnTo>
                <a:lnTo>
                  <a:pt x="1154" y="509"/>
                </a:lnTo>
                <a:lnTo>
                  <a:pt x="1172" y="532"/>
                </a:lnTo>
                <a:lnTo>
                  <a:pt x="1185" y="535"/>
                </a:lnTo>
                <a:lnTo>
                  <a:pt x="1199" y="516"/>
                </a:lnTo>
                <a:lnTo>
                  <a:pt x="1249" y="523"/>
                </a:lnTo>
                <a:lnTo>
                  <a:pt x="1267" y="550"/>
                </a:lnTo>
                <a:lnTo>
                  <a:pt x="1278" y="542"/>
                </a:lnTo>
                <a:lnTo>
                  <a:pt x="1278" y="532"/>
                </a:lnTo>
                <a:lnTo>
                  <a:pt x="1310" y="534"/>
                </a:lnTo>
                <a:lnTo>
                  <a:pt x="1342" y="571"/>
                </a:lnTo>
                <a:lnTo>
                  <a:pt x="1334" y="589"/>
                </a:lnTo>
                <a:lnTo>
                  <a:pt x="1336" y="600"/>
                </a:lnTo>
                <a:lnTo>
                  <a:pt x="1360" y="620"/>
                </a:lnTo>
                <a:lnTo>
                  <a:pt x="1398" y="619"/>
                </a:lnTo>
                <a:lnTo>
                  <a:pt x="1428" y="597"/>
                </a:lnTo>
                <a:lnTo>
                  <a:pt x="1434" y="575"/>
                </a:lnTo>
                <a:lnTo>
                  <a:pt x="1424" y="568"/>
                </a:lnTo>
                <a:lnTo>
                  <a:pt x="1418" y="524"/>
                </a:lnTo>
                <a:lnTo>
                  <a:pt x="1429" y="510"/>
                </a:lnTo>
                <a:lnTo>
                  <a:pt x="1435" y="488"/>
                </a:lnTo>
                <a:lnTo>
                  <a:pt x="1445" y="486"/>
                </a:lnTo>
                <a:lnTo>
                  <a:pt x="1480" y="494"/>
                </a:lnTo>
                <a:lnTo>
                  <a:pt x="1497" y="485"/>
                </a:lnTo>
                <a:lnTo>
                  <a:pt x="1495" y="475"/>
                </a:lnTo>
                <a:lnTo>
                  <a:pt x="1485" y="470"/>
                </a:lnTo>
                <a:lnTo>
                  <a:pt x="1465" y="471"/>
                </a:lnTo>
                <a:lnTo>
                  <a:pt x="1448" y="462"/>
                </a:lnTo>
                <a:lnTo>
                  <a:pt x="1427" y="464"/>
                </a:lnTo>
                <a:lnTo>
                  <a:pt x="1406" y="442"/>
                </a:lnTo>
                <a:lnTo>
                  <a:pt x="1388" y="442"/>
                </a:lnTo>
                <a:lnTo>
                  <a:pt x="1381" y="434"/>
                </a:lnTo>
                <a:lnTo>
                  <a:pt x="1388" y="412"/>
                </a:lnTo>
                <a:lnTo>
                  <a:pt x="1382" y="403"/>
                </a:lnTo>
                <a:lnTo>
                  <a:pt x="1386" y="391"/>
                </a:lnTo>
                <a:lnTo>
                  <a:pt x="1395" y="391"/>
                </a:lnTo>
                <a:lnTo>
                  <a:pt x="1404" y="384"/>
                </a:lnTo>
                <a:lnTo>
                  <a:pt x="1404" y="377"/>
                </a:lnTo>
                <a:lnTo>
                  <a:pt x="1390" y="366"/>
                </a:lnTo>
                <a:lnTo>
                  <a:pt x="1381" y="366"/>
                </a:lnTo>
                <a:lnTo>
                  <a:pt x="1371" y="376"/>
                </a:lnTo>
                <a:lnTo>
                  <a:pt x="1356" y="368"/>
                </a:lnTo>
                <a:lnTo>
                  <a:pt x="1354" y="356"/>
                </a:lnTo>
                <a:lnTo>
                  <a:pt x="1367" y="338"/>
                </a:lnTo>
                <a:lnTo>
                  <a:pt x="1366" y="323"/>
                </a:lnTo>
                <a:lnTo>
                  <a:pt x="1355" y="312"/>
                </a:lnTo>
                <a:lnTo>
                  <a:pt x="1362" y="302"/>
                </a:lnTo>
                <a:lnTo>
                  <a:pt x="1360" y="286"/>
                </a:lnTo>
                <a:lnTo>
                  <a:pt x="1325" y="252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0" name="Freeform 112">
            <a:extLst>
              <a:ext uri="{FF2B5EF4-FFF2-40B4-BE49-F238E27FC236}">
                <a16:creationId xmlns:a16="http://schemas.microsoft.com/office/drawing/2014/main" id="{767A940F-1300-4528-8AD1-A7DD32FF63C3}"/>
              </a:ext>
            </a:extLst>
          </p:cNvPr>
          <p:cNvSpPr>
            <a:spLocks/>
          </p:cNvSpPr>
          <p:nvPr/>
        </p:nvSpPr>
        <p:spPr bwMode="auto">
          <a:xfrm rot="21249101">
            <a:off x="7026864" y="4581320"/>
            <a:ext cx="624863" cy="501374"/>
          </a:xfrm>
          <a:custGeom>
            <a:avLst/>
            <a:gdLst>
              <a:gd name="T0" fmla="*/ 2147483647 w 1497"/>
              <a:gd name="T1" fmla="*/ 2147483647 h 1310"/>
              <a:gd name="T2" fmla="*/ 2147483647 w 1497"/>
              <a:gd name="T3" fmla="*/ 2147483647 h 1310"/>
              <a:gd name="T4" fmla="*/ 2147483647 w 1497"/>
              <a:gd name="T5" fmla="*/ 2147483647 h 1310"/>
              <a:gd name="T6" fmla="*/ 2147483647 w 1497"/>
              <a:gd name="T7" fmla="*/ 2147483647 h 1310"/>
              <a:gd name="T8" fmla="*/ 2147483647 w 1497"/>
              <a:gd name="T9" fmla="*/ 2147483647 h 1310"/>
              <a:gd name="T10" fmla="*/ 2147483647 w 1497"/>
              <a:gd name="T11" fmla="*/ 2147483647 h 1310"/>
              <a:gd name="T12" fmla="*/ 2147483647 w 1497"/>
              <a:gd name="T13" fmla="*/ 2147483647 h 1310"/>
              <a:gd name="T14" fmla="*/ 2147483647 w 1497"/>
              <a:gd name="T15" fmla="*/ 2147483647 h 1310"/>
              <a:gd name="T16" fmla="*/ 2147483647 w 1497"/>
              <a:gd name="T17" fmla="*/ 2147483647 h 1310"/>
              <a:gd name="T18" fmla="*/ 2147483647 w 1497"/>
              <a:gd name="T19" fmla="*/ 2147483647 h 1310"/>
              <a:gd name="T20" fmla="*/ 2147483647 w 1497"/>
              <a:gd name="T21" fmla="*/ 2147483647 h 1310"/>
              <a:gd name="T22" fmla="*/ 2147483647 w 1497"/>
              <a:gd name="T23" fmla="*/ 2147483647 h 1310"/>
              <a:gd name="T24" fmla="*/ 2147483647 w 1497"/>
              <a:gd name="T25" fmla="*/ 2147483647 h 1310"/>
              <a:gd name="T26" fmla="*/ 2147483647 w 1497"/>
              <a:gd name="T27" fmla="*/ 2147483647 h 1310"/>
              <a:gd name="T28" fmla="*/ 2147483647 w 1497"/>
              <a:gd name="T29" fmla="*/ 2147483647 h 1310"/>
              <a:gd name="T30" fmla="*/ 0 w 1497"/>
              <a:gd name="T31" fmla="*/ 2147483647 h 1310"/>
              <a:gd name="T32" fmla="*/ 2147483647 w 1497"/>
              <a:gd name="T33" fmla="*/ 2147483647 h 1310"/>
              <a:gd name="T34" fmla="*/ 2147483647 w 1497"/>
              <a:gd name="T35" fmla="*/ 2147483647 h 1310"/>
              <a:gd name="T36" fmla="*/ 2147483647 w 1497"/>
              <a:gd name="T37" fmla="*/ 2147483647 h 1310"/>
              <a:gd name="T38" fmla="*/ 2147483647 w 1497"/>
              <a:gd name="T39" fmla="*/ 2147483647 h 1310"/>
              <a:gd name="T40" fmla="*/ 2147483647 w 1497"/>
              <a:gd name="T41" fmla="*/ 2147483647 h 1310"/>
              <a:gd name="T42" fmla="*/ 2147483647 w 1497"/>
              <a:gd name="T43" fmla="*/ 2147483647 h 1310"/>
              <a:gd name="T44" fmla="*/ 2147483647 w 1497"/>
              <a:gd name="T45" fmla="*/ 2147483647 h 1310"/>
              <a:gd name="T46" fmla="*/ 2147483647 w 1497"/>
              <a:gd name="T47" fmla="*/ 2147483647 h 1310"/>
              <a:gd name="T48" fmla="*/ 2147483647 w 1497"/>
              <a:gd name="T49" fmla="*/ 2147483647 h 1310"/>
              <a:gd name="T50" fmla="*/ 2147483647 w 1497"/>
              <a:gd name="T51" fmla="*/ 2147483647 h 1310"/>
              <a:gd name="T52" fmla="*/ 2147483647 w 1497"/>
              <a:gd name="T53" fmla="*/ 2147483647 h 1310"/>
              <a:gd name="T54" fmla="*/ 2147483647 w 1497"/>
              <a:gd name="T55" fmla="*/ 2147483647 h 1310"/>
              <a:gd name="T56" fmla="*/ 2147483647 w 1497"/>
              <a:gd name="T57" fmla="*/ 2147483647 h 1310"/>
              <a:gd name="T58" fmla="*/ 2147483647 w 1497"/>
              <a:gd name="T59" fmla="*/ 2147483647 h 1310"/>
              <a:gd name="T60" fmla="*/ 2147483647 w 1497"/>
              <a:gd name="T61" fmla="*/ 2147483647 h 1310"/>
              <a:gd name="T62" fmla="*/ 2147483647 w 1497"/>
              <a:gd name="T63" fmla="*/ 2147483647 h 1310"/>
              <a:gd name="T64" fmla="*/ 2147483647 w 1497"/>
              <a:gd name="T65" fmla="*/ 2147483647 h 1310"/>
              <a:gd name="T66" fmla="*/ 2147483647 w 1497"/>
              <a:gd name="T67" fmla="*/ 2147483647 h 1310"/>
              <a:gd name="T68" fmla="*/ 2147483647 w 1497"/>
              <a:gd name="T69" fmla="*/ 2147483647 h 1310"/>
              <a:gd name="T70" fmla="*/ 2147483647 w 1497"/>
              <a:gd name="T71" fmla="*/ 2147483647 h 1310"/>
              <a:gd name="T72" fmla="*/ 2147483647 w 1497"/>
              <a:gd name="T73" fmla="*/ 2147483647 h 1310"/>
              <a:gd name="T74" fmla="*/ 2147483647 w 1497"/>
              <a:gd name="T75" fmla="*/ 2147483647 h 1310"/>
              <a:gd name="T76" fmla="*/ 2147483647 w 1497"/>
              <a:gd name="T77" fmla="*/ 2147483647 h 1310"/>
              <a:gd name="T78" fmla="*/ 2147483647 w 1497"/>
              <a:gd name="T79" fmla="*/ 2147483647 h 1310"/>
              <a:gd name="T80" fmla="*/ 2147483647 w 1497"/>
              <a:gd name="T81" fmla="*/ 2147483647 h 1310"/>
              <a:gd name="T82" fmla="*/ 2147483647 w 1497"/>
              <a:gd name="T83" fmla="*/ 2147483647 h 1310"/>
              <a:gd name="T84" fmla="*/ 2147483647 w 1497"/>
              <a:gd name="T85" fmla="*/ 2147483647 h 1310"/>
              <a:gd name="T86" fmla="*/ 2147483647 w 1497"/>
              <a:gd name="T87" fmla="*/ 2147483647 h 1310"/>
              <a:gd name="T88" fmla="*/ 2147483647 w 1497"/>
              <a:gd name="T89" fmla="*/ 2147483647 h 1310"/>
              <a:gd name="T90" fmla="*/ 2147483647 w 1497"/>
              <a:gd name="T91" fmla="*/ 2147483647 h 1310"/>
              <a:gd name="T92" fmla="*/ 2147483647 w 1497"/>
              <a:gd name="T93" fmla="*/ 2147483647 h 1310"/>
              <a:gd name="T94" fmla="*/ 2147483647 w 1497"/>
              <a:gd name="T95" fmla="*/ 2147483647 h 1310"/>
              <a:gd name="T96" fmla="*/ 2147483647 w 1497"/>
              <a:gd name="T97" fmla="*/ 2147483647 h 1310"/>
              <a:gd name="T98" fmla="*/ 2147483647 w 1497"/>
              <a:gd name="T99" fmla="*/ 2147483647 h 1310"/>
              <a:gd name="T100" fmla="*/ 2147483647 w 1497"/>
              <a:gd name="T101" fmla="*/ 2147483647 h 1310"/>
              <a:gd name="T102" fmla="*/ 2147483647 w 1497"/>
              <a:gd name="T103" fmla="*/ 2147483647 h 1310"/>
              <a:gd name="T104" fmla="*/ 2147483647 w 1497"/>
              <a:gd name="T105" fmla="*/ 2147483647 h 131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497"/>
              <a:gd name="T160" fmla="*/ 0 h 1310"/>
              <a:gd name="T161" fmla="*/ 1497 w 1497"/>
              <a:gd name="T162" fmla="*/ 1310 h 131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497" h="1310">
                <a:moveTo>
                  <a:pt x="1325" y="252"/>
                </a:moveTo>
                <a:lnTo>
                  <a:pt x="1265" y="286"/>
                </a:lnTo>
                <a:lnTo>
                  <a:pt x="1123" y="306"/>
                </a:lnTo>
                <a:lnTo>
                  <a:pt x="1057" y="259"/>
                </a:lnTo>
                <a:lnTo>
                  <a:pt x="1004" y="240"/>
                </a:lnTo>
                <a:lnTo>
                  <a:pt x="953" y="169"/>
                </a:lnTo>
                <a:lnTo>
                  <a:pt x="891" y="133"/>
                </a:lnTo>
                <a:lnTo>
                  <a:pt x="847" y="62"/>
                </a:lnTo>
                <a:lnTo>
                  <a:pt x="796" y="36"/>
                </a:lnTo>
                <a:lnTo>
                  <a:pt x="792" y="26"/>
                </a:lnTo>
                <a:lnTo>
                  <a:pt x="775" y="34"/>
                </a:lnTo>
                <a:lnTo>
                  <a:pt x="737" y="3"/>
                </a:lnTo>
                <a:lnTo>
                  <a:pt x="720" y="0"/>
                </a:lnTo>
                <a:lnTo>
                  <a:pt x="702" y="15"/>
                </a:lnTo>
                <a:lnTo>
                  <a:pt x="701" y="38"/>
                </a:lnTo>
                <a:lnTo>
                  <a:pt x="709" y="67"/>
                </a:lnTo>
                <a:lnTo>
                  <a:pt x="705" y="74"/>
                </a:lnTo>
                <a:lnTo>
                  <a:pt x="690" y="65"/>
                </a:lnTo>
                <a:lnTo>
                  <a:pt x="657" y="64"/>
                </a:lnTo>
                <a:lnTo>
                  <a:pt x="654" y="85"/>
                </a:lnTo>
                <a:lnTo>
                  <a:pt x="639" y="97"/>
                </a:lnTo>
                <a:lnTo>
                  <a:pt x="546" y="123"/>
                </a:lnTo>
                <a:lnTo>
                  <a:pt x="530" y="148"/>
                </a:lnTo>
                <a:lnTo>
                  <a:pt x="531" y="165"/>
                </a:lnTo>
                <a:lnTo>
                  <a:pt x="559" y="195"/>
                </a:lnTo>
                <a:lnTo>
                  <a:pt x="555" y="248"/>
                </a:lnTo>
                <a:lnTo>
                  <a:pt x="533" y="283"/>
                </a:lnTo>
                <a:lnTo>
                  <a:pt x="492" y="283"/>
                </a:lnTo>
                <a:lnTo>
                  <a:pt x="441" y="322"/>
                </a:lnTo>
                <a:lnTo>
                  <a:pt x="455" y="346"/>
                </a:lnTo>
                <a:lnTo>
                  <a:pt x="437" y="369"/>
                </a:lnTo>
                <a:lnTo>
                  <a:pt x="438" y="424"/>
                </a:lnTo>
                <a:lnTo>
                  <a:pt x="413" y="440"/>
                </a:lnTo>
                <a:lnTo>
                  <a:pt x="397" y="439"/>
                </a:lnTo>
                <a:lnTo>
                  <a:pt x="377" y="411"/>
                </a:lnTo>
                <a:lnTo>
                  <a:pt x="357" y="409"/>
                </a:lnTo>
                <a:lnTo>
                  <a:pt x="350" y="395"/>
                </a:lnTo>
                <a:lnTo>
                  <a:pt x="338" y="394"/>
                </a:lnTo>
                <a:lnTo>
                  <a:pt x="333" y="413"/>
                </a:lnTo>
                <a:lnTo>
                  <a:pt x="314" y="415"/>
                </a:lnTo>
                <a:lnTo>
                  <a:pt x="266" y="323"/>
                </a:lnTo>
                <a:lnTo>
                  <a:pt x="253" y="321"/>
                </a:lnTo>
                <a:lnTo>
                  <a:pt x="213" y="390"/>
                </a:lnTo>
                <a:lnTo>
                  <a:pt x="134" y="386"/>
                </a:lnTo>
                <a:lnTo>
                  <a:pt x="112" y="361"/>
                </a:lnTo>
                <a:lnTo>
                  <a:pt x="99" y="386"/>
                </a:lnTo>
                <a:lnTo>
                  <a:pt x="31" y="382"/>
                </a:lnTo>
                <a:lnTo>
                  <a:pt x="0" y="351"/>
                </a:lnTo>
                <a:lnTo>
                  <a:pt x="9" y="451"/>
                </a:lnTo>
                <a:lnTo>
                  <a:pt x="61" y="580"/>
                </a:lnTo>
                <a:lnTo>
                  <a:pt x="82" y="599"/>
                </a:lnTo>
                <a:lnTo>
                  <a:pt x="108" y="596"/>
                </a:lnTo>
                <a:lnTo>
                  <a:pt x="202" y="424"/>
                </a:lnTo>
                <a:lnTo>
                  <a:pt x="258" y="448"/>
                </a:lnTo>
                <a:lnTo>
                  <a:pt x="294" y="495"/>
                </a:lnTo>
                <a:lnTo>
                  <a:pt x="309" y="497"/>
                </a:lnTo>
                <a:lnTo>
                  <a:pt x="326" y="525"/>
                </a:lnTo>
                <a:lnTo>
                  <a:pt x="337" y="574"/>
                </a:lnTo>
                <a:lnTo>
                  <a:pt x="332" y="642"/>
                </a:lnTo>
                <a:lnTo>
                  <a:pt x="364" y="721"/>
                </a:lnTo>
                <a:lnTo>
                  <a:pt x="458" y="804"/>
                </a:lnTo>
                <a:lnTo>
                  <a:pt x="408" y="813"/>
                </a:lnTo>
                <a:lnTo>
                  <a:pt x="392" y="833"/>
                </a:lnTo>
                <a:lnTo>
                  <a:pt x="394" y="858"/>
                </a:lnTo>
                <a:lnTo>
                  <a:pt x="441" y="930"/>
                </a:lnTo>
                <a:lnTo>
                  <a:pt x="570" y="1027"/>
                </a:lnTo>
                <a:lnTo>
                  <a:pt x="595" y="1107"/>
                </a:lnTo>
                <a:lnTo>
                  <a:pt x="740" y="1117"/>
                </a:lnTo>
                <a:lnTo>
                  <a:pt x="989" y="1310"/>
                </a:lnTo>
                <a:lnTo>
                  <a:pt x="1026" y="1291"/>
                </a:lnTo>
                <a:lnTo>
                  <a:pt x="920" y="1173"/>
                </a:lnTo>
                <a:lnTo>
                  <a:pt x="915" y="1117"/>
                </a:lnTo>
                <a:lnTo>
                  <a:pt x="896" y="1098"/>
                </a:lnTo>
                <a:lnTo>
                  <a:pt x="870" y="1087"/>
                </a:lnTo>
                <a:lnTo>
                  <a:pt x="780" y="985"/>
                </a:lnTo>
                <a:lnTo>
                  <a:pt x="777" y="963"/>
                </a:lnTo>
                <a:lnTo>
                  <a:pt x="734" y="897"/>
                </a:lnTo>
                <a:lnTo>
                  <a:pt x="701" y="886"/>
                </a:lnTo>
                <a:lnTo>
                  <a:pt x="666" y="822"/>
                </a:lnTo>
                <a:lnTo>
                  <a:pt x="644" y="820"/>
                </a:lnTo>
                <a:lnTo>
                  <a:pt x="649" y="786"/>
                </a:lnTo>
                <a:lnTo>
                  <a:pt x="660" y="777"/>
                </a:lnTo>
                <a:lnTo>
                  <a:pt x="643" y="749"/>
                </a:lnTo>
                <a:lnTo>
                  <a:pt x="643" y="722"/>
                </a:lnTo>
                <a:lnTo>
                  <a:pt x="620" y="692"/>
                </a:lnTo>
                <a:lnTo>
                  <a:pt x="603" y="634"/>
                </a:lnTo>
                <a:lnTo>
                  <a:pt x="582" y="630"/>
                </a:lnTo>
                <a:lnTo>
                  <a:pt x="549" y="597"/>
                </a:lnTo>
                <a:lnTo>
                  <a:pt x="551" y="586"/>
                </a:lnTo>
                <a:lnTo>
                  <a:pt x="567" y="576"/>
                </a:lnTo>
                <a:lnTo>
                  <a:pt x="563" y="557"/>
                </a:lnTo>
                <a:lnTo>
                  <a:pt x="569" y="469"/>
                </a:lnTo>
                <a:lnTo>
                  <a:pt x="596" y="442"/>
                </a:lnTo>
                <a:lnTo>
                  <a:pt x="637" y="452"/>
                </a:lnTo>
                <a:lnTo>
                  <a:pt x="638" y="467"/>
                </a:lnTo>
                <a:lnTo>
                  <a:pt x="698" y="536"/>
                </a:lnTo>
                <a:lnTo>
                  <a:pt x="711" y="538"/>
                </a:lnTo>
                <a:lnTo>
                  <a:pt x="758" y="459"/>
                </a:lnTo>
                <a:lnTo>
                  <a:pt x="844" y="473"/>
                </a:lnTo>
                <a:lnTo>
                  <a:pt x="863" y="450"/>
                </a:lnTo>
                <a:lnTo>
                  <a:pt x="870" y="450"/>
                </a:lnTo>
                <a:lnTo>
                  <a:pt x="926" y="494"/>
                </a:lnTo>
                <a:lnTo>
                  <a:pt x="944" y="495"/>
                </a:lnTo>
                <a:lnTo>
                  <a:pt x="954" y="483"/>
                </a:lnTo>
                <a:lnTo>
                  <a:pt x="972" y="502"/>
                </a:lnTo>
                <a:lnTo>
                  <a:pt x="1043" y="514"/>
                </a:lnTo>
                <a:lnTo>
                  <a:pt x="1049" y="506"/>
                </a:lnTo>
                <a:lnTo>
                  <a:pt x="1059" y="507"/>
                </a:lnTo>
                <a:lnTo>
                  <a:pt x="1097" y="539"/>
                </a:lnTo>
                <a:lnTo>
                  <a:pt x="1110" y="538"/>
                </a:lnTo>
                <a:lnTo>
                  <a:pt x="1139" y="506"/>
                </a:lnTo>
                <a:lnTo>
                  <a:pt x="1154" y="509"/>
                </a:lnTo>
                <a:lnTo>
                  <a:pt x="1172" y="532"/>
                </a:lnTo>
                <a:lnTo>
                  <a:pt x="1185" y="535"/>
                </a:lnTo>
                <a:lnTo>
                  <a:pt x="1199" y="516"/>
                </a:lnTo>
                <a:lnTo>
                  <a:pt x="1249" y="523"/>
                </a:lnTo>
                <a:lnTo>
                  <a:pt x="1267" y="550"/>
                </a:lnTo>
                <a:lnTo>
                  <a:pt x="1278" y="542"/>
                </a:lnTo>
                <a:lnTo>
                  <a:pt x="1278" y="532"/>
                </a:lnTo>
                <a:lnTo>
                  <a:pt x="1310" y="534"/>
                </a:lnTo>
                <a:lnTo>
                  <a:pt x="1342" y="571"/>
                </a:lnTo>
                <a:lnTo>
                  <a:pt x="1334" y="589"/>
                </a:lnTo>
                <a:lnTo>
                  <a:pt x="1336" y="600"/>
                </a:lnTo>
                <a:lnTo>
                  <a:pt x="1360" y="620"/>
                </a:lnTo>
                <a:lnTo>
                  <a:pt x="1398" y="619"/>
                </a:lnTo>
                <a:lnTo>
                  <a:pt x="1428" y="597"/>
                </a:lnTo>
                <a:lnTo>
                  <a:pt x="1434" y="575"/>
                </a:lnTo>
                <a:lnTo>
                  <a:pt x="1424" y="568"/>
                </a:lnTo>
                <a:lnTo>
                  <a:pt x="1418" y="524"/>
                </a:lnTo>
                <a:lnTo>
                  <a:pt x="1429" y="510"/>
                </a:lnTo>
                <a:lnTo>
                  <a:pt x="1435" y="488"/>
                </a:lnTo>
                <a:lnTo>
                  <a:pt x="1445" y="486"/>
                </a:lnTo>
                <a:lnTo>
                  <a:pt x="1480" y="494"/>
                </a:lnTo>
                <a:lnTo>
                  <a:pt x="1497" y="485"/>
                </a:lnTo>
                <a:lnTo>
                  <a:pt x="1495" y="475"/>
                </a:lnTo>
                <a:lnTo>
                  <a:pt x="1485" y="470"/>
                </a:lnTo>
                <a:lnTo>
                  <a:pt x="1465" y="471"/>
                </a:lnTo>
                <a:lnTo>
                  <a:pt x="1448" y="462"/>
                </a:lnTo>
                <a:lnTo>
                  <a:pt x="1427" y="464"/>
                </a:lnTo>
                <a:lnTo>
                  <a:pt x="1406" y="442"/>
                </a:lnTo>
                <a:lnTo>
                  <a:pt x="1388" y="442"/>
                </a:lnTo>
                <a:lnTo>
                  <a:pt x="1381" y="434"/>
                </a:lnTo>
                <a:lnTo>
                  <a:pt x="1388" y="412"/>
                </a:lnTo>
                <a:lnTo>
                  <a:pt x="1382" y="403"/>
                </a:lnTo>
                <a:lnTo>
                  <a:pt x="1386" y="391"/>
                </a:lnTo>
                <a:lnTo>
                  <a:pt x="1395" y="391"/>
                </a:lnTo>
                <a:lnTo>
                  <a:pt x="1404" y="384"/>
                </a:lnTo>
                <a:lnTo>
                  <a:pt x="1404" y="377"/>
                </a:lnTo>
                <a:lnTo>
                  <a:pt x="1390" y="366"/>
                </a:lnTo>
                <a:lnTo>
                  <a:pt x="1381" y="366"/>
                </a:lnTo>
                <a:lnTo>
                  <a:pt x="1371" y="376"/>
                </a:lnTo>
                <a:lnTo>
                  <a:pt x="1356" y="368"/>
                </a:lnTo>
                <a:lnTo>
                  <a:pt x="1354" y="356"/>
                </a:lnTo>
                <a:lnTo>
                  <a:pt x="1367" y="338"/>
                </a:lnTo>
                <a:lnTo>
                  <a:pt x="1366" y="323"/>
                </a:lnTo>
                <a:lnTo>
                  <a:pt x="1355" y="312"/>
                </a:lnTo>
                <a:lnTo>
                  <a:pt x="1362" y="302"/>
                </a:lnTo>
                <a:lnTo>
                  <a:pt x="1360" y="286"/>
                </a:lnTo>
                <a:lnTo>
                  <a:pt x="1325" y="252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1" name="Freeform 113">
            <a:extLst>
              <a:ext uri="{FF2B5EF4-FFF2-40B4-BE49-F238E27FC236}">
                <a16:creationId xmlns:a16="http://schemas.microsoft.com/office/drawing/2014/main" id="{0342472E-157B-4D20-955D-1F908BB53210}"/>
              </a:ext>
            </a:extLst>
          </p:cNvPr>
          <p:cNvSpPr>
            <a:spLocks/>
          </p:cNvSpPr>
          <p:nvPr/>
        </p:nvSpPr>
        <p:spPr bwMode="auto">
          <a:xfrm rot="21249101">
            <a:off x="7687639" y="5094164"/>
            <a:ext cx="204696" cy="412896"/>
          </a:xfrm>
          <a:custGeom>
            <a:avLst/>
            <a:gdLst>
              <a:gd name="T0" fmla="*/ 2147483647 w 490"/>
              <a:gd name="T1" fmla="*/ 2147483647 h 1075"/>
              <a:gd name="T2" fmla="*/ 2147483647 w 490"/>
              <a:gd name="T3" fmla="*/ 2147483647 h 1075"/>
              <a:gd name="T4" fmla="*/ 2147483647 w 490"/>
              <a:gd name="T5" fmla="*/ 2147483647 h 1075"/>
              <a:gd name="T6" fmla="*/ 2147483647 w 490"/>
              <a:gd name="T7" fmla="*/ 2147483647 h 1075"/>
              <a:gd name="T8" fmla="*/ 2147483647 w 490"/>
              <a:gd name="T9" fmla="*/ 2147483647 h 1075"/>
              <a:gd name="T10" fmla="*/ 0 w 490"/>
              <a:gd name="T11" fmla="*/ 2147483647 h 1075"/>
              <a:gd name="T12" fmla="*/ 2147483647 w 490"/>
              <a:gd name="T13" fmla="*/ 2147483647 h 1075"/>
              <a:gd name="T14" fmla="*/ 2147483647 w 490"/>
              <a:gd name="T15" fmla="*/ 2147483647 h 1075"/>
              <a:gd name="T16" fmla="*/ 2147483647 w 490"/>
              <a:gd name="T17" fmla="*/ 2147483647 h 1075"/>
              <a:gd name="T18" fmla="*/ 2147483647 w 490"/>
              <a:gd name="T19" fmla="*/ 2147483647 h 1075"/>
              <a:gd name="T20" fmla="*/ 2147483647 w 490"/>
              <a:gd name="T21" fmla="*/ 2147483647 h 1075"/>
              <a:gd name="T22" fmla="*/ 2147483647 w 490"/>
              <a:gd name="T23" fmla="*/ 2147483647 h 1075"/>
              <a:gd name="T24" fmla="*/ 2147483647 w 490"/>
              <a:gd name="T25" fmla="*/ 2147483647 h 1075"/>
              <a:gd name="T26" fmla="*/ 2147483647 w 490"/>
              <a:gd name="T27" fmla="*/ 2147483647 h 1075"/>
              <a:gd name="T28" fmla="*/ 2147483647 w 490"/>
              <a:gd name="T29" fmla="*/ 2147483647 h 1075"/>
              <a:gd name="T30" fmla="*/ 2147483647 w 490"/>
              <a:gd name="T31" fmla="*/ 2147483647 h 1075"/>
              <a:gd name="T32" fmla="*/ 2147483647 w 490"/>
              <a:gd name="T33" fmla="*/ 2147483647 h 1075"/>
              <a:gd name="T34" fmla="*/ 2147483647 w 490"/>
              <a:gd name="T35" fmla="*/ 2147483647 h 1075"/>
              <a:gd name="T36" fmla="*/ 2147483647 w 490"/>
              <a:gd name="T37" fmla="*/ 2147483647 h 1075"/>
              <a:gd name="T38" fmla="*/ 2147483647 w 490"/>
              <a:gd name="T39" fmla="*/ 2147483647 h 1075"/>
              <a:gd name="T40" fmla="*/ 2147483647 w 490"/>
              <a:gd name="T41" fmla="*/ 2147483647 h 1075"/>
              <a:gd name="T42" fmla="*/ 2147483647 w 490"/>
              <a:gd name="T43" fmla="*/ 0 h 1075"/>
              <a:gd name="T44" fmla="*/ 2147483647 w 490"/>
              <a:gd name="T45" fmla="*/ 2147483647 h 1075"/>
              <a:gd name="T46" fmla="*/ 2147483647 w 490"/>
              <a:gd name="T47" fmla="*/ 2147483647 h 1075"/>
              <a:gd name="T48" fmla="*/ 2147483647 w 490"/>
              <a:gd name="T49" fmla="*/ 2147483647 h 1075"/>
              <a:gd name="T50" fmla="*/ 2147483647 w 490"/>
              <a:gd name="T51" fmla="*/ 2147483647 h 1075"/>
              <a:gd name="T52" fmla="*/ 2147483647 w 490"/>
              <a:gd name="T53" fmla="*/ 2147483647 h 1075"/>
              <a:gd name="T54" fmla="*/ 2147483647 w 490"/>
              <a:gd name="T55" fmla="*/ 2147483647 h 1075"/>
              <a:gd name="T56" fmla="*/ 2147483647 w 490"/>
              <a:gd name="T57" fmla="*/ 2147483647 h 1075"/>
              <a:gd name="T58" fmla="*/ 2147483647 w 490"/>
              <a:gd name="T59" fmla="*/ 2147483647 h 1075"/>
              <a:gd name="T60" fmla="*/ 2147483647 w 490"/>
              <a:gd name="T61" fmla="*/ 2147483647 h 1075"/>
              <a:gd name="T62" fmla="*/ 2147483647 w 490"/>
              <a:gd name="T63" fmla="*/ 2147483647 h 1075"/>
              <a:gd name="T64" fmla="*/ 2147483647 w 490"/>
              <a:gd name="T65" fmla="*/ 2147483647 h 1075"/>
              <a:gd name="T66" fmla="*/ 2147483647 w 490"/>
              <a:gd name="T67" fmla="*/ 2147483647 h 1075"/>
              <a:gd name="T68" fmla="*/ 2147483647 w 490"/>
              <a:gd name="T69" fmla="*/ 2147483647 h 1075"/>
              <a:gd name="T70" fmla="*/ 2147483647 w 490"/>
              <a:gd name="T71" fmla="*/ 2147483647 h 1075"/>
              <a:gd name="T72" fmla="*/ 2147483647 w 490"/>
              <a:gd name="T73" fmla="*/ 2147483647 h 1075"/>
              <a:gd name="T74" fmla="*/ 2147483647 w 490"/>
              <a:gd name="T75" fmla="*/ 2147483647 h 1075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90"/>
              <a:gd name="T115" fmla="*/ 0 h 1075"/>
              <a:gd name="T116" fmla="*/ 490 w 490"/>
              <a:gd name="T117" fmla="*/ 1075 h 1075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90" h="1075">
                <a:moveTo>
                  <a:pt x="246" y="1071"/>
                </a:moveTo>
                <a:lnTo>
                  <a:pt x="199" y="1050"/>
                </a:lnTo>
                <a:lnTo>
                  <a:pt x="190" y="995"/>
                </a:lnTo>
                <a:lnTo>
                  <a:pt x="156" y="946"/>
                </a:lnTo>
                <a:lnTo>
                  <a:pt x="67" y="912"/>
                </a:lnTo>
                <a:lnTo>
                  <a:pt x="0" y="791"/>
                </a:lnTo>
                <a:lnTo>
                  <a:pt x="37" y="799"/>
                </a:lnTo>
                <a:lnTo>
                  <a:pt x="37" y="755"/>
                </a:lnTo>
                <a:lnTo>
                  <a:pt x="19" y="686"/>
                </a:lnTo>
                <a:lnTo>
                  <a:pt x="38" y="622"/>
                </a:lnTo>
                <a:lnTo>
                  <a:pt x="48" y="611"/>
                </a:lnTo>
                <a:lnTo>
                  <a:pt x="44" y="562"/>
                </a:lnTo>
                <a:lnTo>
                  <a:pt x="54" y="520"/>
                </a:lnTo>
                <a:lnTo>
                  <a:pt x="33" y="467"/>
                </a:lnTo>
                <a:lnTo>
                  <a:pt x="78" y="313"/>
                </a:lnTo>
                <a:lnTo>
                  <a:pt x="56" y="287"/>
                </a:lnTo>
                <a:lnTo>
                  <a:pt x="13" y="278"/>
                </a:lnTo>
                <a:lnTo>
                  <a:pt x="41" y="201"/>
                </a:lnTo>
                <a:lnTo>
                  <a:pt x="33" y="147"/>
                </a:lnTo>
                <a:lnTo>
                  <a:pt x="54" y="76"/>
                </a:lnTo>
                <a:lnTo>
                  <a:pt x="90" y="47"/>
                </a:lnTo>
                <a:lnTo>
                  <a:pt x="122" y="0"/>
                </a:lnTo>
                <a:lnTo>
                  <a:pt x="158" y="37"/>
                </a:lnTo>
                <a:lnTo>
                  <a:pt x="229" y="44"/>
                </a:lnTo>
                <a:lnTo>
                  <a:pt x="258" y="100"/>
                </a:lnTo>
                <a:lnTo>
                  <a:pt x="308" y="121"/>
                </a:lnTo>
                <a:lnTo>
                  <a:pt x="366" y="197"/>
                </a:lnTo>
                <a:lnTo>
                  <a:pt x="347" y="460"/>
                </a:lnTo>
                <a:lnTo>
                  <a:pt x="389" y="559"/>
                </a:lnTo>
                <a:lnTo>
                  <a:pt x="479" y="643"/>
                </a:lnTo>
                <a:lnTo>
                  <a:pt x="490" y="764"/>
                </a:lnTo>
                <a:lnTo>
                  <a:pt x="426" y="824"/>
                </a:lnTo>
                <a:lnTo>
                  <a:pt x="381" y="912"/>
                </a:lnTo>
                <a:lnTo>
                  <a:pt x="332" y="948"/>
                </a:lnTo>
                <a:lnTo>
                  <a:pt x="316" y="1008"/>
                </a:lnTo>
                <a:lnTo>
                  <a:pt x="295" y="1041"/>
                </a:lnTo>
                <a:lnTo>
                  <a:pt x="252" y="1075"/>
                </a:lnTo>
                <a:lnTo>
                  <a:pt x="246" y="107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2" name="Freeform 114">
            <a:extLst>
              <a:ext uri="{FF2B5EF4-FFF2-40B4-BE49-F238E27FC236}">
                <a16:creationId xmlns:a16="http://schemas.microsoft.com/office/drawing/2014/main" id="{D6367B3B-0F4E-4A5E-B51E-B93E5C0B622C}"/>
              </a:ext>
            </a:extLst>
          </p:cNvPr>
          <p:cNvSpPr>
            <a:spLocks/>
          </p:cNvSpPr>
          <p:nvPr/>
        </p:nvSpPr>
        <p:spPr bwMode="auto">
          <a:xfrm rot="21249101">
            <a:off x="7687639" y="5094164"/>
            <a:ext cx="204696" cy="412896"/>
          </a:xfrm>
          <a:custGeom>
            <a:avLst/>
            <a:gdLst>
              <a:gd name="T0" fmla="*/ 2147483647 w 490"/>
              <a:gd name="T1" fmla="*/ 2147483647 h 1075"/>
              <a:gd name="T2" fmla="*/ 2147483647 w 490"/>
              <a:gd name="T3" fmla="*/ 2147483647 h 1075"/>
              <a:gd name="T4" fmla="*/ 2147483647 w 490"/>
              <a:gd name="T5" fmla="*/ 2147483647 h 1075"/>
              <a:gd name="T6" fmla="*/ 2147483647 w 490"/>
              <a:gd name="T7" fmla="*/ 2147483647 h 1075"/>
              <a:gd name="T8" fmla="*/ 2147483647 w 490"/>
              <a:gd name="T9" fmla="*/ 2147483647 h 1075"/>
              <a:gd name="T10" fmla="*/ 0 w 490"/>
              <a:gd name="T11" fmla="*/ 2147483647 h 1075"/>
              <a:gd name="T12" fmla="*/ 2147483647 w 490"/>
              <a:gd name="T13" fmla="*/ 2147483647 h 1075"/>
              <a:gd name="T14" fmla="*/ 2147483647 w 490"/>
              <a:gd name="T15" fmla="*/ 2147483647 h 1075"/>
              <a:gd name="T16" fmla="*/ 2147483647 w 490"/>
              <a:gd name="T17" fmla="*/ 2147483647 h 1075"/>
              <a:gd name="T18" fmla="*/ 2147483647 w 490"/>
              <a:gd name="T19" fmla="*/ 2147483647 h 1075"/>
              <a:gd name="T20" fmla="*/ 2147483647 w 490"/>
              <a:gd name="T21" fmla="*/ 2147483647 h 1075"/>
              <a:gd name="T22" fmla="*/ 2147483647 w 490"/>
              <a:gd name="T23" fmla="*/ 2147483647 h 1075"/>
              <a:gd name="T24" fmla="*/ 2147483647 w 490"/>
              <a:gd name="T25" fmla="*/ 2147483647 h 1075"/>
              <a:gd name="T26" fmla="*/ 2147483647 w 490"/>
              <a:gd name="T27" fmla="*/ 2147483647 h 1075"/>
              <a:gd name="T28" fmla="*/ 2147483647 w 490"/>
              <a:gd name="T29" fmla="*/ 2147483647 h 1075"/>
              <a:gd name="T30" fmla="*/ 2147483647 w 490"/>
              <a:gd name="T31" fmla="*/ 2147483647 h 1075"/>
              <a:gd name="T32" fmla="*/ 2147483647 w 490"/>
              <a:gd name="T33" fmla="*/ 2147483647 h 1075"/>
              <a:gd name="T34" fmla="*/ 2147483647 w 490"/>
              <a:gd name="T35" fmla="*/ 2147483647 h 1075"/>
              <a:gd name="T36" fmla="*/ 2147483647 w 490"/>
              <a:gd name="T37" fmla="*/ 2147483647 h 1075"/>
              <a:gd name="T38" fmla="*/ 2147483647 w 490"/>
              <a:gd name="T39" fmla="*/ 2147483647 h 1075"/>
              <a:gd name="T40" fmla="*/ 2147483647 w 490"/>
              <a:gd name="T41" fmla="*/ 2147483647 h 1075"/>
              <a:gd name="T42" fmla="*/ 2147483647 w 490"/>
              <a:gd name="T43" fmla="*/ 0 h 1075"/>
              <a:gd name="T44" fmla="*/ 2147483647 w 490"/>
              <a:gd name="T45" fmla="*/ 2147483647 h 1075"/>
              <a:gd name="T46" fmla="*/ 2147483647 w 490"/>
              <a:gd name="T47" fmla="*/ 2147483647 h 1075"/>
              <a:gd name="T48" fmla="*/ 2147483647 w 490"/>
              <a:gd name="T49" fmla="*/ 2147483647 h 1075"/>
              <a:gd name="T50" fmla="*/ 2147483647 w 490"/>
              <a:gd name="T51" fmla="*/ 2147483647 h 1075"/>
              <a:gd name="T52" fmla="*/ 2147483647 w 490"/>
              <a:gd name="T53" fmla="*/ 2147483647 h 1075"/>
              <a:gd name="T54" fmla="*/ 2147483647 w 490"/>
              <a:gd name="T55" fmla="*/ 2147483647 h 1075"/>
              <a:gd name="T56" fmla="*/ 2147483647 w 490"/>
              <a:gd name="T57" fmla="*/ 2147483647 h 1075"/>
              <a:gd name="T58" fmla="*/ 2147483647 w 490"/>
              <a:gd name="T59" fmla="*/ 2147483647 h 1075"/>
              <a:gd name="T60" fmla="*/ 2147483647 w 490"/>
              <a:gd name="T61" fmla="*/ 2147483647 h 1075"/>
              <a:gd name="T62" fmla="*/ 2147483647 w 490"/>
              <a:gd name="T63" fmla="*/ 2147483647 h 1075"/>
              <a:gd name="T64" fmla="*/ 2147483647 w 490"/>
              <a:gd name="T65" fmla="*/ 2147483647 h 1075"/>
              <a:gd name="T66" fmla="*/ 2147483647 w 490"/>
              <a:gd name="T67" fmla="*/ 2147483647 h 1075"/>
              <a:gd name="T68" fmla="*/ 2147483647 w 490"/>
              <a:gd name="T69" fmla="*/ 2147483647 h 1075"/>
              <a:gd name="T70" fmla="*/ 2147483647 w 490"/>
              <a:gd name="T71" fmla="*/ 2147483647 h 1075"/>
              <a:gd name="T72" fmla="*/ 2147483647 w 490"/>
              <a:gd name="T73" fmla="*/ 2147483647 h 1075"/>
              <a:gd name="T74" fmla="*/ 2147483647 w 490"/>
              <a:gd name="T75" fmla="*/ 2147483647 h 1075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90"/>
              <a:gd name="T115" fmla="*/ 0 h 1075"/>
              <a:gd name="T116" fmla="*/ 490 w 490"/>
              <a:gd name="T117" fmla="*/ 1075 h 1075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90" h="1075">
                <a:moveTo>
                  <a:pt x="246" y="1071"/>
                </a:moveTo>
                <a:lnTo>
                  <a:pt x="199" y="1050"/>
                </a:lnTo>
                <a:lnTo>
                  <a:pt x="190" y="995"/>
                </a:lnTo>
                <a:lnTo>
                  <a:pt x="156" y="946"/>
                </a:lnTo>
                <a:lnTo>
                  <a:pt x="67" y="912"/>
                </a:lnTo>
                <a:lnTo>
                  <a:pt x="0" y="791"/>
                </a:lnTo>
                <a:lnTo>
                  <a:pt x="37" y="799"/>
                </a:lnTo>
                <a:lnTo>
                  <a:pt x="37" y="755"/>
                </a:lnTo>
                <a:lnTo>
                  <a:pt x="19" y="686"/>
                </a:lnTo>
                <a:lnTo>
                  <a:pt x="38" y="622"/>
                </a:lnTo>
                <a:lnTo>
                  <a:pt x="48" y="611"/>
                </a:lnTo>
                <a:lnTo>
                  <a:pt x="44" y="562"/>
                </a:lnTo>
                <a:lnTo>
                  <a:pt x="54" y="520"/>
                </a:lnTo>
                <a:lnTo>
                  <a:pt x="33" y="467"/>
                </a:lnTo>
                <a:lnTo>
                  <a:pt x="78" y="313"/>
                </a:lnTo>
                <a:lnTo>
                  <a:pt x="56" y="287"/>
                </a:lnTo>
                <a:lnTo>
                  <a:pt x="13" y="278"/>
                </a:lnTo>
                <a:lnTo>
                  <a:pt x="41" y="201"/>
                </a:lnTo>
                <a:lnTo>
                  <a:pt x="33" y="147"/>
                </a:lnTo>
                <a:lnTo>
                  <a:pt x="54" y="76"/>
                </a:lnTo>
                <a:lnTo>
                  <a:pt x="90" y="47"/>
                </a:lnTo>
                <a:lnTo>
                  <a:pt x="122" y="0"/>
                </a:lnTo>
                <a:lnTo>
                  <a:pt x="158" y="37"/>
                </a:lnTo>
                <a:lnTo>
                  <a:pt x="229" y="44"/>
                </a:lnTo>
                <a:lnTo>
                  <a:pt x="258" y="100"/>
                </a:lnTo>
                <a:lnTo>
                  <a:pt x="308" y="121"/>
                </a:lnTo>
                <a:lnTo>
                  <a:pt x="366" y="197"/>
                </a:lnTo>
                <a:lnTo>
                  <a:pt x="347" y="460"/>
                </a:lnTo>
                <a:lnTo>
                  <a:pt x="389" y="559"/>
                </a:lnTo>
                <a:lnTo>
                  <a:pt x="479" y="643"/>
                </a:lnTo>
                <a:lnTo>
                  <a:pt x="490" y="764"/>
                </a:lnTo>
                <a:lnTo>
                  <a:pt x="426" y="824"/>
                </a:lnTo>
                <a:lnTo>
                  <a:pt x="381" y="912"/>
                </a:lnTo>
                <a:lnTo>
                  <a:pt x="332" y="948"/>
                </a:lnTo>
                <a:lnTo>
                  <a:pt x="316" y="1008"/>
                </a:lnTo>
                <a:lnTo>
                  <a:pt x="295" y="1041"/>
                </a:lnTo>
                <a:lnTo>
                  <a:pt x="252" y="1075"/>
                </a:lnTo>
                <a:lnTo>
                  <a:pt x="246" y="107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3" name="Freeform 115" descr="Large grid">
            <a:extLst>
              <a:ext uri="{FF2B5EF4-FFF2-40B4-BE49-F238E27FC236}">
                <a16:creationId xmlns:a16="http://schemas.microsoft.com/office/drawing/2014/main" id="{1E2CE650-0A6B-44AC-BA97-DDF787E87DB0}"/>
              </a:ext>
            </a:extLst>
          </p:cNvPr>
          <p:cNvSpPr>
            <a:spLocks/>
          </p:cNvSpPr>
          <p:nvPr/>
        </p:nvSpPr>
        <p:spPr bwMode="auto">
          <a:xfrm rot="21249101">
            <a:off x="7631975" y="3141099"/>
            <a:ext cx="502763" cy="358826"/>
          </a:xfrm>
          <a:custGeom>
            <a:avLst/>
            <a:gdLst>
              <a:gd name="T0" fmla="*/ 2147483647 w 1199"/>
              <a:gd name="T1" fmla="*/ 2147483647 h 936"/>
              <a:gd name="T2" fmla="*/ 2147483647 w 1199"/>
              <a:gd name="T3" fmla="*/ 2147483647 h 936"/>
              <a:gd name="T4" fmla="*/ 2147483647 w 1199"/>
              <a:gd name="T5" fmla="*/ 2147483647 h 936"/>
              <a:gd name="T6" fmla="*/ 2147483647 w 1199"/>
              <a:gd name="T7" fmla="*/ 2147483647 h 936"/>
              <a:gd name="T8" fmla="*/ 2147483647 w 1199"/>
              <a:gd name="T9" fmla="*/ 2147483647 h 936"/>
              <a:gd name="T10" fmla="*/ 2147483647 w 1199"/>
              <a:gd name="T11" fmla="*/ 2147483647 h 936"/>
              <a:gd name="T12" fmla="*/ 2147483647 w 1199"/>
              <a:gd name="T13" fmla="*/ 2147483647 h 936"/>
              <a:gd name="T14" fmla="*/ 2147483647 w 1199"/>
              <a:gd name="T15" fmla="*/ 2147483647 h 936"/>
              <a:gd name="T16" fmla="*/ 2147483647 w 1199"/>
              <a:gd name="T17" fmla="*/ 2147483647 h 936"/>
              <a:gd name="T18" fmla="*/ 2147483647 w 1199"/>
              <a:gd name="T19" fmla="*/ 2147483647 h 936"/>
              <a:gd name="T20" fmla="*/ 2147483647 w 1199"/>
              <a:gd name="T21" fmla="*/ 2147483647 h 936"/>
              <a:gd name="T22" fmla="*/ 2147483647 w 1199"/>
              <a:gd name="T23" fmla="*/ 2147483647 h 936"/>
              <a:gd name="T24" fmla="*/ 2147483647 w 1199"/>
              <a:gd name="T25" fmla="*/ 2147483647 h 936"/>
              <a:gd name="T26" fmla="*/ 2147483647 w 1199"/>
              <a:gd name="T27" fmla="*/ 2147483647 h 936"/>
              <a:gd name="T28" fmla="*/ 2147483647 w 1199"/>
              <a:gd name="T29" fmla="*/ 2147483647 h 936"/>
              <a:gd name="T30" fmla="*/ 2147483647 w 1199"/>
              <a:gd name="T31" fmla="*/ 2147483647 h 936"/>
              <a:gd name="T32" fmla="*/ 2147483647 w 1199"/>
              <a:gd name="T33" fmla="*/ 2147483647 h 936"/>
              <a:gd name="T34" fmla="*/ 2147483647 w 1199"/>
              <a:gd name="T35" fmla="*/ 2147483647 h 936"/>
              <a:gd name="T36" fmla="*/ 2147483647 w 1199"/>
              <a:gd name="T37" fmla="*/ 2147483647 h 936"/>
              <a:gd name="T38" fmla="*/ 2147483647 w 1199"/>
              <a:gd name="T39" fmla="*/ 2147483647 h 936"/>
              <a:gd name="T40" fmla="*/ 2147483647 w 1199"/>
              <a:gd name="T41" fmla="*/ 2147483647 h 936"/>
              <a:gd name="T42" fmla="*/ 2147483647 w 1199"/>
              <a:gd name="T43" fmla="*/ 2147483647 h 936"/>
              <a:gd name="T44" fmla="*/ 2147483647 w 1199"/>
              <a:gd name="T45" fmla="*/ 2147483647 h 936"/>
              <a:gd name="T46" fmla="*/ 2147483647 w 1199"/>
              <a:gd name="T47" fmla="*/ 2147483647 h 936"/>
              <a:gd name="T48" fmla="*/ 2147483647 w 1199"/>
              <a:gd name="T49" fmla="*/ 2147483647 h 936"/>
              <a:gd name="T50" fmla="*/ 2147483647 w 1199"/>
              <a:gd name="T51" fmla="*/ 2147483647 h 936"/>
              <a:gd name="T52" fmla="*/ 2147483647 w 1199"/>
              <a:gd name="T53" fmla="*/ 2147483647 h 936"/>
              <a:gd name="T54" fmla="*/ 2147483647 w 1199"/>
              <a:gd name="T55" fmla="*/ 2147483647 h 936"/>
              <a:gd name="T56" fmla="*/ 2147483647 w 1199"/>
              <a:gd name="T57" fmla="*/ 2147483647 h 936"/>
              <a:gd name="T58" fmla="*/ 2147483647 w 1199"/>
              <a:gd name="T59" fmla="*/ 0 h 936"/>
              <a:gd name="T60" fmla="*/ 2147483647 w 1199"/>
              <a:gd name="T61" fmla="*/ 2147483647 h 936"/>
              <a:gd name="T62" fmla="*/ 2147483647 w 1199"/>
              <a:gd name="T63" fmla="*/ 2147483647 h 936"/>
              <a:gd name="T64" fmla="*/ 2147483647 w 1199"/>
              <a:gd name="T65" fmla="*/ 2147483647 h 936"/>
              <a:gd name="T66" fmla="*/ 2147483647 w 1199"/>
              <a:gd name="T67" fmla="*/ 2147483647 h 936"/>
              <a:gd name="T68" fmla="*/ 2147483647 w 1199"/>
              <a:gd name="T69" fmla="*/ 2147483647 h 936"/>
              <a:gd name="T70" fmla="*/ 2147483647 w 1199"/>
              <a:gd name="T71" fmla="*/ 2147483647 h 936"/>
              <a:gd name="T72" fmla="*/ 2147483647 w 1199"/>
              <a:gd name="T73" fmla="*/ 2147483647 h 9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199"/>
              <a:gd name="T112" fmla="*/ 0 h 936"/>
              <a:gd name="T113" fmla="*/ 1199 w 1199"/>
              <a:gd name="T114" fmla="*/ 936 h 9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199" h="936">
                <a:moveTo>
                  <a:pt x="0" y="166"/>
                </a:moveTo>
                <a:lnTo>
                  <a:pt x="20" y="322"/>
                </a:lnTo>
                <a:lnTo>
                  <a:pt x="13" y="235"/>
                </a:lnTo>
                <a:lnTo>
                  <a:pt x="45" y="442"/>
                </a:lnTo>
                <a:lnTo>
                  <a:pt x="54" y="442"/>
                </a:lnTo>
                <a:lnTo>
                  <a:pt x="62" y="471"/>
                </a:lnTo>
                <a:lnTo>
                  <a:pt x="99" y="459"/>
                </a:lnTo>
                <a:lnTo>
                  <a:pt x="121" y="481"/>
                </a:lnTo>
                <a:lnTo>
                  <a:pt x="151" y="488"/>
                </a:lnTo>
                <a:lnTo>
                  <a:pt x="175" y="507"/>
                </a:lnTo>
                <a:lnTo>
                  <a:pt x="265" y="525"/>
                </a:lnTo>
                <a:lnTo>
                  <a:pt x="327" y="518"/>
                </a:lnTo>
                <a:lnTo>
                  <a:pt x="352" y="534"/>
                </a:lnTo>
                <a:lnTo>
                  <a:pt x="397" y="618"/>
                </a:lnTo>
                <a:lnTo>
                  <a:pt x="377" y="678"/>
                </a:lnTo>
                <a:lnTo>
                  <a:pt x="390" y="781"/>
                </a:lnTo>
                <a:lnTo>
                  <a:pt x="522" y="854"/>
                </a:lnTo>
                <a:lnTo>
                  <a:pt x="540" y="899"/>
                </a:lnTo>
                <a:lnTo>
                  <a:pt x="544" y="925"/>
                </a:lnTo>
                <a:lnTo>
                  <a:pt x="604" y="936"/>
                </a:lnTo>
                <a:lnTo>
                  <a:pt x="663" y="919"/>
                </a:lnTo>
                <a:lnTo>
                  <a:pt x="726" y="927"/>
                </a:lnTo>
                <a:lnTo>
                  <a:pt x="754" y="912"/>
                </a:lnTo>
                <a:lnTo>
                  <a:pt x="775" y="890"/>
                </a:lnTo>
                <a:lnTo>
                  <a:pt x="804" y="902"/>
                </a:lnTo>
                <a:lnTo>
                  <a:pt x="835" y="897"/>
                </a:lnTo>
                <a:lnTo>
                  <a:pt x="819" y="842"/>
                </a:lnTo>
                <a:lnTo>
                  <a:pt x="847" y="826"/>
                </a:lnTo>
                <a:lnTo>
                  <a:pt x="876" y="826"/>
                </a:lnTo>
                <a:lnTo>
                  <a:pt x="896" y="800"/>
                </a:lnTo>
                <a:lnTo>
                  <a:pt x="923" y="781"/>
                </a:lnTo>
                <a:lnTo>
                  <a:pt x="953" y="789"/>
                </a:lnTo>
                <a:lnTo>
                  <a:pt x="971" y="814"/>
                </a:lnTo>
                <a:lnTo>
                  <a:pt x="1001" y="827"/>
                </a:lnTo>
                <a:lnTo>
                  <a:pt x="1030" y="813"/>
                </a:lnTo>
                <a:lnTo>
                  <a:pt x="1021" y="783"/>
                </a:lnTo>
                <a:lnTo>
                  <a:pt x="999" y="760"/>
                </a:lnTo>
                <a:lnTo>
                  <a:pt x="984" y="732"/>
                </a:lnTo>
                <a:lnTo>
                  <a:pt x="988" y="701"/>
                </a:lnTo>
                <a:lnTo>
                  <a:pt x="1017" y="647"/>
                </a:lnTo>
                <a:lnTo>
                  <a:pt x="1021" y="521"/>
                </a:lnTo>
                <a:lnTo>
                  <a:pt x="1047" y="503"/>
                </a:lnTo>
                <a:lnTo>
                  <a:pt x="1077" y="496"/>
                </a:lnTo>
                <a:lnTo>
                  <a:pt x="1122" y="455"/>
                </a:lnTo>
                <a:lnTo>
                  <a:pt x="1170" y="452"/>
                </a:lnTo>
                <a:lnTo>
                  <a:pt x="1199" y="381"/>
                </a:lnTo>
                <a:lnTo>
                  <a:pt x="1169" y="369"/>
                </a:lnTo>
                <a:lnTo>
                  <a:pt x="1138" y="372"/>
                </a:lnTo>
                <a:lnTo>
                  <a:pt x="1133" y="313"/>
                </a:lnTo>
                <a:lnTo>
                  <a:pt x="1159" y="297"/>
                </a:lnTo>
                <a:lnTo>
                  <a:pt x="1177" y="272"/>
                </a:lnTo>
                <a:lnTo>
                  <a:pt x="1175" y="265"/>
                </a:lnTo>
                <a:lnTo>
                  <a:pt x="1176" y="261"/>
                </a:lnTo>
                <a:lnTo>
                  <a:pt x="1119" y="238"/>
                </a:lnTo>
                <a:lnTo>
                  <a:pt x="1043" y="160"/>
                </a:lnTo>
                <a:lnTo>
                  <a:pt x="941" y="101"/>
                </a:lnTo>
                <a:lnTo>
                  <a:pt x="882" y="107"/>
                </a:lnTo>
                <a:lnTo>
                  <a:pt x="853" y="100"/>
                </a:lnTo>
                <a:lnTo>
                  <a:pt x="810" y="19"/>
                </a:lnTo>
                <a:lnTo>
                  <a:pt x="788" y="0"/>
                </a:lnTo>
                <a:lnTo>
                  <a:pt x="760" y="11"/>
                </a:lnTo>
                <a:lnTo>
                  <a:pt x="721" y="57"/>
                </a:lnTo>
                <a:lnTo>
                  <a:pt x="664" y="74"/>
                </a:lnTo>
                <a:lnTo>
                  <a:pt x="549" y="37"/>
                </a:lnTo>
                <a:lnTo>
                  <a:pt x="461" y="35"/>
                </a:lnTo>
                <a:lnTo>
                  <a:pt x="433" y="44"/>
                </a:lnTo>
                <a:lnTo>
                  <a:pt x="406" y="37"/>
                </a:lnTo>
                <a:lnTo>
                  <a:pt x="379" y="51"/>
                </a:lnTo>
                <a:lnTo>
                  <a:pt x="348" y="52"/>
                </a:lnTo>
                <a:lnTo>
                  <a:pt x="321" y="38"/>
                </a:lnTo>
                <a:lnTo>
                  <a:pt x="232" y="41"/>
                </a:lnTo>
                <a:lnTo>
                  <a:pt x="95" y="103"/>
                </a:lnTo>
                <a:lnTo>
                  <a:pt x="64" y="155"/>
                </a:lnTo>
                <a:lnTo>
                  <a:pt x="38" y="172"/>
                </a:lnTo>
                <a:lnTo>
                  <a:pt x="0" y="166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4" name="Freeform 116">
            <a:extLst>
              <a:ext uri="{FF2B5EF4-FFF2-40B4-BE49-F238E27FC236}">
                <a16:creationId xmlns:a16="http://schemas.microsoft.com/office/drawing/2014/main" id="{0601A856-79B6-464E-83D7-B36FBF51682A}"/>
              </a:ext>
            </a:extLst>
          </p:cNvPr>
          <p:cNvSpPr>
            <a:spLocks/>
          </p:cNvSpPr>
          <p:nvPr/>
        </p:nvSpPr>
        <p:spPr bwMode="auto">
          <a:xfrm rot="21249101">
            <a:off x="7631975" y="3141099"/>
            <a:ext cx="502763" cy="358826"/>
          </a:xfrm>
          <a:custGeom>
            <a:avLst/>
            <a:gdLst>
              <a:gd name="T0" fmla="*/ 2147483647 w 1199"/>
              <a:gd name="T1" fmla="*/ 2147483647 h 936"/>
              <a:gd name="T2" fmla="*/ 2147483647 w 1199"/>
              <a:gd name="T3" fmla="*/ 2147483647 h 936"/>
              <a:gd name="T4" fmla="*/ 2147483647 w 1199"/>
              <a:gd name="T5" fmla="*/ 2147483647 h 936"/>
              <a:gd name="T6" fmla="*/ 2147483647 w 1199"/>
              <a:gd name="T7" fmla="*/ 2147483647 h 936"/>
              <a:gd name="T8" fmla="*/ 2147483647 w 1199"/>
              <a:gd name="T9" fmla="*/ 2147483647 h 936"/>
              <a:gd name="T10" fmla="*/ 2147483647 w 1199"/>
              <a:gd name="T11" fmla="*/ 2147483647 h 936"/>
              <a:gd name="T12" fmla="*/ 2147483647 w 1199"/>
              <a:gd name="T13" fmla="*/ 2147483647 h 936"/>
              <a:gd name="T14" fmla="*/ 2147483647 w 1199"/>
              <a:gd name="T15" fmla="*/ 2147483647 h 936"/>
              <a:gd name="T16" fmla="*/ 2147483647 w 1199"/>
              <a:gd name="T17" fmla="*/ 2147483647 h 936"/>
              <a:gd name="T18" fmla="*/ 2147483647 w 1199"/>
              <a:gd name="T19" fmla="*/ 2147483647 h 936"/>
              <a:gd name="T20" fmla="*/ 2147483647 w 1199"/>
              <a:gd name="T21" fmla="*/ 2147483647 h 936"/>
              <a:gd name="T22" fmla="*/ 2147483647 w 1199"/>
              <a:gd name="T23" fmla="*/ 2147483647 h 936"/>
              <a:gd name="T24" fmla="*/ 2147483647 w 1199"/>
              <a:gd name="T25" fmla="*/ 2147483647 h 936"/>
              <a:gd name="T26" fmla="*/ 2147483647 w 1199"/>
              <a:gd name="T27" fmla="*/ 2147483647 h 936"/>
              <a:gd name="T28" fmla="*/ 2147483647 w 1199"/>
              <a:gd name="T29" fmla="*/ 2147483647 h 936"/>
              <a:gd name="T30" fmla="*/ 2147483647 w 1199"/>
              <a:gd name="T31" fmla="*/ 2147483647 h 936"/>
              <a:gd name="T32" fmla="*/ 2147483647 w 1199"/>
              <a:gd name="T33" fmla="*/ 2147483647 h 936"/>
              <a:gd name="T34" fmla="*/ 2147483647 w 1199"/>
              <a:gd name="T35" fmla="*/ 2147483647 h 936"/>
              <a:gd name="T36" fmla="*/ 2147483647 w 1199"/>
              <a:gd name="T37" fmla="*/ 2147483647 h 936"/>
              <a:gd name="T38" fmla="*/ 2147483647 w 1199"/>
              <a:gd name="T39" fmla="*/ 2147483647 h 936"/>
              <a:gd name="T40" fmla="*/ 2147483647 w 1199"/>
              <a:gd name="T41" fmla="*/ 2147483647 h 936"/>
              <a:gd name="T42" fmla="*/ 2147483647 w 1199"/>
              <a:gd name="T43" fmla="*/ 2147483647 h 936"/>
              <a:gd name="T44" fmla="*/ 2147483647 w 1199"/>
              <a:gd name="T45" fmla="*/ 2147483647 h 936"/>
              <a:gd name="T46" fmla="*/ 2147483647 w 1199"/>
              <a:gd name="T47" fmla="*/ 2147483647 h 936"/>
              <a:gd name="T48" fmla="*/ 2147483647 w 1199"/>
              <a:gd name="T49" fmla="*/ 2147483647 h 936"/>
              <a:gd name="T50" fmla="*/ 2147483647 w 1199"/>
              <a:gd name="T51" fmla="*/ 2147483647 h 936"/>
              <a:gd name="T52" fmla="*/ 2147483647 w 1199"/>
              <a:gd name="T53" fmla="*/ 2147483647 h 936"/>
              <a:gd name="T54" fmla="*/ 2147483647 w 1199"/>
              <a:gd name="T55" fmla="*/ 2147483647 h 936"/>
              <a:gd name="T56" fmla="*/ 2147483647 w 1199"/>
              <a:gd name="T57" fmla="*/ 2147483647 h 936"/>
              <a:gd name="T58" fmla="*/ 2147483647 w 1199"/>
              <a:gd name="T59" fmla="*/ 0 h 936"/>
              <a:gd name="T60" fmla="*/ 2147483647 w 1199"/>
              <a:gd name="T61" fmla="*/ 2147483647 h 936"/>
              <a:gd name="T62" fmla="*/ 2147483647 w 1199"/>
              <a:gd name="T63" fmla="*/ 2147483647 h 936"/>
              <a:gd name="T64" fmla="*/ 2147483647 w 1199"/>
              <a:gd name="T65" fmla="*/ 2147483647 h 936"/>
              <a:gd name="T66" fmla="*/ 2147483647 w 1199"/>
              <a:gd name="T67" fmla="*/ 2147483647 h 936"/>
              <a:gd name="T68" fmla="*/ 2147483647 w 1199"/>
              <a:gd name="T69" fmla="*/ 2147483647 h 936"/>
              <a:gd name="T70" fmla="*/ 2147483647 w 1199"/>
              <a:gd name="T71" fmla="*/ 2147483647 h 936"/>
              <a:gd name="T72" fmla="*/ 2147483647 w 1199"/>
              <a:gd name="T73" fmla="*/ 2147483647 h 9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199"/>
              <a:gd name="T112" fmla="*/ 0 h 936"/>
              <a:gd name="T113" fmla="*/ 1199 w 1199"/>
              <a:gd name="T114" fmla="*/ 936 h 9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199" h="936">
                <a:moveTo>
                  <a:pt x="0" y="166"/>
                </a:moveTo>
                <a:lnTo>
                  <a:pt x="20" y="322"/>
                </a:lnTo>
                <a:lnTo>
                  <a:pt x="13" y="235"/>
                </a:lnTo>
                <a:lnTo>
                  <a:pt x="45" y="442"/>
                </a:lnTo>
                <a:lnTo>
                  <a:pt x="54" y="442"/>
                </a:lnTo>
                <a:lnTo>
                  <a:pt x="62" y="471"/>
                </a:lnTo>
                <a:lnTo>
                  <a:pt x="99" y="459"/>
                </a:lnTo>
                <a:lnTo>
                  <a:pt x="121" y="481"/>
                </a:lnTo>
                <a:lnTo>
                  <a:pt x="151" y="488"/>
                </a:lnTo>
                <a:lnTo>
                  <a:pt x="175" y="507"/>
                </a:lnTo>
                <a:lnTo>
                  <a:pt x="265" y="525"/>
                </a:lnTo>
                <a:lnTo>
                  <a:pt x="327" y="518"/>
                </a:lnTo>
                <a:lnTo>
                  <a:pt x="352" y="534"/>
                </a:lnTo>
                <a:lnTo>
                  <a:pt x="397" y="618"/>
                </a:lnTo>
                <a:lnTo>
                  <a:pt x="377" y="678"/>
                </a:lnTo>
                <a:lnTo>
                  <a:pt x="390" y="781"/>
                </a:lnTo>
                <a:lnTo>
                  <a:pt x="522" y="854"/>
                </a:lnTo>
                <a:lnTo>
                  <a:pt x="540" y="899"/>
                </a:lnTo>
                <a:lnTo>
                  <a:pt x="544" y="925"/>
                </a:lnTo>
                <a:lnTo>
                  <a:pt x="604" y="936"/>
                </a:lnTo>
                <a:lnTo>
                  <a:pt x="663" y="919"/>
                </a:lnTo>
                <a:lnTo>
                  <a:pt x="726" y="927"/>
                </a:lnTo>
                <a:lnTo>
                  <a:pt x="754" y="912"/>
                </a:lnTo>
                <a:lnTo>
                  <a:pt x="775" y="890"/>
                </a:lnTo>
                <a:lnTo>
                  <a:pt x="804" y="902"/>
                </a:lnTo>
                <a:lnTo>
                  <a:pt x="835" y="897"/>
                </a:lnTo>
                <a:lnTo>
                  <a:pt x="819" y="842"/>
                </a:lnTo>
                <a:lnTo>
                  <a:pt x="847" y="826"/>
                </a:lnTo>
                <a:lnTo>
                  <a:pt x="876" y="826"/>
                </a:lnTo>
                <a:lnTo>
                  <a:pt x="896" y="800"/>
                </a:lnTo>
                <a:lnTo>
                  <a:pt x="923" y="781"/>
                </a:lnTo>
                <a:lnTo>
                  <a:pt x="953" y="789"/>
                </a:lnTo>
                <a:lnTo>
                  <a:pt x="971" y="814"/>
                </a:lnTo>
                <a:lnTo>
                  <a:pt x="1001" y="827"/>
                </a:lnTo>
                <a:lnTo>
                  <a:pt x="1030" y="813"/>
                </a:lnTo>
                <a:lnTo>
                  <a:pt x="1021" y="783"/>
                </a:lnTo>
                <a:lnTo>
                  <a:pt x="999" y="760"/>
                </a:lnTo>
                <a:lnTo>
                  <a:pt x="984" y="732"/>
                </a:lnTo>
                <a:lnTo>
                  <a:pt x="988" y="701"/>
                </a:lnTo>
                <a:lnTo>
                  <a:pt x="1017" y="647"/>
                </a:lnTo>
                <a:lnTo>
                  <a:pt x="1021" y="521"/>
                </a:lnTo>
                <a:lnTo>
                  <a:pt x="1047" y="503"/>
                </a:lnTo>
                <a:lnTo>
                  <a:pt x="1077" y="496"/>
                </a:lnTo>
                <a:lnTo>
                  <a:pt x="1122" y="455"/>
                </a:lnTo>
                <a:lnTo>
                  <a:pt x="1170" y="452"/>
                </a:lnTo>
                <a:lnTo>
                  <a:pt x="1199" y="381"/>
                </a:lnTo>
                <a:lnTo>
                  <a:pt x="1169" y="369"/>
                </a:lnTo>
                <a:lnTo>
                  <a:pt x="1138" y="372"/>
                </a:lnTo>
                <a:lnTo>
                  <a:pt x="1133" y="313"/>
                </a:lnTo>
                <a:lnTo>
                  <a:pt x="1159" y="297"/>
                </a:lnTo>
                <a:lnTo>
                  <a:pt x="1177" y="272"/>
                </a:lnTo>
                <a:lnTo>
                  <a:pt x="1175" y="265"/>
                </a:lnTo>
                <a:lnTo>
                  <a:pt x="1176" y="261"/>
                </a:lnTo>
                <a:lnTo>
                  <a:pt x="1119" y="238"/>
                </a:lnTo>
                <a:lnTo>
                  <a:pt x="1043" y="160"/>
                </a:lnTo>
                <a:lnTo>
                  <a:pt x="941" y="101"/>
                </a:lnTo>
                <a:lnTo>
                  <a:pt x="882" y="107"/>
                </a:lnTo>
                <a:lnTo>
                  <a:pt x="853" y="100"/>
                </a:lnTo>
                <a:lnTo>
                  <a:pt x="810" y="19"/>
                </a:lnTo>
                <a:lnTo>
                  <a:pt x="788" y="0"/>
                </a:lnTo>
                <a:lnTo>
                  <a:pt x="760" y="11"/>
                </a:lnTo>
                <a:lnTo>
                  <a:pt x="721" y="57"/>
                </a:lnTo>
                <a:lnTo>
                  <a:pt x="664" y="74"/>
                </a:lnTo>
                <a:lnTo>
                  <a:pt x="549" y="37"/>
                </a:lnTo>
                <a:lnTo>
                  <a:pt x="461" y="35"/>
                </a:lnTo>
                <a:lnTo>
                  <a:pt x="433" y="44"/>
                </a:lnTo>
                <a:lnTo>
                  <a:pt x="406" y="37"/>
                </a:lnTo>
                <a:lnTo>
                  <a:pt x="379" y="51"/>
                </a:lnTo>
                <a:lnTo>
                  <a:pt x="348" y="52"/>
                </a:lnTo>
                <a:lnTo>
                  <a:pt x="321" y="38"/>
                </a:lnTo>
                <a:lnTo>
                  <a:pt x="232" y="41"/>
                </a:lnTo>
                <a:lnTo>
                  <a:pt x="95" y="103"/>
                </a:lnTo>
                <a:lnTo>
                  <a:pt x="64" y="155"/>
                </a:lnTo>
                <a:lnTo>
                  <a:pt x="38" y="172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5" name="Freeform 117" descr="Large grid">
            <a:extLst>
              <a:ext uri="{FF2B5EF4-FFF2-40B4-BE49-F238E27FC236}">
                <a16:creationId xmlns:a16="http://schemas.microsoft.com/office/drawing/2014/main" id="{09F5D6BB-EC06-45D8-809E-91E9D9A5A10C}"/>
              </a:ext>
            </a:extLst>
          </p:cNvPr>
          <p:cNvSpPr>
            <a:spLocks/>
          </p:cNvSpPr>
          <p:nvPr/>
        </p:nvSpPr>
        <p:spPr bwMode="auto">
          <a:xfrm rot="21249101">
            <a:off x="7213605" y="3087029"/>
            <a:ext cx="64641" cy="152379"/>
          </a:xfrm>
          <a:custGeom>
            <a:avLst/>
            <a:gdLst>
              <a:gd name="T0" fmla="*/ 0 w 156"/>
              <a:gd name="T1" fmla="*/ 2147483647 h 392"/>
              <a:gd name="T2" fmla="*/ 2147483647 w 156"/>
              <a:gd name="T3" fmla="*/ 2147483647 h 392"/>
              <a:gd name="T4" fmla="*/ 2147483647 w 156"/>
              <a:gd name="T5" fmla="*/ 2147483647 h 392"/>
              <a:gd name="T6" fmla="*/ 2147483647 w 156"/>
              <a:gd name="T7" fmla="*/ 2147483647 h 392"/>
              <a:gd name="T8" fmla="*/ 2147483647 w 156"/>
              <a:gd name="T9" fmla="*/ 0 h 392"/>
              <a:gd name="T10" fmla="*/ 2147483647 w 156"/>
              <a:gd name="T11" fmla="*/ 2147483647 h 392"/>
              <a:gd name="T12" fmla="*/ 0 w 156"/>
              <a:gd name="T13" fmla="*/ 2147483647 h 3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6"/>
              <a:gd name="T22" fmla="*/ 0 h 392"/>
              <a:gd name="T23" fmla="*/ 156 w 156"/>
              <a:gd name="T24" fmla="*/ 392 h 39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6" h="392">
                <a:moveTo>
                  <a:pt x="0" y="392"/>
                </a:moveTo>
                <a:lnTo>
                  <a:pt x="31" y="359"/>
                </a:lnTo>
                <a:lnTo>
                  <a:pt x="141" y="32"/>
                </a:lnTo>
                <a:lnTo>
                  <a:pt x="153" y="15"/>
                </a:lnTo>
                <a:lnTo>
                  <a:pt x="156" y="0"/>
                </a:lnTo>
                <a:lnTo>
                  <a:pt x="138" y="16"/>
                </a:lnTo>
                <a:lnTo>
                  <a:pt x="0" y="39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6" name="Freeform 118" descr="Large grid">
            <a:extLst>
              <a:ext uri="{FF2B5EF4-FFF2-40B4-BE49-F238E27FC236}">
                <a16:creationId xmlns:a16="http://schemas.microsoft.com/office/drawing/2014/main" id="{23C74A03-5841-4FC1-BE95-FE79731497AF}"/>
              </a:ext>
            </a:extLst>
          </p:cNvPr>
          <p:cNvSpPr>
            <a:spLocks/>
          </p:cNvSpPr>
          <p:nvPr/>
        </p:nvSpPr>
        <p:spPr bwMode="auto">
          <a:xfrm rot="21249101">
            <a:off x="7213605" y="3087029"/>
            <a:ext cx="64641" cy="152379"/>
          </a:xfrm>
          <a:custGeom>
            <a:avLst/>
            <a:gdLst>
              <a:gd name="T0" fmla="*/ 0 w 156"/>
              <a:gd name="T1" fmla="*/ 2147483647 h 392"/>
              <a:gd name="T2" fmla="*/ 2147483647 w 156"/>
              <a:gd name="T3" fmla="*/ 2147483647 h 392"/>
              <a:gd name="T4" fmla="*/ 2147483647 w 156"/>
              <a:gd name="T5" fmla="*/ 2147483647 h 392"/>
              <a:gd name="T6" fmla="*/ 2147483647 w 156"/>
              <a:gd name="T7" fmla="*/ 2147483647 h 392"/>
              <a:gd name="T8" fmla="*/ 2147483647 w 156"/>
              <a:gd name="T9" fmla="*/ 0 h 392"/>
              <a:gd name="T10" fmla="*/ 2147483647 w 156"/>
              <a:gd name="T11" fmla="*/ 2147483647 h 392"/>
              <a:gd name="T12" fmla="*/ 0 w 156"/>
              <a:gd name="T13" fmla="*/ 2147483647 h 3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6"/>
              <a:gd name="T22" fmla="*/ 0 h 392"/>
              <a:gd name="T23" fmla="*/ 156 w 156"/>
              <a:gd name="T24" fmla="*/ 392 h 39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6" h="392">
                <a:moveTo>
                  <a:pt x="0" y="392"/>
                </a:moveTo>
                <a:lnTo>
                  <a:pt x="31" y="359"/>
                </a:lnTo>
                <a:lnTo>
                  <a:pt x="141" y="32"/>
                </a:lnTo>
                <a:lnTo>
                  <a:pt x="153" y="15"/>
                </a:lnTo>
                <a:lnTo>
                  <a:pt x="156" y="0"/>
                </a:lnTo>
                <a:lnTo>
                  <a:pt x="138" y="16"/>
                </a:lnTo>
                <a:lnTo>
                  <a:pt x="0" y="392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7" name="Freeform 119" descr="Large grid">
            <a:extLst>
              <a:ext uri="{FF2B5EF4-FFF2-40B4-BE49-F238E27FC236}">
                <a16:creationId xmlns:a16="http://schemas.microsoft.com/office/drawing/2014/main" id="{B3098ADA-A975-48EE-BF0C-AC4F7494ABC9}"/>
              </a:ext>
            </a:extLst>
          </p:cNvPr>
          <p:cNvSpPr>
            <a:spLocks/>
          </p:cNvSpPr>
          <p:nvPr/>
        </p:nvSpPr>
        <p:spPr bwMode="auto">
          <a:xfrm rot="21249101">
            <a:off x="7357251" y="3000189"/>
            <a:ext cx="71823" cy="132716"/>
          </a:xfrm>
          <a:custGeom>
            <a:avLst/>
            <a:gdLst>
              <a:gd name="T0" fmla="*/ 2147483647 w 178"/>
              <a:gd name="T1" fmla="*/ 2147483647 h 351"/>
              <a:gd name="T2" fmla="*/ 2147483647 w 178"/>
              <a:gd name="T3" fmla="*/ 2147483647 h 351"/>
              <a:gd name="T4" fmla="*/ 2147483647 w 178"/>
              <a:gd name="T5" fmla="*/ 2147483647 h 351"/>
              <a:gd name="T6" fmla="*/ 2147483647 w 178"/>
              <a:gd name="T7" fmla="*/ 2147483647 h 351"/>
              <a:gd name="T8" fmla="*/ 2147483647 w 178"/>
              <a:gd name="T9" fmla="*/ 2147483647 h 351"/>
              <a:gd name="T10" fmla="*/ 2147483647 w 178"/>
              <a:gd name="T11" fmla="*/ 2147483647 h 351"/>
              <a:gd name="T12" fmla="*/ 2147483647 w 178"/>
              <a:gd name="T13" fmla="*/ 2147483647 h 351"/>
              <a:gd name="T14" fmla="*/ 2147483647 w 178"/>
              <a:gd name="T15" fmla="*/ 2147483647 h 351"/>
              <a:gd name="T16" fmla="*/ 2147483647 w 178"/>
              <a:gd name="T17" fmla="*/ 2147483647 h 351"/>
              <a:gd name="T18" fmla="*/ 2147483647 w 178"/>
              <a:gd name="T19" fmla="*/ 2147483647 h 351"/>
              <a:gd name="T20" fmla="*/ 2147483647 w 178"/>
              <a:gd name="T21" fmla="*/ 0 h 351"/>
              <a:gd name="T22" fmla="*/ 2147483647 w 178"/>
              <a:gd name="T23" fmla="*/ 2147483647 h 351"/>
              <a:gd name="T24" fmla="*/ 2147483647 w 178"/>
              <a:gd name="T25" fmla="*/ 2147483647 h 351"/>
              <a:gd name="T26" fmla="*/ 2147483647 w 178"/>
              <a:gd name="T27" fmla="*/ 2147483647 h 351"/>
              <a:gd name="T28" fmla="*/ 0 w 178"/>
              <a:gd name="T29" fmla="*/ 2147483647 h 351"/>
              <a:gd name="T30" fmla="*/ 2147483647 w 178"/>
              <a:gd name="T31" fmla="*/ 2147483647 h 351"/>
              <a:gd name="T32" fmla="*/ 2147483647 w 178"/>
              <a:gd name="T33" fmla="*/ 2147483647 h 351"/>
              <a:gd name="T34" fmla="*/ 2147483647 w 178"/>
              <a:gd name="T35" fmla="*/ 2147483647 h 351"/>
              <a:gd name="T36" fmla="*/ 2147483647 w 178"/>
              <a:gd name="T37" fmla="*/ 2147483647 h 351"/>
              <a:gd name="T38" fmla="*/ 2147483647 w 178"/>
              <a:gd name="T39" fmla="*/ 2147483647 h 35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78"/>
              <a:gd name="T61" fmla="*/ 0 h 351"/>
              <a:gd name="T62" fmla="*/ 178 w 178"/>
              <a:gd name="T63" fmla="*/ 351 h 35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78" h="351">
                <a:moveTo>
                  <a:pt x="1" y="351"/>
                </a:moveTo>
                <a:lnTo>
                  <a:pt x="25" y="337"/>
                </a:lnTo>
                <a:lnTo>
                  <a:pt x="57" y="282"/>
                </a:lnTo>
                <a:lnTo>
                  <a:pt x="113" y="231"/>
                </a:lnTo>
                <a:lnTo>
                  <a:pt x="114" y="216"/>
                </a:lnTo>
                <a:lnTo>
                  <a:pt x="153" y="185"/>
                </a:lnTo>
                <a:lnTo>
                  <a:pt x="143" y="79"/>
                </a:lnTo>
                <a:lnTo>
                  <a:pt x="153" y="64"/>
                </a:lnTo>
                <a:lnTo>
                  <a:pt x="174" y="51"/>
                </a:lnTo>
                <a:lnTo>
                  <a:pt x="178" y="8"/>
                </a:lnTo>
                <a:lnTo>
                  <a:pt x="158" y="0"/>
                </a:lnTo>
                <a:lnTo>
                  <a:pt x="136" y="21"/>
                </a:lnTo>
                <a:lnTo>
                  <a:pt x="108" y="7"/>
                </a:lnTo>
                <a:lnTo>
                  <a:pt x="16" y="130"/>
                </a:lnTo>
                <a:lnTo>
                  <a:pt x="0" y="253"/>
                </a:lnTo>
                <a:lnTo>
                  <a:pt x="10" y="271"/>
                </a:lnTo>
                <a:lnTo>
                  <a:pt x="7" y="300"/>
                </a:lnTo>
                <a:lnTo>
                  <a:pt x="26" y="298"/>
                </a:lnTo>
                <a:lnTo>
                  <a:pt x="22" y="320"/>
                </a:lnTo>
                <a:lnTo>
                  <a:pt x="1" y="35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8" name="Freeform 120" descr="Large grid">
            <a:extLst>
              <a:ext uri="{FF2B5EF4-FFF2-40B4-BE49-F238E27FC236}">
                <a16:creationId xmlns:a16="http://schemas.microsoft.com/office/drawing/2014/main" id="{3EE05051-1128-47A0-807E-55F3B112C8E5}"/>
              </a:ext>
            </a:extLst>
          </p:cNvPr>
          <p:cNvSpPr>
            <a:spLocks/>
          </p:cNvSpPr>
          <p:nvPr/>
        </p:nvSpPr>
        <p:spPr bwMode="auto">
          <a:xfrm rot="21249101">
            <a:off x="7357251" y="3000189"/>
            <a:ext cx="71823" cy="132716"/>
          </a:xfrm>
          <a:custGeom>
            <a:avLst/>
            <a:gdLst>
              <a:gd name="T0" fmla="*/ 2147483647 w 178"/>
              <a:gd name="T1" fmla="*/ 2147483647 h 351"/>
              <a:gd name="T2" fmla="*/ 2147483647 w 178"/>
              <a:gd name="T3" fmla="*/ 2147483647 h 351"/>
              <a:gd name="T4" fmla="*/ 2147483647 w 178"/>
              <a:gd name="T5" fmla="*/ 2147483647 h 351"/>
              <a:gd name="T6" fmla="*/ 2147483647 w 178"/>
              <a:gd name="T7" fmla="*/ 2147483647 h 351"/>
              <a:gd name="T8" fmla="*/ 2147483647 w 178"/>
              <a:gd name="T9" fmla="*/ 2147483647 h 351"/>
              <a:gd name="T10" fmla="*/ 2147483647 w 178"/>
              <a:gd name="T11" fmla="*/ 2147483647 h 351"/>
              <a:gd name="T12" fmla="*/ 2147483647 w 178"/>
              <a:gd name="T13" fmla="*/ 2147483647 h 351"/>
              <a:gd name="T14" fmla="*/ 2147483647 w 178"/>
              <a:gd name="T15" fmla="*/ 2147483647 h 351"/>
              <a:gd name="T16" fmla="*/ 2147483647 w 178"/>
              <a:gd name="T17" fmla="*/ 2147483647 h 351"/>
              <a:gd name="T18" fmla="*/ 2147483647 w 178"/>
              <a:gd name="T19" fmla="*/ 2147483647 h 351"/>
              <a:gd name="T20" fmla="*/ 2147483647 w 178"/>
              <a:gd name="T21" fmla="*/ 0 h 351"/>
              <a:gd name="T22" fmla="*/ 2147483647 w 178"/>
              <a:gd name="T23" fmla="*/ 2147483647 h 351"/>
              <a:gd name="T24" fmla="*/ 2147483647 w 178"/>
              <a:gd name="T25" fmla="*/ 2147483647 h 351"/>
              <a:gd name="T26" fmla="*/ 2147483647 w 178"/>
              <a:gd name="T27" fmla="*/ 2147483647 h 351"/>
              <a:gd name="T28" fmla="*/ 0 w 178"/>
              <a:gd name="T29" fmla="*/ 2147483647 h 351"/>
              <a:gd name="T30" fmla="*/ 2147483647 w 178"/>
              <a:gd name="T31" fmla="*/ 2147483647 h 351"/>
              <a:gd name="T32" fmla="*/ 2147483647 w 178"/>
              <a:gd name="T33" fmla="*/ 2147483647 h 351"/>
              <a:gd name="T34" fmla="*/ 2147483647 w 178"/>
              <a:gd name="T35" fmla="*/ 2147483647 h 351"/>
              <a:gd name="T36" fmla="*/ 2147483647 w 178"/>
              <a:gd name="T37" fmla="*/ 2147483647 h 351"/>
              <a:gd name="T38" fmla="*/ 2147483647 w 178"/>
              <a:gd name="T39" fmla="*/ 2147483647 h 35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78"/>
              <a:gd name="T61" fmla="*/ 0 h 351"/>
              <a:gd name="T62" fmla="*/ 178 w 178"/>
              <a:gd name="T63" fmla="*/ 351 h 35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78" h="351">
                <a:moveTo>
                  <a:pt x="1" y="351"/>
                </a:moveTo>
                <a:lnTo>
                  <a:pt x="25" y="337"/>
                </a:lnTo>
                <a:lnTo>
                  <a:pt x="57" y="282"/>
                </a:lnTo>
                <a:lnTo>
                  <a:pt x="113" y="231"/>
                </a:lnTo>
                <a:lnTo>
                  <a:pt x="114" y="216"/>
                </a:lnTo>
                <a:lnTo>
                  <a:pt x="153" y="185"/>
                </a:lnTo>
                <a:lnTo>
                  <a:pt x="143" y="79"/>
                </a:lnTo>
                <a:lnTo>
                  <a:pt x="153" y="64"/>
                </a:lnTo>
                <a:lnTo>
                  <a:pt x="174" y="51"/>
                </a:lnTo>
                <a:lnTo>
                  <a:pt x="178" y="8"/>
                </a:lnTo>
                <a:lnTo>
                  <a:pt x="158" y="0"/>
                </a:lnTo>
                <a:lnTo>
                  <a:pt x="136" y="21"/>
                </a:lnTo>
                <a:lnTo>
                  <a:pt x="108" y="7"/>
                </a:lnTo>
                <a:lnTo>
                  <a:pt x="16" y="130"/>
                </a:lnTo>
                <a:lnTo>
                  <a:pt x="0" y="253"/>
                </a:lnTo>
                <a:lnTo>
                  <a:pt x="10" y="271"/>
                </a:lnTo>
                <a:lnTo>
                  <a:pt x="7" y="300"/>
                </a:lnTo>
                <a:lnTo>
                  <a:pt x="26" y="298"/>
                </a:lnTo>
                <a:lnTo>
                  <a:pt x="22" y="320"/>
                </a:lnTo>
                <a:lnTo>
                  <a:pt x="1" y="35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9" name="Freeform 121">
            <a:extLst>
              <a:ext uri="{FF2B5EF4-FFF2-40B4-BE49-F238E27FC236}">
                <a16:creationId xmlns:a16="http://schemas.microsoft.com/office/drawing/2014/main" id="{608C0441-51E0-4812-829D-120391886126}"/>
              </a:ext>
            </a:extLst>
          </p:cNvPr>
          <p:cNvSpPr>
            <a:spLocks/>
          </p:cNvSpPr>
          <p:nvPr/>
        </p:nvSpPr>
        <p:spPr bwMode="auto">
          <a:xfrm rot="21249101">
            <a:off x="6197305" y="3639195"/>
            <a:ext cx="35912" cy="39324"/>
          </a:xfrm>
          <a:custGeom>
            <a:avLst/>
            <a:gdLst>
              <a:gd name="T0" fmla="*/ 2147483647 w 87"/>
              <a:gd name="T1" fmla="*/ 2147483647 h 101"/>
              <a:gd name="T2" fmla="*/ 2147483647 w 87"/>
              <a:gd name="T3" fmla="*/ 0 h 101"/>
              <a:gd name="T4" fmla="*/ 2147483647 w 87"/>
              <a:gd name="T5" fmla="*/ 2147483647 h 101"/>
              <a:gd name="T6" fmla="*/ 0 w 87"/>
              <a:gd name="T7" fmla="*/ 2147483647 h 101"/>
              <a:gd name="T8" fmla="*/ 2147483647 w 87"/>
              <a:gd name="T9" fmla="*/ 2147483647 h 101"/>
              <a:gd name="T10" fmla="*/ 2147483647 w 87"/>
              <a:gd name="T11" fmla="*/ 2147483647 h 101"/>
              <a:gd name="T12" fmla="*/ 2147483647 w 87"/>
              <a:gd name="T13" fmla="*/ 2147483647 h 1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7"/>
              <a:gd name="T22" fmla="*/ 0 h 101"/>
              <a:gd name="T23" fmla="*/ 87 w 87"/>
              <a:gd name="T24" fmla="*/ 101 h 10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7" h="101">
                <a:moveTo>
                  <a:pt x="75" y="37"/>
                </a:moveTo>
                <a:lnTo>
                  <a:pt x="87" y="0"/>
                </a:lnTo>
                <a:lnTo>
                  <a:pt x="86" y="5"/>
                </a:lnTo>
                <a:lnTo>
                  <a:pt x="0" y="101"/>
                </a:lnTo>
                <a:lnTo>
                  <a:pt x="35" y="87"/>
                </a:lnTo>
                <a:lnTo>
                  <a:pt x="57" y="52"/>
                </a:lnTo>
                <a:lnTo>
                  <a:pt x="75" y="37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0" name="Freeform 122">
            <a:extLst>
              <a:ext uri="{FF2B5EF4-FFF2-40B4-BE49-F238E27FC236}">
                <a16:creationId xmlns:a16="http://schemas.microsoft.com/office/drawing/2014/main" id="{560F5908-C9D4-48BF-9927-2C8B558E19C4}"/>
              </a:ext>
            </a:extLst>
          </p:cNvPr>
          <p:cNvSpPr>
            <a:spLocks/>
          </p:cNvSpPr>
          <p:nvPr/>
        </p:nvSpPr>
        <p:spPr bwMode="auto">
          <a:xfrm rot="21249101">
            <a:off x="6197305" y="3639195"/>
            <a:ext cx="35912" cy="39324"/>
          </a:xfrm>
          <a:custGeom>
            <a:avLst/>
            <a:gdLst>
              <a:gd name="T0" fmla="*/ 2147483647 w 87"/>
              <a:gd name="T1" fmla="*/ 2147483647 h 101"/>
              <a:gd name="T2" fmla="*/ 2147483647 w 87"/>
              <a:gd name="T3" fmla="*/ 0 h 101"/>
              <a:gd name="T4" fmla="*/ 2147483647 w 87"/>
              <a:gd name="T5" fmla="*/ 2147483647 h 101"/>
              <a:gd name="T6" fmla="*/ 0 w 87"/>
              <a:gd name="T7" fmla="*/ 2147483647 h 101"/>
              <a:gd name="T8" fmla="*/ 2147483647 w 87"/>
              <a:gd name="T9" fmla="*/ 2147483647 h 101"/>
              <a:gd name="T10" fmla="*/ 2147483647 w 87"/>
              <a:gd name="T11" fmla="*/ 2147483647 h 101"/>
              <a:gd name="T12" fmla="*/ 2147483647 w 87"/>
              <a:gd name="T13" fmla="*/ 2147483647 h 1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7"/>
              <a:gd name="T22" fmla="*/ 0 h 101"/>
              <a:gd name="T23" fmla="*/ 87 w 87"/>
              <a:gd name="T24" fmla="*/ 101 h 10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7" h="101">
                <a:moveTo>
                  <a:pt x="75" y="37"/>
                </a:moveTo>
                <a:lnTo>
                  <a:pt x="87" y="0"/>
                </a:lnTo>
                <a:lnTo>
                  <a:pt x="86" y="5"/>
                </a:lnTo>
                <a:lnTo>
                  <a:pt x="0" y="101"/>
                </a:lnTo>
                <a:lnTo>
                  <a:pt x="35" y="87"/>
                </a:lnTo>
                <a:lnTo>
                  <a:pt x="57" y="52"/>
                </a:lnTo>
                <a:lnTo>
                  <a:pt x="75" y="37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1" name="Freeform 125">
            <a:extLst>
              <a:ext uri="{FF2B5EF4-FFF2-40B4-BE49-F238E27FC236}">
                <a16:creationId xmlns:a16="http://schemas.microsoft.com/office/drawing/2014/main" id="{7209B70D-2060-4FF8-ADEC-17151C0BB886}"/>
              </a:ext>
            </a:extLst>
          </p:cNvPr>
          <p:cNvSpPr>
            <a:spLocks/>
          </p:cNvSpPr>
          <p:nvPr/>
        </p:nvSpPr>
        <p:spPr bwMode="auto">
          <a:xfrm rot="21249101">
            <a:off x="6277099" y="3625996"/>
            <a:ext cx="23343" cy="13107"/>
          </a:xfrm>
          <a:custGeom>
            <a:avLst/>
            <a:gdLst>
              <a:gd name="T0" fmla="*/ 0 w 57"/>
              <a:gd name="T1" fmla="*/ 2147483647 h 39"/>
              <a:gd name="T2" fmla="*/ 2147483647 w 57"/>
              <a:gd name="T3" fmla="*/ 0 h 39"/>
              <a:gd name="T4" fmla="*/ 2147483647 w 57"/>
              <a:gd name="T5" fmla="*/ 2147483647 h 39"/>
              <a:gd name="T6" fmla="*/ 2147483647 w 57"/>
              <a:gd name="T7" fmla="*/ 2147483647 h 39"/>
              <a:gd name="T8" fmla="*/ 0 w 57"/>
              <a:gd name="T9" fmla="*/ 2147483647 h 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7"/>
              <a:gd name="T16" fmla="*/ 0 h 39"/>
              <a:gd name="T17" fmla="*/ 57 w 57"/>
              <a:gd name="T18" fmla="*/ 39 h 3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7" h="39">
                <a:moveTo>
                  <a:pt x="0" y="6"/>
                </a:moveTo>
                <a:lnTo>
                  <a:pt x="25" y="0"/>
                </a:lnTo>
                <a:lnTo>
                  <a:pt x="57" y="25"/>
                </a:lnTo>
                <a:lnTo>
                  <a:pt x="57" y="39"/>
                </a:lnTo>
                <a:lnTo>
                  <a:pt x="0" y="6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2" name="Freeform 129">
            <a:extLst>
              <a:ext uri="{FF2B5EF4-FFF2-40B4-BE49-F238E27FC236}">
                <a16:creationId xmlns:a16="http://schemas.microsoft.com/office/drawing/2014/main" id="{5C418727-7DB2-4D40-8E27-789F324CDFDD}"/>
              </a:ext>
            </a:extLst>
          </p:cNvPr>
          <p:cNvSpPr>
            <a:spLocks/>
          </p:cNvSpPr>
          <p:nvPr/>
        </p:nvSpPr>
        <p:spPr bwMode="auto">
          <a:xfrm rot="21249101">
            <a:off x="6475620" y="5087609"/>
            <a:ext cx="107735" cy="224471"/>
          </a:xfrm>
          <a:custGeom>
            <a:avLst/>
            <a:gdLst>
              <a:gd name="T0" fmla="*/ 2147483647 w 255"/>
              <a:gd name="T1" fmla="*/ 0 h 588"/>
              <a:gd name="T2" fmla="*/ 2147483647 w 255"/>
              <a:gd name="T3" fmla="*/ 2147483647 h 588"/>
              <a:gd name="T4" fmla="*/ 2147483647 w 255"/>
              <a:gd name="T5" fmla="*/ 2147483647 h 588"/>
              <a:gd name="T6" fmla="*/ 2147483647 w 255"/>
              <a:gd name="T7" fmla="*/ 2147483647 h 588"/>
              <a:gd name="T8" fmla="*/ 2147483647 w 255"/>
              <a:gd name="T9" fmla="*/ 2147483647 h 588"/>
              <a:gd name="T10" fmla="*/ 2147483647 w 255"/>
              <a:gd name="T11" fmla="*/ 2147483647 h 588"/>
              <a:gd name="T12" fmla="*/ 2147483647 w 255"/>
              <a:gd name="T13" fmla="*/ 2147483647 h 588"/>
              <a:gd name="T14" fmla="*/ 2147483647 w 255"/>
              <a:gd name="T15" fmla="*/ 2147483647 h 588"/>
              <a:gd name="T16" fmla="*/ 2147483647 w 255"/>
              <a:gd name="T17" fmla="*/ 2147483647 h 588"/>
              <a:gd name="T18" fmla="*/ 2147483647 w 255"/>
              <a:gd name="T19" fmla="*/ 2147483647 h 588"/>
              <a:gd name="T20" fmla="*/ 2147483647 w 255"/>
              <a:gd name="T21" fmla="*/ 2147483647 h 588"/>
              <a:gd name="T22" fmla="*/ 0 w 255"/>
              <a:gd name="T23" fmla="*/ 2147483647 h 588"/>
              <a:gd name="T24" fmla="*/ 2147483647 w 255"/>
              <a:gd name="T25" fmla="*/ 2147483647 h 588"/>
              <a:gd name="T26" fmla="*/ 2147483647 w 255"/>
              <a:gd name="T27" fmla="*/ 2147483647 h 588"/>
              <a:gd name="T28" fmla="*/ 2147483647 w 255"/>
              <a:gd name="T29" fmla="*/ 2147483647 h 588"/>
              <a:gd name="T30" fmla="*/ 2147483647 w 255"/>
              <a:gd name="T31" fmla="*/ 2147483647 h 588"/>
              <a:gd name="T32" fmla="*/ 2147483647 w 255"/>
              <a:gd name="T33" fmla="*/ 2147483647 h 588"/>
              <a:gd name="T34" fmla="*/ 2147483647 w 255"/>
              <a:gd name="T35" fmla="*/ 2147483647 h 588"/>
              <a:gd name="T36" fmla="*/ 2147483647 w 255"/>
              <a:gd name="T37" fmla="*/ 2147483647 h 588"/>
              <a:gd name="T38" fmla="*/ 2147483647 w 255"/>
              <a:gd name="T39" fmla="*/ 0 h 58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55"/>
              <a:gd name="T61" fmla="*/ 0 h 588"/>
              <a:gd name="T62" fmla="*/ 255 w 255"/>
              <a:gd name="T63" fmla="*/ 588 h 58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55" h="588">
                <a:moveTo>
                  <a:pt x="232" y="0"/>
                </a:moveTo>
                <a:lnTo>
                  <a:pt x="255" y="15"/>
                </a:lnTo>
                <a:lnTo>
                  <a:pt x="250" y="296"/>
                </a:lnTo>
                <a:lnTo>
                  <a:pt x="118" y="588"/>
                </a:lnTo>
                <a:lnTo>
                  <a:pt x="100" y="546"/>
                </a:lnTo>
                <a:lnTo>
                  <a:pt x="74" y="537"/>
                </a:lnTo>
                <a:lnTo>
                  <a:pt x="43" y="515"/>
                </a:lnTo>
                <a:lnTo>
                  <a:pt x="32" y="485"/>
                </a:lnTo>
                <a:lnTo>
                  <a:pt x="41" y="444"/>
                </a:lnTo>
                <a:lnTo>
                  <a:pt x="10" y="427"/>
                </a:lnTo>
                <a:lnTo>
                  <a:pt x="14" y="292"/>
                </a:lnTo>
                <a:lnTo>
                  <a:pt x="0" y="264"/>
                </a:lnTo>
                <a:lnTo>
                  <a:pt x="11" y="187"/>
                </a:lnTo>
                <a:lnTo>
                  <a:pt x="43" y="126"/>
                </a:lnTo>
                <a:lnTo>
                  <a:pt x="63" y="134"/>
                </a:lnTo>
                <a:lnTo>
                  <a:pt x="96" y="127"/>
                </a:lnTo>
                <a:lnTo>
                  <a:pt x="154" y="94"/>
                </a:lnTo>
                <a:lnTo>
                  <a:pt x="200" y="88"/>
                </a:lnTo>
                <a:lnTo>
                  <a:pt x="215" y="67"/>
                </a:lnTo>
                <a:lnTo>
                  <a:pt x="232" y="0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3" name="Freeform 130">
            <a:extLst>
              <a:ext uri="{FF2B5EF4-FFF2-40B4-BE49-F238E27FC236}">
                <a16:creationId xmlns:a16="http://schemas.microsoft.com/office/drawing/2014/main" id="{1D877DDD-3A2A-44AC-BCEC-315DA23C27D3}"/>
              </a:ext>
            </a:extLst>
          </p:cNvPr>
          <p:cNvSpPr>
            <a:spLocks/>
          </p:cNvSpPr>
          <p:nvPr/>
        </p:nvSpPr>
        <p:spPr bwMode="auto">
          <a:xfrm rot="21249101">
            <a:off x="6475620" y="5087609"/>
            <a:ext cx="107735" cy="224471"/>
          </a:xfrm>
          <a:custGeom>
            <a:avLst/>
            <a:gdLst>
              <a:gd name="T0" fmla="*/ 2147483647 w 255"/>
              <a:gd name="T1" fmla="*/ 0 h 588"/>
              <a:gd name="T2" fmla="*/ 2147483647 w 255"/>
              <a:gd name="T3" fmla="*/ 2147483647 h 588"/>
              <a:gd name="T4" fmla="*/ 2147483647 w 255"/>
              <a:gd name="T5" fmla="*/ 2147483647 h 588"/>
              <a:gd name="T6" fmla="*/ 2147483647 w 255"/>
              <a:gd name="T7" fmla="*/ 2147483647 h 588"/>
              <a:gd name="T8" fmla="*/ 2147483647 w 255"/>
              <a:gd name="T9" fmla="*/ 2147483647 h 588"/>
              <a:gd name="T10" fmla="*/ 2147483647 w 255"/>
              <a:gd name="T11" fmla="*/ 2147483647 h 588"/>
              <a:gd name="T12" fmla="*/ 2147483647 w 255"/>
              <a:gd name="T13" fmla="*/ 2147483647 h 588"/>
              <a:gd name="T14" fmla="*/ 2147483647 w 255"/>
              <a:gd name="T15" fmla="*/ 2147483647 h 588"/>
              <a:gd name="T16" fmla="*/ 2147483647 w 255"/>
              <a:gd name="T17" fmla="*/ 2147483647 h 588"/>
              <a:gd name="T18" fmla="*/ 2147483647 w 255"/>
              <a:gd name="T19" fmla="*/ 2147483647 h 588"/>
              <a:gd name="T20" fmla="*/ 2147483647 w 255"/>
              <a:gd name="T21" fmla="*/ 2147483647 h 588"/>
              <a:gd name="T22" fmla="*/ 0 w 255"/>
              <a:gd name="T23" fmla="*/ 2147483647 h 588"/>
              <a:gd name="T24" fmla="*/ 2147483647 w 255"/>
              <a:gd name="T25" fmla="*/ 2147483647 h 588"/>
              <a:gd name="T26" fmla="*/ 2147483647 w 255"/>
              <a:gd name="T27" fmla="*/ 2147483647 h 588"/>
              <a:gd name="T28" fmla="*/ 2147483647 w 255"/>
              <a:gd name="T29" fmla="*/ 2147483647 h 588"/>
              <a:gd name="T30" fmla="*/ 2147483647 w 255"/>
              <a:gd name="T31" fmla="*/ 2147483647 h 588"/>
              <a:gd name="T32" fmla="*/ 2147483647 w 255"/>
              <a:gd name="T33" fmla="*/ 2147483647 h 588"/>
              <a:gd name="T34" fmla="*/ 2147483647 w 255"/>
              <a:gd name="T35" fmla="*/ 2147483647 h 588"/>
              <a:gd name="T36" fmla="*/ 2147483647 w 255"/>
              <a:gd name="T37" fmla="*/ 2147483647 h 588"/>
              <a:gd name="T38" fmla="*/ 2147483647 w 255"/>
              <a:gd name="T39" fmla="*/ 0 h 58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55"/>
              <a:gd name="T61" fmla="*/ 0 h 588"/>
              <a:gd name="T62" fmla="*/ 255 w 255"/>
              <a:gd name="T63" fmla="*/ 588 h 58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55" h="588">
                <a:moveTo>
                  <a:pt x="232" y="0"/>
                </a:moveTo>
                <a:lnTo>
                  <a:pt x="255" y="15"/>
                </a:lnTo>
                <a:lnTo>
                  <a:pt x="250" y="296"/>
                </a:lnTo>
                <a:lnTo>
                  <a:pt x="118" y="588"/>
                </a:lnTo>
                <a:lnTo>
                  <a:pt x="100" y="546"/>
                </a:lnTo>
                <a:lnTo>
                  <a:pt x="74" y="537"/>
                </a:lnTo>
                <a:lnTo>
                  <a:pt x="43" y="515"/>
                </a:lnTo>
                <a:lnTo>
                  <a:pt x="32" y="485"/>
                </a:lnTo>
                <a:lnTo>
                  <a:pt x="41" y="444"/>
                </a:lnTo>
                <a:lnTo>
                  <a:pt x="10" y="427"/>
                </a:lnTo>
                <a:lnTo>
                  <a:pt x="14" y="292"/>
                </a:lnTo>
                <a:lnTo>
                  <a:pt x="0" y="264"/>
                </a:lnTo>
                <a:lnTo>
                  <a:pt x="11" y="187"/>
                </a:lnTo>
                <a:lnTo>
                  <a:pt x="43" y="126"/>
                </a:lnTo>
                <a:lnTo>
                  <a:pt x="63" y="134"/>
                </a:lnTo>
                <a:lnTo>
                  <a:pt x="96" y="127"/>
                </a:lnTo>
                <a:lnTo>
                  <a:pt x="154" y="94"/>
                </a:lnTo>
                <a:lnTo>
                  <a:pt x="200" y="88"/>
                </a:lnTo>
                <a:lnTo>
                  <a:pt x="215" y="67"/>
                </a:lnTo>
                <a:lnTo>
                  <a:pt x="232" y="0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4" name="Freeform 131">
            <a:extLst>
              <a:ext uri="{FF2B5EF4-FFF2-40B4-BE49-F238E27FC236}">
                <a16:creationId xmlns:a16="http://schemas.microsoft.com/office/drawing/2014/main" id="{C8B4D2E6-71D3-4188-8345-C869306CBC80}"/>
              </a:ext>
            </a:extLst>
          </p:cNvPr>
          <p:cNvSpPr>
            <a:spLocks/>
          </p:cNvSpPr>
          <p:nvPr/>
        </p:nvSpPr>
        <p:spPr bwMode="auto">
          <a:xfrm rot="21249101">
            <a:off x="4975302" y="2972244"/>
            <a:ext cx="481216" cy="445666"/>
          </a:xfrm>
          <a:custGeom>
            <a:avLst/>
            <a:gdLst>
              <a:gd name="T0" fmla="*/ 2147483647 w 1148"/>
              <a:gd name="T1" fmla="*/ 2147483647 h 1164"/>
              <a:gd name="T2" fmla="*/ 2147483647 w 1148"/>
              <a:gd name="T3" fmla="*/ 2147483647 h 1164"/>
              <a:gd name="T4" fmla="*/ 2147483647 w 1148"/>
              <a:gd name="T5" fmla="*/ 2147483647 h 1164"/>
              <a:gd name="T6" fmla="*/ 2147483647 w 1148"/>
              <a:gd name="T7" fmla="*/ 2147483647 h 1164"/>
              <a:gd name="T8" fmla="*/ 2147483647 w 1148"/>
              <a:gd name="T9" fmla="*/ 2147483647 h 1164"/>
              <a:gd name="T10" fmla="*/ 2147483647 w 1148"/>
              <a:gd name="T11" fmla="*/ 2147483647 h 1164"/>
              <a:gd name="T12" fmla="*/ 2147483647 w 1148"/>
              <a:gd name="T13" fmla="*/ 2147483647 h 1164"/>
              <a:gd name="T14" fmla="*/ 2147483647 w 1148"/>
              <a:gd name="T15" fmla="*/ 2147483647 h 1164"/>
              <a:gd name="T16" fmla="*/ 2147483647 w 1148"/>
              <a:gd name="T17" fmla="*/ 2147483647 h 1164"/>
              <a:gd name="T18" fmla="*/ 2147483647 w 1148"/>
              <a:gd name="T19" fmla="*/ 2147483647 h 1164"/>
              <a:gd name="T20" fmla="*/ 2147483647 w 1148"/>
              <a:gd name="T21" fmla="*/ 2147483647 h 1164"/>
              <a:gd name="T22" fmla="*/ 2147483647 w 1148"/>
              <a:gd name="T23" fmla="*/ 2147483647 h 1164"/>
              <a:gd name="T24" fmla="*/ 2147483647 w 1148"/>
              <a:gd name="T25" fmla="*/ 2147483647 h 1164"/>
              <a:gd name="T26" fmla="*/ 2147483647 w 1148"/>
              <a:gd name="T27" fmla="*/ 2147483647 h 1164"/>
              <a:gd name="T28" fmla="*/ 2147483647 w 1148"/>
              <a:gd name="T29" fmla="*/ 2147483647 h 1164"/>
              <a:gd name="T30" fmla="*/ 2147483647 w 1148"/>
              <a:gd name="T31" fmla="*/ 2147483647 h 1164"/>
              <a:gd name="T32" fmla="*/ 2147483647 w 1148"/>
              <a:gd name="T33" fmla="*/ 2147483647 h 1164"/>
              <a:gd name="T34" fmla="*/ 2147483647 w 1148"/>
              <a:gd name="T35" fmla="*/ 2147483647 h 1164"/>
              <a:gd name="T36" fmla="*/ 2147483647 w 1148"/>
              <a:gd name="T37" fmla="*/ 2147483647 h 1164"/>
              <a:gd name="T38" fmla="*/ 2147483647 w 1148"/>
              <a:gd name="T39" fmla="*/ 2147483647 h 1164"/>
              <a:gd name="T40" fmla="*/ 2147483647 w 1148"/>
              <a:gd name="T41" fmla="*/ 2147483647 h 1164"/>
              <a:gd name="T42" fmla="*/ 2147483647 w 1148"/>
              <a:gd name="T43" fmla="*/ 2147483647 h 1164"/>
              <a:gd name="T44" fmla="*/ 2147483647 w 1148"/>
              <a:gd name="T45" fmla="*/ 2147483647 h 1164"/>
              <a:gd name="T46" fmla="*/ 2147483647 w 1148"/>
              <a:gd name="T47" fmla="*/ 2147483647 h 1164"/>
              <a:gd name="T48" fmla="*/ 2147483647 w 1148"/>
              <a:gd name="T49" fmla="*/ 2147483647 h 1164"/>
              <a:gd name="T50" fmla="*/ 2147483647 w 1148"/>
              <a:gd name="T51" fmla="*/ 2147483647 h 1164"/>
              <a:gd name="T52" fmla="*/ 2147483647 w 1148"/>
              <a:gd name="T53" fmla="*/ 2147483647 h 1164"/>
              <a:gd name="T54" fmla="*/ 2147483647 w 1148"/>
              <a:gd name="T55" fmla="*/ 2147483647 h 1164"/>
              <a:gd name="T56" fmla="*/ 2147483647 w 1148"/>
              <a:gd name="T57" fmla="*/ 2147483647 h 1164"/>
              <a:gd name="T58" fmla="*/ 2147483647 w 1148"/>
              <a:gd name="T59" fmla="*/ 2147483647 h 1164"/>
              <a:gd name="T60" fmla="*/ 2147483647 w 1148"/>
              <a:gd name="T61" fmla="*/ 2147483647 h 1164"/>
              <a:gd name="T62" fmla="*/ 2147483647 w 1148"/>
              <a:gd name="T63" fmla="*/ 2147483647 h 1164"/>
              <a:gd name="T64" fmla="*/ 2147483647 w 1148"/>
              <a:gd name="T65" fmla="*/ 2147483647 h 1164"/>
              <a:gd name="T66" fmla="*/ 2147483647 w 1148"/>
              <a:gd name="T67" fmla="*/ 2147483647 h 1164"/>
              <a:gd name="T68" fmla="*/ 2147483647 w 1148"/>
              <a:gd name="T69" fmla="*/ 2147483647 h 1164"/>
              <a:gd name="T70" fmla="*/ 2147483647 w 1148"/>
              <a:gd name="T71" fmla="*/ 2147483647 h 1164"/>
              <a:gd name="T72" fmla="*/ 2147483647 w 1148"/>
              <a:gd name="T73" fmla="*/ 2147483647 h 1164"/>
              <a:gd name="T74" fmla="*/ 2147483647 w 1148"/>
              <a:gd name="T75" fmla="*/ 2147483647 h 1164"/>
              <a:gd name="T76" fmla="*/ 2147483647 w 1148"/>
              <a:gd name="T77" fmla="*/ 2147483647 h 1164"/>
              <a:gd name="T78" fmla="*/ 2147483647 w 1148"/>
              <a:gd name="T79" fmla="*/ 2147483647 h 1164"/>
              <a:gd name="T80" fmla="*/ 2147483647 w 1148"/>
              <a:gd name="T81" fmla="*/ 2147483647 h 1164"/>
              <a:gd name="T82" fmla="*/ 2147483647 w 1148"/>
              <a:gd name="T83" fmla="*/ 2147483647 h 116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148"/>
              <a:gd name="T127" fmla="*/ 0 h 1164"/>
              <a:gd name="T128" fmla="*/ 1148 w 1148"/>
              <a:gd name="T129" fmla="*/ 1164 h 116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148" h="1164">
                <a:moveTo>
                  <a:pt x="1127" y="545"/>
                </a:moveTo>
                <a:lnTo>
                  <a:pt x="1125" y="524"/>
                </a:lnTo>
                <a:lnTo>
                  <a:pt x="1146" y="469"/>
                </a:lnTo>
                <a:lnTo>
                  <a:pt x="1148" y="441"/>
                </a:lnTo>
                <a:lnTo>
                  <a:pt x="1118" y="370"/>
                </a:lnTo>
                <a:lnTo>
                  <a:pt x="999" y="353"/>
                </a:lnTo>
                <a:lnTo>
                  <a:pt x="962" y="387"/>
                </a:lnTo>
                <a:lnTo>
                  <a:pt x="901" y="411"/>
                </a:lnTo>
                <a:lnTo>
                  <a:pt x="868" y="373"/>
                </a:lnTo>
                <a:lnTo>
                  <a:pt x="868" y="298"/>
                </a:lnTo>
                <a:lnTo>
                  <a:pt x="826" y="235"/>
                </a:lnTo>
                <a:lnTo>
                  <a:pt x="880" y="222"/>
                </a:lnTo>
                <a:lnTo>
                  <a:pt x="898" y="176"/>
                </a:lnTo>
                <a:lnTo>
                  <a:pt x="936" y="186"/>
                </a:lnTo>
                <a:lnTo>
                  <a:pt x="969" y="159"/>
                </a:lnTo>
                <a:lnTo>
                  <a:pt x="1027" y="26"/>
                </a:lnTo>
                <a:lnTo>
                  <a:pt x="1026" y="15"/>
                </a:lnTo>
                <a:lnTo>
                  <a:pt x="1002" y="11"/>
                </a:lnTo>
                <a:lnTo>
                  <a:pt x="961" y="17"/>
                </a:lnTo>
                <a:lnTo>
                  <a:pt x="952" y="0"/>
                </a:lnTo>
                <a:lnTo>
                  <a:pt x="864" y="28"/>
                </a:lnTo>
                <a:lnTo>
                  <a:pt x="845" y="27"/>
                </a:lnTo>
                <a:lnTo>
                  <a:pt x="819" y="58"/>
                </a:lnTo>
                <a:lnTo>
                  <a:pt x="821" y="76"/>
                </a:lnTo>
                <a:lnTo>
                  <a:pt x="813" y="85"/>
                </a:lnTo>
                <a:lnTo>
                  <a:pt x="778" y="103"/>
                </a:lnTo>
                <a:lnTo>
                  <a:pt x="725" y="114"/>
                </a:lnTo>
                <a:lnTo>
                  <a:pt x="724" y="140"/>
                </a:lnTo>
                <a:lnTo>
                  <a:pt x="755" y="152"/>
                </a:lnTo>
                <a:lnTo>
                  <a:pt x="771" y="166"/>
                </a:lnTo>
                <a:lnTo>
                  <a:pt x="793" y="168"/>
                </a:lnTo>
                <a:lnTo>
                  <a:pt x="826" y="181"/>
                </a:lnTo>
                <a:lnTo>
                  <a:pt x="821" y="197"/>
                </a:lnTo>
                <a:lnTo>
                  <a:pt x="796" y="224"/>
                </a:lnTo>
                <a:lnTo>
                  <a:pt x="715" y="241"/>
                </a:lnTo>
                <a:lnTo>
                  <a:pt x="711" y="257"/>
                </a:lnTo>
                <a:lnTo>
                  <a:pt x="698" y="277"/>
                </a:lnTo>
                <a:lnTo>
                  <a:pt x="575" y="236"/>
                </a:lnTo>
                <a:lnTo>
                  <a:pt x="571" y="208"/>
                </a:lnTo>
                <a:lnTo>
                  <a:pt x="487" y="161"/>
                </a:lnTo>
                <a:lnTo>
                  <a:pt x="422" y="206"/>
                </a:lnTo>
                <a:lnTo>
                  <a:pt x="410" y="268"/>
                </a:lnTo>
                <a:lnTo>
                  <a:pt x="392" y="250"/>
                </a:lnTo>
                <a:lnTo>
                  <a:pt x="357" y="242"/>
                </a:lnTo>
                <a:lnTo>
                  <a:pt x="370" y="282"/>
                </a:lnTo>
                <a:lnTo>
                  <a:pt x="442" y="324"/>
                </a:lnTo>
                <a:lnTo>
                  <a:pt x="438" y="349"/>
                </a:lnTo>
                <a:lnTo>
                  <a:pt x="367" y="360"/>
                </a:lnTo>
                <a:lnTo>
                  <a:pt x="341" y="382"/>
                </a:lnTo>
                <a:lnTo>
                  <a:pt x="304" y="391"/>
                </a:lnTo>
                <a:lnTo>
                  <a:pt x="290" y="416"/>
                </a:lnTo>
                <a:lnTo>
                  <a:pt x="304" y="452"/>
                </a:lnTo>
                <a:lnTo>
                  <a:pt x="320" y="463"/>
                </a:lnTo>
                <a:lnTo>
                  <a:pt x="310" y="485"/>
                </a:lnTo>
                <a:lnTo>
                  <a:pt x="358" y="500"/>
                </a:lnTo>
                <a:lnTo>
                  <a:pt x="354" y="528"/>
                </a:lnTo>
                <a:lnTo>
                  <a:pt x="471" y="585"/>
                </a:lnTo>
                <a:lnTo>
                  <a:pt x="473" y="609"/>
                </a:lnTo>
                <a:lnTo>
                  <a:pt x="453" y="617"/>
                </a:lnTo>
                <a:lnTo>
                  <a:pt x="397" y="617"/>
                </a:lnTo>
                <a:lnTo>
                  <a:pt x="358" y="635"/>
                </a:lnTo>
                <a:lnTo>
                  <a:pt x="328" y="686"/>
                </a:lnTo>
                <a:lnTo>
                  <a:pt x="298" y="713"/>
                </a:lnTo>
                <a:lnTo>
                  <a:pt x="215" y="745"/>
                </a:lnTo>
                <a:lnTo>
                  <a:pt x="344" y="779"/>
                </a:lnTo>
                <a:lnTo>
                  <a:pt x="428" y="742"/>
                </a:lnTo>
                <a:lnTo>
                  <a:pt x="412" y="786"/>
                </a:lnTo>
                <a:lnTo>
                  <a:pt x="442" y="803"/>
                </a:lnTo>
                <a:lnTo>
                  <a:pt x="442" y="811"/>
                </a:lnTo>
                <a:lnTo>
                  <a:pt x="244" y="771"/>
                </a:lnTo>
                <a:lnTo>
                  <a:pt x="177" y="817"/>
                </a:lnTo>
                <a:lnTo>
                  <a:pt x="163" y="841"/>
                </a:lnTo>
                <a:lnTo>
                  <a:pt x="147" y="849"/>
                </a:lnTo>
                <a:lnTo>
                  <a:pt x="127" y="834"/>
                </a:lnTo>
                <a:lnTo>
                  <a:pt x="100" y="833"/>
                </a:lnTo>
                <a:lnTo>
                  <a:pt x="78" y="818"/>
                </a:lnTo>
                <a:lnTo>
                  <a:pt x="46" y="828"/>
                </a:lnTo>
                <a:lnTo>
                  <a:pt x="23" y="857"/>
                </a:lnTo>
                <a:lnTo>
                  <a:pt x="121" y="886"/>
                </a:lnTo>
                <a:lnTo>
                  <a:pt x="120" y="907"/>
                </a:lnTo>
                <a:lnTo>
                  <a:pt x="62" y="908"/>
                </a:lnTo>
                <a:lnTo>
                  <a:pt x="15" y="933"/>
                </a:lnTo>
                <a:lnTo>
                  <a:pt x="0" y="953"/>
                </a:lnTo>
                <a:lnTo>
                  <a:pt x="26" y="961"/>
                </a:lnTo>
                <a:lnTo>
                  <a:pt x="28" y="988"/>
                </a:lnTo>
                <a:lnTo>
                  <a:pt x="35" y="991"/>
                </a:lnTo>
                <a:lnTo>
                  <a:pt x="131" y="1000"/>
                </a:lnTo>
                <a:lnTo>
                  <a:pt x="124" y="1023"/>
                </a:lnTo>
                <a:lnTo>
                  <a:pt x="83" y="1024"/>
                </a:lnTo>
                <a:lnTo>
                  <a:pt x="13" y="1047"/>
                </a:lnTo>
                <a:lnTo>
                  <a:pt x="29" y="1054"/>
                </a:lnTo>
                <a:lnTo>
                  <a:pt x="140" y="1060"/>
                </a:lnTo>
                <a:lnTo>
                  <a:pt x="142" y="1075"/>
                </a:lnTo>
                <a:lnTo>
                  <a:pt x="124" y="1095"/>
                </a:lnTo>
                <a:lnTo>
                  <a:pt x="99" y="1086"/>
                </a:lnTo>
                <a:lnTo>
                  <a:pt x="71" y="1090"/>
                </a:lnTo>
                <a:lnTo>
                  <a:pt x="74" y="1103"/>
                </a:lnTo>
                <a:lnTo>
                  <a:pt x="66" y="1119"/>
                </a:lnTo>
                <a:lnTo>
                  <a:pt x="108" y="1118"/>
                </a:lnTo>
                <a:lnTo>
                  <a:pt x="140" y="1127"/>
                </a:lnTo>
                <a:lnTo>
                  <a:pt x="149" y="1141"/>
                </a:lnTo>
                <a:lnTo>
                  <a:pt x="166" y="1152"/>
                </a:lnTo>
                <a:lnTo>
                  <a:pt x="203" y="1145"/>
                </a:lnTo>
                <a:lnTo>
                  <a:pt x="224" y="1156"/>
                </a:lnTo>
                <a:lnTo>
                  <a:pt x="348" y="1164"/>
                </a:lnTo>
                <a:lnTo>
                  <a:pt x="385" y="1151"/>
                </a:lnTo>
                <a:lnTo>
                  <a:pt x="409" y="1099"/>
                </a:lnTo>
                <a:lnTo>
                  <a:pt x="421" y="1109"/>
                </a:lnTo>
                <a:lnTo>
                  <a:pt x="419" y="1133"/>
                </a:lnTo>
                <a:lnTo>
                  <a:pt x="432" y="1147"/>
                </a:lnTo>
                <a:lnTo>
                  <a:pt x="490" y="1142"/>
                </a:lnTo>
                <a:lnTo>
                  <a:pt x="514" y="1122"/>
                </a:lnTo>
                <a:lnTo>
                  <a:pt x="547" y="1140"/>
                </a:lnTo>
                <a:lnTo>
                  <a:pt x="567" y="1130"/>
                </a:lnTo>
                <a:lnTo>
                  <a:pt x="587" y="1105"/>
                </a:lnTo>
                <a:lnTo>
                  <a:pt x="601" y="1096"/>
                </a:lnTo>
                <a:lnTo>
                  <a:pt x="799" y="1132"/>
                </a:lnTo>
                <a:lnTo>
                  <a:pt x="822" y="1154"/>
                </a:lnTo>
                <a:lnTo>
                  <a:pt x="849" y="1164"/>
                </a:lnTo>
                <a:lnTo>
                  <a:pt x="870" y="1144"/>
                </a:lnTo>
                <a:lnTo>
                  <a:pt x="870" y="1101"/>
                </a:lnTo>
                <a:lnTo>
                  <a:pt x="1013" y="927"/>
                </a:lnTo>
                <a:lnTo>
                  <a:pt x="1045" y="773"/>
                </a:lnTo>
                <a:lnTo>
                  <a:pt x="1061" y="772"/>
                </a:lnTo>
                <a:lnTo>
                  <a:pt x="1091" y="716"/>
                </a:lnTo>
                <a:lnTo>
                  <a:pt x="1088" y="576"/>
                </a:lnTo>
                <a:lnTo>
                  <a:pt x="1101" y="547"/>
                </a:lnTo>
                <a:lnTo>
                  <a:pt x="1127" y="545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5" name="Freeform 132">
            <a:extLst>
              <a:ext uri="{FF2B5EF4-FFF2-40B4-BE49-F238E27FC236}">
                <a16:creationId xmlns:a16="http://schemas.microsoft.com/office/drawing/2014/main" id="{DB37DD8B-4ADC-4648-BB6F-7782151A490E}"/>
              </a:ext>
            </a:extLst>
          </p:cNvPr>
          <p:cNvSpPr>
            <a:spLocks/>
          </p:cNvSpPr>
          <p:nvPr/>
        </p:nvSpPr>
        <p:spPr bwMode="auto">
          <a:xfrm rot="21249101">
            <a:off x="4975302" y="2972244"/>
            <a:ext cx="481216" cy="445666"/>
          </a:xfrm>
          <a:custGeom>
            <a:avLst/>
            <a:gdLst>
              <a:gd name="T0" fmla="*/ 2147483647 w 1148"/>
              <a:gd name="T1" fmla="*/ 2147483647 h 1164"/>
              <a:gd name="T2" fmla="*/ 2147483647 w 1148"/>
              <a:gd name="T3" fmla="*/ 2147483647 h 1164"/>
              <a:gd name="T4" fmla="*/ 2147483647 w 1148"/>
              <a:gd name="T5" fmla="*/ 2147483647 h 1164"/>
              <a:gd name="T6" fmla="*/ 2147483647 w 1148"/>
              <a:gd name="T7" fmla="*/ 2147483647 h 1164"/>
              <a:gd name="T8" fmla="*/ 2147483647 w 1148"/>
              <a:gd name="T9" fmla="*/ 2147483647 h 1164"/>
              <a:gd name="T10" fmla="*/ 2147483647 w 1148"/>
              <a:gd name="T11" fmla="*/ 2147483647 h 1164"/>
              <a:gd name="T12" fmla="*/ 2147483647 w 1148"/>
              <a:gd name="T13" fmla="*/ 2147483647 h 1164"/>
              <a:gd name="T14" fmla="*/ 2147483647 w 1148"/>
              <a:gd name="T15" fmla="*/ 2147483647 h 1164"/>
              <a:gd name="T16" fmla="*/ 2147483647 w 1148"/>
              <a:gd name="T17" fmla="*/ 2147483647 h 1164"/>
              <a:gd name="T18" fmla="*/ 2147483647 w 1148"/>
              <a:gd name="T19" fmla="*/ 2147483647 h 1164"/>
              <a:gd name="T20" fmla="*/ 2147483647 w 1148"/>
              <a:gd name="T21" fmla="*/ 2147483647 h 1164"/>
              <a:gd name="T22" fmla="*/ 2147483647 w 1148"/>
              <a:gd name="T23" fmla="*/ 2147483647 h 1164"/>
              <a:gd name="T24" fmla="*/ 2147483647 w 1148"/>
              <a:gd name="T25" fmla="*/ 2147483647 h 1164"/>
              <a:gd name="T26" fmla="*/ 2147483647 w 1148"/>
              <a:gd name="T27" fmla="*/ 2147483647 h 1164"/>
              <a:gd name="T28" fmla="*/ 2147483647 w 1148"/>
              <a:gd name="T29" fmla="*/ 2147483647 h 1164"/>
              <a:gd name="T30" fmla="*/ 2147483647 w 1148"/>
              <a:gd name="T31" fmla="*/ 2147483647 h 1164"/>
              <a:gd name="T32" fmla="*/ 2147483647 w 1148"/>
              <a:gd name="T33" fmla="*/ 2147483647 h 1164"/>
              <a:gd name="T34" fmla="*/ 2147483647 w 1148"/>
              <a:gd name="T35" fmla="*/ 2147483647 h 1164"/>
              <a:gd name="T36" fmla="*/ 2147483647 w 1148"/>
              <a:gd name="T37" fmla="*/ 2147483647 h 1164"/>
              <a:gd name="T38" fmla="*/ 2147483647 w 1148"/>
              <a:gd name="T39" fmla="*/ 2147483647 h 1164"/>
              <a:gd name="T40" fmla="*/ 2147483647 w 1148"/>
              <a:gd name="T41" fmla="*/ 2147483647 h 1164"/>
              <a:gd name="T42" fmla="*/ 2147483647 w 1148"/>
              <a:gd name="T43" fmla="*/ 2147483647 h 1164"/>
              <a:gd name="T44" fmla="*/ 2147483647 w 1148"/>
              <a:gd name="T45" fmla="*/ 2147483647 h 1164"/>
              <a:gd name="T46" fmla="*/ 2147483647 w 1148"/>
              <a:gd name="T47" fmla="*/ 2147483647 h 1164"/>
              <a:gd name="T48" fmla="*/ 2147483647 w 1148"/>
              <a:gd name="T49" fmla="*/ 2147483647 h 1164"/>
              <a:gd name="T50" fmla="*/ 2147483647 w 1148"/>
              <a:gd name="T51" fmla="*/ 2147483647 h 1164"/>
              <a:gd name="T52" fmla="*/ 2147483647 w 1148"/>
              <a:gd name="T53" fmla="*/ 2147483647 h 1164"/>
              <a:gd name="T54" fmla="*/ 2147483647 w 1148"/>
              <a:gd name="T55" fmla="*/ 2147483647 h 1164"/>
              <a:gd name="T56" fmla="*/ 2147483647 w 1148"/>
              <a:gd name="T57" fmla="*/ 2147483647 h 1164"/>
              <a:gd name="T58" fmla="*/ 2147483647 w 1148"/>
              <a:gd name="T59" fmla="*/ 2147483647 h 1164"/>
              <a:gd name="T60" fmla="*/ 2147483647 w 1148"/>
              <a:gd name="T61" fmla="*/ 2147483647 h 1164"/>
              <a:gd name="T62" fmla="*/ 2147483647 w 1148"/>
              <a:gd name="T63" fmla="*/ 2147483647 h 1164"/>
              <a:gd name="T64" fmla="*/ 2147483647 w 1148"/>
              <a:gd name="T65" fmla="*/ 2147483647 h 1164"/>
              <a:gd name="T66" fmla="*/ 2147483647 w 1148"/>
              <a:gd name="T67" fmla="*/ 2147483647 h 1164"/>
              <a:gd name="T68" fmla="*/ 2147483647 w 1148"/>
              <a:gd name="T69" fmla="*/ 2147483647 h 1164"/>
              <a:gd name="T70" fmla="*/ 2147483647 w 1148"/>
              <a:gd name="T71" fmla="*/ 2147483647 h 1164"/>
              <a:gd name="T72" fmla="*/ 2147483647 w 1148"/>
              <a:gd name="T73" fmla="*/ 2147483647 h 1164"/>
              <a:gd name="T74" fmla="*/ 2147483647 w 1148"/>
              <a:gd name="T75" fmla="*/ 2147483647 h 1164"/>
              <a:gd name="T76" fmla="*/ 2147483647 w 1148"/>
              <a:gd name="T77" fmla="*/ 2147483647 h 1164"/>
              <a:gd name="T78" fmla="*/ 2147483647 w 1148"/>
              <a:gd name="T79" fmla="*/ 2147483647 h 1164"/>
              <a:gd name="T80" fmla="*/ 2147483647 w 1148"/>
              <a:gd name="T81" fmla="*/ 2147483647 h 1164"/>
              <a:gd name="T82" fmla="*/ 2147483647 w 1148"/>
              <a:gd name="T83" fmla="*/ 2147483647 h 116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148"/>
              <a:gd name="T127" fmla="*/ 0 h 1164"/>
              <a:gd name="T128" fmla="*/ 1148 w 1148"/>
              <a:gd name="T129" fmla="*/ 1164 h 116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148" h="1164">
                <a:moveTo>
                  <a:pt x="1127" y="545"/>
                </a:moveTo>
                <a:lnTo>
                  <a:pt x="1125" y="524"/>
                </a:lnTo>
                <a:lnTo>
                  <a:pt x="1146" y="469"/>
                </a:lnTo>
                <a:lnTo>
                  <a:pt x="1148" y="441"/>
                </a:lnTo>
                <a:lnTo>
                  <a:pt x="1118" y="370"/>
                </a:lnTo>
                <a:lnTo>
                  <a:pt x="999" y="353"/>
                </a:lnTo>
                <a:lnTo>
                  <a:pt x="962" y="387"/>
                </a:lnTo>
                <a:lnTo>
                  <a:pt x="901" y="411"/>
                </a:lnTo>
                <a:lnTo>
                  <a:pt x="868" y="373"/>
                </a:lnTo>
                <a:lnTo>
                  <a:pt x="868" y="298"/>
                </a:lnTo>
                <a:lnTo>
                  <a:pt x="826" y="235"/>
                </a:lnTo>
                <a:lnTo>
                  <a:pt x="880" y="222"/>
                </a:lnTo>
                <a:lnTo>
                  <a:pt x="898" y="176"/>
                </a:lnTo>
                <a:lnTo>
                  <a:pt x="936" y="186"/>
                </a:lnTo>
                <a:lnTo>
                  <a:pt x="969" y="159"/>
                </a:lnTo>
                <a:lnTo>
                  <a:pt x="1027" y="26"/>
                </a:lnTo>
                <a:lnTo>
                  <a:pt x="1026" y="15"/>
                </a:lnTo>
                <a:lnTo>
                  <a:pt x="1002" y="11"/>
                </a:lnTo>
                <a:lnTo>
                  <a:pt x="961" y="17"/>
                </a:lnTo>
                <a:lnTo>
                  <a:pt x="952" y="0"/>
                </a:lnTo>
                <a:lnTo>
                  <a:pt x="864" y="28"/>
                </a:lnTo>
                <a:lnTo>
                  <a:pt x="845" y="27"/>
                </a:lnTo>
                <a:lnTo>
                  <a:pt x="819" y="58"/>
                </a:lnTo>
                <a:lnTo>
                  <a:pt x="821" y="76"/>
                </a:lnTo>
                <a:lnTo>
                  <a:pt x="813" y="85"/>
                </a:lnTo>
                <a:lnTo>
                  <a:pt x="778" y="103"/>
                </a:lnTo>
                <a:lnTo>
                  <a:pt x="725" y="114"/>
                </a:lnTo>
                <a:lnTo>
                  <a:pt x="724" y="140"/>
                </a:lnTo>
                <a:lnTo>
                  <a:pt x="755" y="152"/>
                </a:lnTo>
                <a:lnTo>
                  <a:pt x="771" y="166"/>
                </a:lnTo>
                <a:lnTo>
                  <a:pt x="793" y="168"/>
                </a:lnTo>
                <a:lnTo>
                  <a:pt x="826" y="181"/>
                </a:lnTo>
                <a:lnTo>
                  <a:pt x="821" y="197"/>
                </a:lnTo>
                <a:lnTo>
                  <a:pt x="796" y="224"/>
                </a:lnTo>
                <a:lnTo>
                  <a:pt x="715" y="241"/>
                </a:lnTo>
                <a:lnTo>
                  <a:pt x="711" y="257"/>
                </a:lnTo>
                <a:lnTo>
                  <a:pt x="698" y="277"/>
                </a:lnTo>
                <a:lnTo>
                  <a:pt x="575" y="236"/>
                </a:lnTo>
                <a:lnTo>
                  <a:pt x="571" y="208"/>
                </a:lnTo>
                <a:lnTo>
                  <a:pt x="487" y="161"/>
                </a:lnTo>
                <a:lnTo>
                  <a:pt x="422" y="206"/>
                </a:lnTo>
                <a:lnTo>
                  <a:pt x="410" y="268"/>
                </a:lnTo>
                <a:lnTo>
                  <a:pt x="392" y="250"/>
                </a:lnTo>
                <a:lnTo>
                  <a:pt x="357" y="242"/>
                </a:lnTo>
                <a:lnTo>
                  <a:pt x="370" y="282"/>
                </a:lnTo>
                <a:lnTo>
                  <a:pt x="442" y="324"/>
                </a:lnTo>
                <a:lnTo>
                  <a:pt x="438" y="349"/>
                </a:lnTo>
                <a:lnTo>
                  <a:pt x="367" y="360"/>
                </a:lnTo>
                <a:lnTo>
                  <a:pt x="341" y="382"/>
                </a:lnTo>
                <a:lnTo>
                  <a:pt x="304" y="391"/>
                </a:lnTo>
                <a:lnTo>
                  <a:pt x="290" y="416"/>
                </a:lnTo>
                <a:lnTo>
                  <a:pt x="304" y="452"/>
                </a:lnTo>
                <a:lnTo>
                  <a:pt x="320" y="463"/>
                </a:lnTo>
                <a:lnTo>
                  <a:pt x="310" y="485"/>
                </a:lnTo>
                <a:lnTo>
                  <a:pt x="358" y="500"/>
                </a:lnTo>
                <a:lnTo>
                  <a:pt x="354" y="528"/>
                </a:lnTo>
                <a:lnTo>
                  <a:pt x="471" y="585"/>
                </a:lnTo>
                <a:lnTo>
                  <a:pt x="473" y="609"/>
                </a:lnTo>
                <a:lnTo>
                  <a:pt x="453" y="617"/>
                </a:lnTo>
                <a:lnTo>
                  <a:pt x="397" y="617"/>
                </a:lnTo>
                <a:lnTo>
                  <a:pt x="358" y="635"/>
                </a:lnTo>
                <a:lnTo>
                  <a:pt x="328" y="686"/>
                </a:lnTo>
                <a:lnTo>
                  <a:pt x="298" y="713"/>
                </a:lnTo>
                <a:lnTo>
                  <a:pt x="215" y="745"/>
                </a:lnTo>
                <a:lnTo>
                  <a:pt x="344" y="779"/>
                </a:lnTo>
                <a:lnTo>
                  <a:pt x="428" y="742"/>
                </a:lnTo>
                <a:lnTo>
                  <a:pt x="412" y="786"/>
                </a:lnTo>
                <a:lnTo>
                  <a:pt x="442" y="803"/>
                </a:lnTo>
                <a:lnTo>
                  <a:pt x="442" y="811"/>
                </a:lnTo>
                <a:lnTo>
                  <a:pt x="244" y="771"/>
                </a:lnTo>
                <a:lnTo>
                  <a:pt x="177" y="817"/>
                </a:lnTo>
                <a:lnTo>
                  <a:pt x="163" y="841"/>
                </a:lnTo>
                <a:lnTo>
                  <a:pt x="147" y="849"/>
                </a:lnTo>
                <a:lnTo>
                  <a:pt x="127" y="834"/>
                </a:lnTo>
                <a:lnTo>
                  <a:pt x="100" y="833"/>
                </a:lnTo>
                <a:lnTo>
                  <a:pt x="78" y="818"/>
                </a:lnTo>
                <a:lnTo>
                  <a:pt x="46" y="828"/>
                </a:lnTo>
                <a:lnTo>
                  <a:pt x="23" y="857"/>
                </a:lnTo>
                <a:lnTo>
                  <a:pt x="121" y="886"/>
                </a:lnTo>
                <a:lnTo>
                  <a:pt x="120" y="907"/>
                </a:lnTo>
                <a:lnTo>
                  <a:pt x="62" y="908"/>
                </a:lnTo>
                <a:lnTo>
                  <a:pt x="15" y="933"/>
                </a:lnTo>
                <a:lnTo>
                  <a:pt x="0" y="953"/>
                </a:lnTo>
                <a:lnTo>
                  <a:pt x="26" y="961"/>
                </a:lnTo>
                <a:lnTo>
                  <a:pt x="28" y="988"/>
                </a:lnTo>
                <a:lnTo>
                  <a:pt x="35" y="991"/>
                </a:lnTo>
                <a:lnTo>
                  <a:pt x="131" y="1000"/>
                </a:lnTo>
                <a:lnTo>
                  <a:pt x="124" y="1023"/>
                </a:lnTo>
                <a:lnTo>
                  <a:pt x="83" y="1024"/>
                </a:lnTo>
                <a:lnTo>
                  <a:pt x="13" y="1047"/>
                </a:lnTo>
                <a:lnTo>
                  <a:pt x="29" y="1054"/>
                </a:lnTo>
                <a:lnTo>
                  <a:pt x="140" y="1060"/>
                </a:lnTo>
                <a:lnTo>
                  <a:pt x="142" y="1075"/>
                </a:lnTo>
                <a:lnTo>
                  <a:pt x="124" y="1095"/>
                </a:lnTo>
                <a:lnTo>
                  <a:pt x="99" y="1086"/>
                </a:lnTo>
                <a:lnTo>
                  <a:pt x="71" y="1090"/>
                </a:lnTo>
                <a:lnTo>
                  <a:pt x="74" y="1103"/>
                </a:lnTo>
                <a:lnTo>
                  <a:pt x="66" y="1119"/>
                </a:lnTo>
                <a:lnTo>
                  <a:pt x="108" y="1118"/>
                </a:lnTo>
                <a:lnTo>
                  <a:pt x="140" y="1127"/>
                </a:lnTo>
                <a:lnTo>
                  <a:pt x="149" y="1141"/>
                </a:lnTo>
                <a:lnTo>
                  <a:pt x="166" y="1152"/>
                </a:lnTo>
                <a:lnTo>
                  <a:pt x="203" y="1145"/>
                </a:lnTo>
                <a:lnTo>
                  <a:pt x="224" y="1156"/>
                </a:lnTo>
                <a:lnTo>
                  <a:pt x="348" y="1164"/>
                </a:lnTo>
                <a:lnTo>
                  <a:pt x="385" y="1151"/>
                </a:lnTo>
                <a:lnTo>
                  <a:pt x="409" y="1099"/>
                </a:lnTo>
                <a:lnTo>
                  <a:pt x="421" y="1109"/>
                </a:lnTo>
                <a:lnTo>
                  <a:pt x="419" y="1133"/>
                </a:lnTo>
                <a:lnTo>
                  <a:pt x="432" y="1147"/>
                </a:lnTo>
                <a:lnTo>
                  <a:pt x="490" y="1142"/>
                </a:lnTo>
                <a:lnTo>
                  <a:pt x="514" y="1122"/>
                </a:lnTo>
                <a:lnTo>
                  <a:pt x="547" y="1140"/>
                </a:lnTo>
                <a:lnTo>
                  <a:pt x="567" y="1130"/>
                </a:lnTo>
                <a:lnTo>
                  <a:pt x="587" y="1105"/>
                </a:lnTo>
                <a:lnTo>
                  <a:pt x="601" y="1096"/>
                </a:lnTo>
                <a:lnTo>
                  <a:pt x="799" y="1132"/>
                </a:lnTo>
                <a:lnTo>
                  <a:pt x="822" y="1154"/>
                </a:lnTo>
                <a:lnTo>
                  <a:pt x="849" y="1164"/>
                </a:lnTo>
                <a:lnTo>
                  <a:pt x="870" y="1144"/>
                </a:lnTo>
                <a:lnTo>
                  <a:pt x="870" y="1101"/>
                </a:lnTo>
                <a:lnTo>
                  <a:pt x="1013" y="927"/>
                </a:lnTo>
                <a:lnTo>
                  <a:pt x="1045" y="773"/>
                </a:lnTo>
                <a:lnTo>
                  <a:pt x="1061" y="772"/>
                </a:lnTo>
                <a:lnTo>
                  <a:pt x="1091" y="716"/>
                </a:lnTo>
                <a:lnTo>
                  <a:pt x="1088" y="576"/>
                </a:lnTo>
                <a:lnTo>
                  <a:pt x="1101" y="547"/>
                </a:lnTo>
                <a:lnTo>
                  <a:pt x="1127" y="545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6" name="Freeform 133" descr="Large grid">
            <a:extLst>
              <a:ext uri="{FF2B5EF4-FFF2-40B4-BE49-F238E27FC236}">
                <a16:creationId xmlns:a16="http://schemas.microsoft.com/office/drawing/2014/main" id="{EEAF7A8C-E07A-4F84-A0B4-8939AD7BBA60}"/>
              </a:ext>
            </a:extLst>
          </p:cNvPr>
          <p:cNvSpPr>
            <a:spLocks/>
          </p:cNvSpPr>
          <p:nvPr/>
        </p:nvSpPr>
        <p:spPr bwMode="auto">
          <a:xfrm rot="21249101">
            <a:off x="6744958" y="1466575"/>
            <a:ext cx="958842" cy="1877694"/>
          </a:xfrm>
          <a:custGeom>
            <a:avLst/>
            <a:gdLst>
              <a:gd name="T0" fmla="*/ 2147483647 w 2296"/>
              <a:gd name="T1" fmla="*/ 2147483647 h 4909"/>
              <a:gd name="T2" fmla="*/ 2147483647 w 2296"/>
              <a:gd name="T3" fmla="*/ 2147483647 h 4909"/>
              <a:gd name="T4" fmla="*/ 2147483647 w 2296"/>
              <a:gd name="T5" fmla="*/ 2147483647 h 4909"/>
              <a:gd name="T6" fmla="*/ 2147483647 w 2296"/>
              <a:gd name="T7" fmla="*/ 2147483647 h 4909"/>
              <a:gd name="T8" fmla="*/ 2147483647 w 2296"/>
              <a:gd name="T9" fmla="*/ 2147483647 h 4909"/>
              <a:gd name="T10" fmla="*/ 2147483647 w 2296"/>
              <a:gd name="T11" fmla="*/ 2147483647 h 4909"/>
              <a:gd name="T12" fmla="*/ 2147483647 w 2296"/>
              <a:gd name="T13" fmla="*/ 2147483647 h 4909"/>
              <a:gd name="T14" fmla="*/ 2147483647 w 2296"/>
              <a:gd name="T15" fmla="*/ 2147483647 h 4909"/>
              <a:gd name="T16" fmla="*/ 2147483647 w 2296"/>
              <a:gd name="T17" fmla="*/ 2147483647 h 4909"/>
              <a:gd name="T18" fmla="*/ 2147483647 w 2296"/>
              <a:gd name="T19" fmla="*/ 2147483647 h 4909"/>
              <a:gd name="T20" fmla="*/ 2147483647 w 2296"/>
              <a:gd name="T21" fmla="*/ 2147483647 h 4909"/>
              <a:gd name="T22" fmla="*/ 2147483647 w 2296"/>
              <a:gd name="T23" fmla="*/ 2147483647 h 4909"/>
              <a:gd name="T24" fmla="*/ 2147483647 w 2296"/>
              <a:gd name="T25" fmla="*/ 2147483647 h 4909"/>
              <a:gd name="T26" fmla="*/ 2147483647 w 2296"/>
              <a:gd name="T27" fmla="*/ 2147483647 h 4909"/>
              <a:gd name="T28" fmla="*/ 2147483647 w 2296"/>
              <a:gd name="T29" fmla="*/ 2147483647 h 4909"/>
              <a:gd name="T30" fmla="*/ 2147483647 w 2296"/>
              <a:gd name="T31" fmla="*/ 2147483647 h 4909"/>
              <a:gd name="T32" fmla="*/ 2147483647 w 2296"/>
              <a:gd name="T33" fmla="*/ 2147483647 h 4909"/>
              <a:gd name="T34" fmla="*/ 2147483647 w 2296"/>
              <a:gd name="T35" fmla="*/ 2147483647 h 4909"/>
              <a:gd name="T36" fmla="*/ 2147483647 w 2296"/>
              <a:gd name="T37" fmla="*/ 2147483647 h 4909"/>
              <a:gd name="T38" fmla="*/ 2147483647 w 2296"/>
              <a:gd name="T39" fmla="*/ 2147483647 h 4909"/>
              <a:gd name="T40" fmla="*/ 2147483647 w 2296"/>
              <a:gd name="T41" fmla="*/ 2147483647 h 4909"/>
              <a:gd name="T42" fmla="*/ 2147483647 w 2296"/>
              <a:gd name="T43" fmla="*/ 2147483647 h 4909"/>
              <a:gd name="T44" fmla="*/ 2147483647 w 2296"/>
              <a:gd name="T45" fmla="*/ 2147483647 h 4909"/>
              <a:gd name="T46" fmla="*/ 2147483647 w 2296"/>
              <a:gd name="T47" fmla="*/ 2147483647 h 4909"/>
              <a:gd name="T48" fmla="*/ 2147483647 w 2296"/>
              <a:gd name="T49" fmla="*/ 2147483647 h 4909"/>
              <a:gd name="T50" fmla="*/ 2147483647 w 2296"/>
              <a:gd name="T51" fmla="*/ 2147483647 h 4909"/>
              <a:gd name="T52" fmla="*/ 2147483647 w 2296"/>
              <a:gd name="T53" fmla="*/ 2147483647 h 4909"/>
              <a:gd name="T54" fmla="*/ 2147483647 w 2296"/>
              <a:gd name="T55" fmla="*/ 2147483647 h 4909"/>
              <a:gd name="T56" fmla="*/ 2147483647 w 2296"/>
              <a:gd name="T57" fmla="*/ 2147483647 h 4909"/>
              <a:gd name="T58" fmla="*/ 2147483647 w 2296"/>
              <a:gd name="T59" fmla="*/ 2147483647 h 4909"/>
              <a:gd name="T60" fmla="*/ 2147483647 w 2296"/>
              <a:gd name="T61" fmla="*/ 2147483647 h 4909"/>
              <a:gd name="T62" fmla="*/ 2147483647 w 2296"/>
              <a:gd name="T63" fmla="*/ 2147483647 h 4909"/>
              <a:gd name="T64" fmla="*/ 2147483647 w 2296"/>
              <a:gd name="T65" fmla="*/ 2147483647 h 4909"/>
              <a:gd name="T66" fmla="*/ 2147483647 w 2296"/>
              <a:gd name="T67" fmla="*/ 2147483647 h 4909"/>
              <a:gd name="T68" fmla="*/ 2147483647 w 2296"/>
              <a:gd name="T69" fmla="*/ 2147483647 h 4909"/>
              <a:gd name="T70" fmla="*/ 2147483647 w 2296"/>
              <a:gd name="T71" fmla="*/ 2147483647 h 4909"/>
              <a:gd name="T72" fmla="*/ 2147483647 w 2296"/>
              <a:gd name="T73" fmla="*/ 2147483647 h 4909"/>
              <a:gd name="T74" fmla="*/ 2147483647 w 2296"/>
              <a:gd name="T75" fmla="*/ 2147483647 h 4909"/>
              <a:gd name="T76" fmla="*/ 2147483647 w 2296"/>
              <a:gd name="T77" fmla="*/ 2147483647 h 4909"/>
              <a:gd name="T78" fmla="*/ 2147483647 w 2296"/>
              <a:gd name="T79" fmla="*/ 2147483647 h 4909"/>
              <a:gd name="T80" fmla="*/ 2147483647 w 2296"/>
              <a:gd name="T81" fmla="*/ 2147483647 h 4909"/>
              <a:gd name="T82" fmla="*/ 2147483647 w 2296"/>
              <a:gd name="T83" fmla="*/ 2147483647 h 4909"/>
              <a:gd name="T84" fmla="*/ 2147483647 w 2296"/>
              <a:gd name="T85" fmla="*/ 2147483647 h 4909"/>
              <a:gd name="T86" fmla="*/ 2147483647 w 2296"/>
              <a:gd name="T87" fmla="*/ 2147483647 h 4909"/>
              <a:gd name="T88" fmla="*/ 2147483647 w 2296"/>
              <a:gd name="T89" fmla="*/ 2147483647 h 4909"/>
              <a:gd name="T90" fmla="*/ 2147483647 w 2296"/>
              <a:gd name="T91" fmla="*/ 2147483647 h 4909"/>
              <a:gd name="T92" fmla="*/ 2147483647 w 2296"/>
              <a:gd name="T93" fmla="*/ 2147483647 h 4909"/>
              <a:gd name="T94" fmla="*/ 2147483647 w 2296"/>
              <a:gd name="T95" fmla="*/ 2147483647 h 4909"/>
              <a:gd name="T96" fmla="*/ 2147483647 w 2296"/>
              <a:gd name="T97" fmla="*/ 2147483647 h 4909"/>
              <a:gd name="T98" fmla="*/ 2147483647 w 2296"/>
              <a:gd name="T99" fmla="*/ 2147483647 h 4909"/>
              <a:gd name="T100" fmla="*/ 2147483647 w 2296"/>
              <a:gd name="T101" fmla="*/ 2147483647 h 4909"/>
              <a:gd name="T102" fmla="*/ 2147483647 w 2296"/>
              <a:gd name="T103" fmla="*/ 2147483647 h 4909"/>
              <a:gd name="T104" fmla="*/ 2147483647 w 2296"/>
              <a:gd name="T105" fmla="*/ 2147483647 h 4909"/>
              <a:gd name="T106" fmla="*/ 2147483647 w 2296"/>
              <a:gd name="T107" fmla="*/ 2147483647 h 4909"/>
              <a:gd name="T108" fmla="*/ 2147483647 w 2296"/>
              <a:gd name="T109" fmla="*/ 2147483647 h 4909"/>
              <a:gd name="T110" fmla="*/ 2147483647 w 2296"/>
              <a:gd name="T111" fmla="*/ 2147483647 h 4909"/>
              <a:gd name="T112" fmla="*/ 2147483647 w 2296"/>
              <a:gd name="T113" fmla="*/ 2147483647 h 4909"/>
              <a:gd name="T114" fmla="*/ 2147483647 w 2296"/>
              <a:gd name="T115" fmla="*/ 2147483647 h 490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296"/>
              <a:gd name="T175" fmla="*/ 0 h 4909"/>
              <a:gd name="T176" fmla="*/ 2296 w 2296"/>
              <a:gd name="T177" fmla="*/ 4909 h 490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296" h="4909">
                <a:moveTo>
                  <a:pt x="29" y="3518"/>
                </a:moveTo>
                <a:lnTo>
                  <a:pt x="0" y="3558"/>
                </a:lnTo>
                <a:lnTo>
                  <a:pt x="0" y="3756"/>
                </a:lnTo>
                <a:lnTo>
                  <a:pt x="16" y="3762"/>
                </a:lnTo>
                <a:lnTo>
                  <a:pt x="20" y="3777"/>
                </a:lnTo>
                <a:lnTo>
                  <a:pt x="19" y="3804"/>
                </a:lnTo>
                <a:lnTo>
                  <a:pt x="13" y="3816"/>
                </a:lnTo>
                <a:lnTo>
                  <a:pt x="37" y="3793"/>
                </a:lnTo>
                <a:lnTo>
                  <a:pt x="47" y="3770"/>
                </a:lnTo>
                <a:lnTo>
                  <a:pt x="60" y="3786"/>
                </a:lnTo>
                <a:lnTo>
                  <a:pt x="46" y="3818"/>
                </a:lnTo>
                <a:lnTo>
                  <a:pt x="61" y="3819"/>
                </a:lnTo>
                <a:lnTo>
                  <a:pt x="68" y="3827"/>
                </a:lnTo>
                <a:lnTo>
                  <a:pt x="49" y="3838"/>
                </a:lnTo>
                <a:lnTo>
                  <a:pt x="19" y="3871"/>
                </a:lnTo>
                <a:lnTo>
                  <a:pt x="72" y="3897"/>
                </a:lnTo>
                <a:lnTo>
                  <a:pt x="79" y="3934"/>
                </a:lnTo>
                <a:lnTo>
                  <a:pt x="61" y="3989"/>
                </a:lnTo>
                <a:lnTo>
                  <a:pt x="100" y="3985"/>
                </a:lnTo>
                <a:lnTo>
                  <a:pt x="103" y="4027"/>
                </a:lnTo>
                <a:lnTo>
                  <a:pt x="77" y="4055"/>
                </a:lnTo>
                <a:lnTo>
                  <a:pt x="81" y="4109"/>
                </a:lnTo>
                <a:lnTo>
                  <a:pt x="71" y="4151"/>
                </a:lnTo>
                <a:lnTo>
                  <a:pt x="102" y="4155"/>
                </a:lnTo>
                <a:lnTo>
                  <a:pt x="132" y="4316"/>
                </a:lnTo>
                <a:lnTo>
                  <a:pt x="167" y="4357"/>
                </a:lnTo>
                <a:lnTo>
                  <a:pt x="182" y="4401"/>
                </a:lnTo>
                <a:lnTo>
                  <a:pt x="220" y="4433"/>
                </a:lnTo>
                <a:lnTo>
                  <a:pt x="244" y="4473"/>
                </a:lnTo>
                <a:lnTo>
                  <a:pt x="241" y="4502"/>
                </a:lnTo>
                <a:lnTo>
                  <a:pt x="217" y="4513"/>
                </a:lnTo>
                <a:lnTo>
                  <a:pt x="191" y="4506"/>
                </a:lnTo>
                <a:lnTo>
                  <a:pt x="183" y="4518"/>
                </a:lnTo>
                <a:lnTo>
                  <a:pt x="203" y="4581"/>
                </a:lnTo>
                <a:lnTo>
                  <a:pt x="175" y="4576"/>
                </a:lnTo>
                <a:lnTo>
                  <a:pt x="151" y="4561"/>
                </a:lnTo>
                <a:lnTo>
                  <a:pt x="147" y="4584"/>
                </a:lnTo>
                <a:lnTo>
                  <a:pt x="226" y="4799"/>
                </a:lnTo>
                <a:lnTo>
                  <a:pt x="213" y="4819"/>
                </a:lnTo>
                <a:lnTo>
                  <a:pt x="204" y="4861"/>
                </a:lnTo>
                <a:lnTo>
                  <a:pt x="193" y="4864"/>
                </a:lnTo>
                <a:lnTo>
                  <a:pt x="186" y="4882"/>
                </a:lnTo>
                <a:lnTo>
                  <a:pt x="234" y="4884"/>
                </a:lnTo>
                <a:lnTo>
                  <a:pt x="276" y="4902"/>
                </a:lnTo>
                <a:lnTo>
                  <a:pt x="346" y="4883"/>
                </a:lnTo>
                <a:lnTo>
                  <a:pt x="409" y="4886"/>
                </a:lnTo>
                <a:lnTo>
                  <a:pt x="446" y="4909"/>
                </a:lnTo>
                <a:lnTo>
                  <a:pt x="466" y="4894"/>
                </a:lnTo>
                <a:lnTo>
                  <a:pt x="486" y="4844"/>
                </a:lnTo>
                <a:lnTo>
                  <a:pt x="481" y="4763"/>
                </a:lnTo>
                <a:lnTo>
                  <a:pt x="529" y="4672"/>
                </a:lnTo>
                <a:lnTo>
                  <a:pt x="564" y="4686"/>
                </a:lnTo>
                <a:lnTo>
                  <a:pt x="584" y="4650"/>
                </a:lnTo>
                <a:lnTo>
                  <a:pt x="623" y="4629"/>
                </a:lnTo>
                <a:lnTo>
                  <a:pt x="676" y="4634"/>
                </a:lnTo>
                <a:lnTo>
                  <a:pt x="708" y="4649"/>
                </a:lnTo>
                <a:lnTo>
                  <a:pt x="750" y="4642"/>
                </a:lnTo>
                <a:lnTo>
                  <a:pt x="793" y="4658"/>
                </a:lnTo>
                <a:lnTo>
                  <a:pt x="836" y="4660"/>
                </a:lnTo>
                <a:lnTo>
                  <a:pt x="932" y="4448"/>
                </a:lnTo>
                <a:lnTo>
                  <a:pt x="956" y="4276"/>
                </a:lnTo>
                <a:lnTo>
                  <a:pt x="995" y="4199"/>
                </a:lnTo>
                <a:lnTo>
                  <a:pt x="995" y="4159"/>
                </a:lnTo>
                <a:lnTo>
                  <a:pt x="981" y="4136"/>
                </a:lnTo>
                <a:lnTo>
                  <a:pt x="1004" y="4100"/>
                </a:lnTo>
                <a:lnTo>
                  <a:pt x="1000" y="4069"/>
                </a:lnTo>
                <a:lnTo>
                  <a:pt x="984" y="4043"/>
                </a:lnTo>
                <a:lnTo>
                  <a:pt x="981" y="4025"/>
                </a:lnTo>
                <a:lnTo>
                  <a:pt x="985" y="4010"/>
                </a:lnTo>
                <a:lnTo>
                  <a:pt x="1006" y="4022"/>
                </a:lnTo>
                <a:lnTo>
                  <a:pt x="1023" y="4021"/>
                </a:lnTo>
                <a:lnTo>
                  <a:pt x="1014" y="3996"/>
                </a:lnTo>
                <a:lnTo>
                  <a:pt x="1017" y="3982"/>
                </a:lnTo>
                <a:lnTo>
                  <a:pt x="1029" y="3961"/>
                </a:lnTo>
                <a:lnTo>
                  <a:pt x="1027" y="3944"/>
                </a:lnTo>
                <a:lnTo>
                  <a:pt x="1038" y="3886"/>
                </a:lnTo>
                <a:lnTo>
                  <a:pt x="1035" y="3869"/>
                </a:lnTo>
                <a:lnTo>
                  <a:pt x="977" y="3825"/>
                </a:lnTo>
                <a:lnTo>
                  <a:pt x="985" y="3823"/>
                </a:lnTo>
                <a:lnTo>
                  <a:pt x="1016" y="3835"/>
                </a:lnTo>
                <a:lnTo>
                  <a:pt x="1049" y="3831"/>
                </a:lnTo>
                <a:lnTo>
                  <a:pt x="1059" y="3815"/>
                </a:lnTo>
                <a:lnTo>
                  <a:pt x="1027" y="3785"/>
                </a:lnTo>
                <a:lnTo>
                  <a:pt x="931" y="3765"/>
                </a:lnTo>
                <a:lnTo>
                  <a:pt x="938" y="3756"/>
                </a:lnTo>
                <a:lnTo>
                  <a:pt x="1016" y="3750"/>
                </a:lnTo>
                <a:lnTo>
                  <a:pt x="1059" y="3768"/>
                </a:lnTo>
                <a:lnTo>
                  <a:pt x="1084" y="3756"/>
                </a:lnTo>
                <a:lnTo>
                  <a:pt x="1093" y="3725"/>
                </a:lnTo>
                <a:lnTo>
                  <a:pt x="1138" y="3725"/>
                </a:lnTo>
                <a:lnTo>
                  <a:pt x="1199" y="3663"/>
                </a:lnTo>
                <a:lnTo>
                  <a:pt x="1201" y="3622"/>
                </a:lnTo>
                <a:lnTo>
                  <a:pt x="1227" y="3631"/>
                </a:lnTo>
                <a:lnTo>
                  <a:pt x="1226" y="3673"/>
                </a:lnTo>
                <a:lnTo>
                  <a:pt x="1267" y="3670"/>
                </a:lnTo>
                <a:lnTo>
                  <a:pt x="1294" y="3627"/>
                </a:lnTo>
                <a:lnTo>
                  <a:pt x="1344" y="3588"/>
                </a:lnTo>
                <a:lnTo>
                  <a:pt x="1336" y="3544"/>
                </a:lnTo>
                <a:lnTo>
                  <a:pt x="1351" y="3561"/>
                </a:lnTo>
                <a:lnTo>
                  <a:pt x="1374" y="3561"/>
                </a:lnTo>
                <a:lnTo>
                  <a:pt x="1374" y="3541"/>
                </a:lnTo>
                <a:lnTo>
                  <a:pt x="1395" y="3525"/>
                </a:lnTo>
                <a:lnTo>
                  <a:pt x="1392" y="3509"/>
                </a:lnTo>
                <a:lnTo>
                  <a:pt x="1212" y="3542"/>
                </a:lnTo>
                <a:lnTo>
                  <a:pt x="1170" y="3532"/>
                </a:lnTo>
                <a:lnTo>
                  <a:pt x="1153" y="3544"/>
                </a:lnTo>
                <a:lnTo>
                  <a:pt x="1147" y="3521"/>
                </a:lnTo>
                <a:lnTo>
                  <a:pt x="1127" y="3501"/>
                </a:lnTo>
                <a:lnTo>
                  <a:pt x="1047" y="3462"/>
                </a:lnTo>
                <a:lnTo>
                  <a:pt x="1000" y="3468"/>
                </a:lnTo>
                <a:lnTo>
                  <a:pt x="981" y="3457"/>
                </a:lnTo>
                <a:lnTo>
                  <a:pt x="1001" y="3447"/>
                </a:lnTo>
                <a:lnTo>
                  <a:pt x="1016" y="3426"/>
                </a:lnTo>
                <a:lnTo>
                  <a:pt x="1038" y="3433"/>
                </a:lnTo>
                <a:lnTo>
                  <a:pt x="1065" y="3427"/>
                </a:lnTo>
                <a:lnTo>
                  <a:pt x="1105" y="3434"/>
                </a:lnTo>
                <a:lnTo>
                  <a:pt x="1110" y="3431"/>
                </a:lnTo>
                <a:lnTo>
                  <a:pt x="1141" y="3464"/>
                </a:lnTo>
                <a:lnTo>
                  <a:pt x="1164" y="3452"/>
                </a:lnTo>
                <a:lnTo>
                  <a:pt x="1166" y="3441"/>
                </a:lnTo>
                <a:lnTo>
                  <a:pt x="1187" y="3460"/>
                </a:lnTo>
                <a:lnTo>
                  <a:pt x="1215" y="3470"/>
                </a:lnTo>
                <a:lnTo>
                  <a:pt x="1226" y="3451"/>
                </a:lnTo>
                <a:lnTo>
                  <a:pt x="1235" y="3462"/>
                </a:lnTo>
                <a:lnTo>
                  <a:pt x="1248" y="3498"/>
                </a:lnTo>
                <a:lnTo>
                  <a:pt x="1275" y="3507"/>
                </a:lnTo>
                <a:lnTo>
                  <a:pt x="1385" y="3453"/>
                </a:lnTo>
                <a:lnTo>
                  <a:pt x="1439" y="3377"/>
                </a:lnTo>
                <a:lnTo>
                  <a:pt x="1452" y="3321"/>
                </a:lnTo>
                <a:lnTo>
                  <a:pt x="1432" y="3271"/>
                </a:lnTo>
                <a:lnTo>
                  <a:pt x="1391" y="3241"/>
                </a:lnTo>
                <a:lnTo>
                  <a:pt x="1362" y="3192"/>
                </a:lnTo>
                <a:lnTo>
                  <a:pt x="1389" y="3190"/>
                </a:lnTo>
                <a:lnTo>
                  <a:pt x="1387" y="3178"/>
                </a:lnTo>
                <a:lnTo>
                  <a:pt x="1316" y="3143"/>
                </a:lnTo>
                <a:lnTo>
                  <a:pt x="1313" y="3112"/>
                </a:lnTo>
                <a:lnTo>
                  <a:pt x="1300" y="3079"/>
                </a:lnTo>
                <a:lnTo>
                  <a:pt x="1244" y="3085"/>
                </a:lnTo>
                <a:lnTo>
                  <a:pt x="1224" y="3050"/>
                </a:lnTo>
                <a:lnTo>
                  <a:pt x="1212" y="3048"/>
                </a:lnTo>
                <a:lnTo>
                  <a:pt x="1212" y="3062"/>
                </a:lnTo>
                <a:lnTo>
                  <a:pt x="1187" y="3121"/>
                </a:lnTo>
                <a:lnTo>
                  <a:pt x="1160" y="3156"/>
                </a:lnTo>
                <a:lnTo>
                  <a:pt x="1075" y="3216"/>
                </a:lnTo>
                <a:lnTo>
                  <a:pt x="1045" y="3214"/>
                </a:lnTo>
                <a:lnTo>
                  <a:pt x="1004" y="3223"/>
                </a:lnTo>
                <a:lnTo>
                  <a:pt x="981" y="3214"/>
                </a:lnTo>
                <a:lnTo>
                  <a:pt x="1011" y="3197"/>
                </a:lnTo>
                <a:lnTo>
                  <a:pt x="1050" y="3190"/>
                </a:lnTo>
                <a:lnTo>
                  <a:pt x="1082" y="3162"/>
                </a:lnTo>
                <a:lnTo>
                  <a:pt x="1114" y="3149"/>
                </a:lnTo>
                <a:lnTo>
                  <a:pt x="1173" y="3101"/>
                </a:lnTo>
                <a:lnTo>
                  <a:pt x="1184" y="3069"/>
                </a:lnTo>
                <a:lnTo>
                  <a:pt x="1185" y="3028"/>
                </a:lnTo>
                <a:lnTo>
                  <a:pt x="1158" y="3021"/>
                </a:lnTo>
                <a:lnTo>
                  <a:pt x="1170" y="2996"/>
                </a:lnTo>
                <a:lnTo>
                  <a:pt x="1174" y="2964"/>
                </a:lnTo>
                <a:lnTo>
                  <a:pt x="1163" y="2934"/>
                </a:lnTo>
                <a:lnTo>
                  <a:pt x="1156" y="2716"/>
                </a:lnTo>
                <a:lnTo>
                  <a:pt x="1172" y="2669"/>
                </a:lnTo>
                <a:lnTo>
                  <a:pt x="1168" y="2650"/>
                </a:lnTo>
                <a:lnTo>
                  <a:pt x="1215" y="2678"/>
                </a:lnTo>
                <a:lnTo>
                  <a:pt x="1218" y="2652"/>
                </a:lnTo>
                <a:lnTo>
                  <a:pt x="1208" y="2584"/>
                </a:lnTo>
                <a:lnTo>
                  <a:pt x="1242" y="2464"/>
                </a:lnTo>
                <a:lnTo>
                  <a:pt x="1221" y="2435"/>
                </a:lnTo>
                <a:lnTo>
                  <a:pt x="1213" y="2408"/>
                </a:lnTo>
                <a:lnTo>
                  <a:pt x="1216" y="2364"/>
                </a:lnTo>
                <a:lnTo>
                  <a:pt x="1265" y="2393"/>
                </a:lnTo>
                <a:lnTo>
                  <a:pt x="1267" y="2385"/>
                </a:lnTo>
                <a:lnTo>
                  <a:pt x="1281" y="2377"/>
                </a:lnTo>
                <a:lnTo>
                  <a:pt x="1300" y="2349"/>
                </a:lnTo>
                <a:lnTo>
                  <a:pt x="1303" y="2341"/>
                </a:lnTo>
                <a:lnTo>
                  <a:pt x="1299" y="2331"/>
                </a:lnTo>
                <a:lnTo>
                  <a:pt x="1309" y="2281"/>
                </a:lnTo>
                <a:lnTo>
                  <a:pt x="1297" y="2249"/>
                </a:lnTo>
                <a:lnTo>
                  <a:pt x="1299" y="2223"/>
                </a:lnTo>
                <a:lnTo>
                  <a:pt x="1306" y="2253"/>
                </a:lnTo>
                <a:lnTo>
                  <a:pt x="1333" y="2276"/>
                </a:lnTo>
                <a:lnTo>
                  <a:pt x="1344" y="2273"/>
                </a:lnTo>
                <a:lnTo>
                  <a:pt x="1362" y="2243"/>
                </a:lnTo>
                <a:lnTo>
                  <a:pt x="1381" y="2255"/>
                </a:lnTo>
                <a:lnTo>
                  <a:pt x="1386" y="2231"/>
                </a:lnTo>
                <a:lnTo>
                  <a:pt x="1399" y="2215"/>
                </a:lnTo>
                <a:lnTo>
                  <a:pt x="1364" y="2198"/>
                </a:lnTo>
                <a:lnTo>
                  <a:pt x="1389" y="2201"/>
                </a:lnTo>
                <a:lnTo>
                  <a:pt x="1415" y="2183"/>
                </a:lnTo>
                <a:lnTo>
                  <a:pt x="1414" y="2171"/>
                </a:lnTo>
                <a:lnTo>
                  <a:pt x="1438" y="2159"/>
                </a:lnTo>
                <a:lnTo>
                  <a:pt x="1440" y="2129"/>
                </a:lnTo>
                <a:lnTo>
                  <a:pt x="1459" y="2123"/>
                </a:lnTo>
                <a:lnTo>
                  <a:pt x="1461" y="2088"/>
                </a:lnTo>
                <a:lnTo>
                  <a:pt x="1481" y="2084"/>
                </a:lnTo>
                <a:lnTo>
                  <a:pt x="1512" y="2091"/>
                </a:lnTo>
                <a:lnTo>
                  <a:pt x="1546" y="2063"/>
                </a:lnTo>
                <a:lnTo>
                  <a:pt x="1558" y="2031"/>
                </a:lnTo>
                <a:lnTo>
                  <a:pt x="1600" y="1998"/>
                </a:lnTo>
                <a:lnTo>
                  <a:pt x="1621" y="2018"/>
                </a:lnTo>
                <a:lnTo>
                  <a:pt x="1653" y="1996"/>
                </a:lnTo>
                <a:lnTo>
                  <a:pt x="1661" y="1968"/>
                </a:lnTo>
                <a:lnTo>
                  <a:pt x="1685" y="1949"/>
                </a:lnTo>
                <a:lnTo>
                  <a:pt x="1706" y="1957"/>
                </a:lnTo>
                <a:lnTo>
                  <a:pt x="1719" y="1943"/>
                </a:lnTo>
                <a:lnTo>
                  <a:pt x="1755" y="1923"/>
                </a:lnTo>
                <a:lnTo>
                  <a:pt x="1770" y="1897"/>
                </a:lnTo>
                <a:lnTo>
                  <a:pt x="1790" y="1886"/>
                </a:lnTo>
                <a:lnTo>
                  <a:pt x="1900" y="1684"/>
                </a:lnTo>
                <a:lnTo>
                  <a:pt x="1904" y="1700"/>
                </a:lnTo>
                <a:lnTo>
                  <a:pt x="1901" y="1729"/>
                </a:lnTo>
                <a:lnTo>
                  <a:pt x="1931" y="1677"/>
                </a:lnTo>
                <a:lnTo>
                  <a:pt x="1915" y="1662"/>
                </a:lnTo>
                <a:lnTo>
                  <a:pt x="1913" y="1646"/>
                </a:lnTo>
                <a:lnTo>
                  <a:pt x="1870" y="1604"/>
                </a:lnTo>
                <a:lnTo>
                  <a:pt x="1865" y="1585"/>
                </a:lnTo>
                <a:lnTo>
                  <a:pt x="1872" y="1580"/>
                </a:lnTo>
                <a:lnTo>
                  <a:pt x="1868" y="1561"/>
                </a:lnTo>
                <a:lnTo>
                  <a:pt x="1854" y="1545"/>
                </a:lnTo>
                <a:lnTo>
                  <a:pt x="1855" y="1535"/>
                </a:lnTo>
                <a:lnTo>
                  <a:pt x="1867" y="1522"/>
                </a:lnTo>
                <a:lnTo>
                  <a:pt x="1870" y="1504"/>
                </a:lnTo>
                <a:lnTo>
                  <a:pt x="1896" y="1491"/>
                </a:lnTo>
                <a:lnTo>
                  <a:pt x="1924" y="1404"/>
                </a:lnTo>
                <a:lnTo>
                  <a:pt x="1895" y="1356"/>
                </a:lnTo>
                <a:lnTo>
                  <a:pt x="1898" y="1349"/>
                </a:lnTo>
                <a:lnTo>
                  <a:pt x="1928" y="1328"/>
                </a:lnTo>
                <a:lnTo>
                  <a:pt x="1929" y="1307"/>
                </a:lnTo>
                <a:lnTo>
                  <a:pt x="1940" y="1304"/>
                </a:lnTo>
                <a:lnTo>
                  <a:pt x="1965" y="1314"/>
                </a:lnTo>
                <a:lnTo>
                  <a:pt x="1973" y="1310"/>
                </a:lnTo>
                <a:lnTo>
                  <a:pt x="1976" y="1291"/>
                </a:lnTo>
                <a:lnTo>
                  <a:pt x="1967" y="1279"/>
                </a:lnTo>
                <a:lnTo>
                  <a:pt x="1994" y="1275"/>
                </a:lnTo>
                <a:lnTo>
                  <a:pt x="1997" y="1259"/>
                </a:lnTo>
                <a:lnTo>
                  <a:pt x="1965" y="1218"/>
                </a:lnTo>
                <a:lnTo>
                  <a:pt x="1965" y="1207"/>
                </a:lnTo>
                <a:lnTo>
                  <a:pt x="1997" y="1229"/>
                </a:lnTo>
                <a:lnTo>
                  <a:pt x="2012" y="1251"/>
                </a:lnTo>
                <a:lnTo>
                  <a:pt x="2024" y="1251"/>
                </a:lnTo>
                <a:lnTo>
                  <a:pt x="2018" y="1206"/>
                </a:lnTo>
                <a:lnTo>
                  <a:pt x="2020" y="1211"/>
                </a:lnTo>
                <a:lnTo>
                  <a:pt x="2030" y="1206"/>
                </a:lnTo>
                <a:lnTo>
                  <a:pt x="2033" y="1149"/>
                </a:lnTo>
                <a:lnTo>
                  <a:pt x="2043" y="1145"/>
                </a:lnTo>
                <a:lnTo>
                  <a:pt x="2054" y="1144"/>
                </a:lnTo>
                <a:lnTo>
                  <a:pt x="2054" y="1159"/>
                </a:lnTo>
                <a:lnTo>
                  <a:pt x="2065" y="1173"/>
                </a:lnTo>
                <a:lnTo>
                  <a:pt x="2078" y="1178"/>
                </a:lnTo>
                <a:lnTo>
                  <a:pt x="2088" y="1141"/>
                </a:lnTo>
                <a:lnTo>
                  <a:pt x="2104" y="1152"/>
                </a:lnTo>
                <a:lnTo>
                  <a:pt x="2123" y="1179"/>
                </a:lnTo>
                <a:lnTo>
                  <a:pt x="2132" y="1178"/>
                </a:lnTo>
                <a:lnTo>
                  <a:pt x="2148" y="1192"/>
                </a:lnTo>
                <a:lnTo>
                  <a:pt x="2160" y="1158"/>
                </a:lnTo>
                <a:lnTo>
                  <a:pt x="2231" y="1150"/>
                </a:lnTo>
                <a:lnTo>
                  <a:pt x="2257" y="1163"/>
                </a:lnTo>
                <a:lnTo>
                  <a:pt x="2275" y="1183"/>
                </a:lnTo>
                <a:lnTo>
                  <a:pt x="2284" y="1161"/>
                </a:lnTo>
                <a:lnTo>
                  <a:pt x="2296" y="1153"/>
                </a:lnTo>
                <a:lnTo>
                  <a:pt x="2228" y="978"/>
                </a:lnTo>
                <a:lnTo>
                  <a:pt x="2237" y="931"/>
                </a:lnTo>
                <a:lnTo>
                  <a:pt x="2257" y="893"/>
                </a:lnTo>
                <a:lnTo>
                  <a:pt x="2257" y="834"/>
                </a:lnTo>
                <a:lnTo>
                  <a:pt x="2194" y="719"/>
                </a:lnTo>
                <a:lnTo>
                  <a:pt x="2184" y="677"/>
                </a:lnTo>
                <a:lnTo>
                  <a:pt x="2198" y="624"/>
                </a:lnTo>
                <a:lnTo>
                  <a:pt x="2191" y="586"/>
                </a:lnTo>
                <a:lnTo>
                  <a:pt x="2178" y="569"/>
                </a:lnTo>
                <a:lnTo>
                  <a:pt x="2167" y="480"/>
                </a:lnTo>
                <a:lnTo>
                  <a:pt x="2180" y="408"/>
                </a:lnTo>
                <a:lnTo>
                  <a:pt x="2084" y="254"/>
                </a:lnTo>
                <a:lnTo>
                  <a:pt x="2037" y="216"/>
                </a:lnTo>
                <a:lnTo>
                  <a:pt x="1950" y="191"/>
                </a:lnTo>
                <a:lnTo>
                  <a:pt x="1770" y="13"/>
                </a:lnTo>
                <a:lnTo>
                  <a:pt x="1764" y="1"/>
                </a:lnTo>
                <a:lnTo>
                  <a:pt x="1703" y="0"/>
                </a:lnTo>
                <a:lnTo>
                  <a:pt x="1689" y="7"/>
                </a:lnTo>
                <a:lnTo>
                  <a:pt x="1692" y="30"/>
                </a:lnTo>
                <a:lnTo>
                  <a:pt x="1704" y="42"/>
                </a:lnTo>
                <a:lnTo>
                  <a:pt x="1707" y="68"/>
                </a:lnTo>
                <a:lnTo>
                  <a:pt x="1703" y="89"/>
                </a:lnTo>
                <a:lnTo>
                  <a:pt x="1692" y="102"/>
                </a:lnTo>
                <a:lnTo>
                  <a:pt x="1684" y="139"/>
                </a:lnTo>
                <a:lnTo>
                  <a:pt x="1669" y="165"/>
                </a:lnTo>
                <a:lnTo>
                  <a:pt x="1672" y="190"/>
                </a:lnTo>
                <a:lnTo>
                  <a:pt x="1695" y="213"/>
                </a:lnTo>
                <a:lnTo>
                  <a:pt x="1680" y="233"/>
                </a:lnTo>
                <a:lnTo>
                  <a:pt x="1658" y="238"/>
                </a:lnTo>
                <a:lnTo>
                  <a:pt x="1474" y="190"/>
                </a:lnTo>
                <a:lnTo>
                  <a:pt x="1452" y="194"/>
                </a:lnTo>
                <a:lnTo>
                  <a:pt x="1439" y="203"/>
                </a:lnTo>
                <a:lnTo>
                  <a:pt x="1426" y="227"/>
                </a:lnTo>
                <a:lnTo>
                  <a:pt x="1428" y="285"/>
                </a:lnTo>
                <a:lnTo>
                  <a:pt x="1408" y="361"/>
                </a:lnTo>
                <a:lnTo>
                  <a:pt x="1383" y="400"/>
                </a:lnTo>
                <a:lnTo>
                  <a:pt x="1373" y="395"/>
                </a:lnTo>
                <a:lnTo>
                  <a:pt x="1350" y="363"/>
                </a:lnTo>
                <a:lnTo>
                  <a:pt x="1321" y="346"/>
                </a:lnTo>
                <a:lnTo>
                  <a:pt x="1290" y="351"/>
                </a:lnTo>
                <a:lnTo>
                  <a:pt x="1217" y="425"/>
                </a:lnTo>
                <a:lnTo>
                  <a:pt x="1198" y="499"/>
                </a:lnTo>
                <a:lnTo>
                  <a:pt x="1143" y="566"/>
                </a:lnTo>
                <a:lnTo>
                  <a:pt x="1133" y="600"/>
                </a:lnTo>
                <a:lnTo>
                  <a:pt x="1162" y="660"/>
                </a:lnTo>
                <a:lnTo>
                  <a:pt x="1165" y="693"/>
                </a:lnTo>
                <a:lnTo>
                  <a:pt x="1015" y="890"/>
                </a:lnTo>
                <a:lnTo>
                  <a:pt x="969" y="1016"/>
                </a:lnTo>
                <a:lnTo>
                  <a:pt x="919" y="1048"/>
                </a:lnTo>
                <a:lnTo>
                  <a:pt x="888" y="1046"/>
                </a:lnTo>
                <a:lnTo>
                  <a:pt x="869" y="1057"/>
                </a:lnTo>
                <a:lnTo>
                  <a:pt x="817" y="1371"/>
                </a:lnTo>
                <a:lnTo>
                  <a:pt x="697" y="1554"/>
                </a:lnTo>
                <a:lnTo>
                  <a:pt x="698" y="1583"/>
                </a:lnTo>
                <a:lnTo>
                  <a:pt x="751" y="1665"/>
                </a:lnTo>
                <a:lnTo>
                  <a:pt x="734" y="1754"/>
                </a:lnTo>
                <a:lnTo>
                  <a:pt x="703" y="1787"/>
                </a:lnTo>
                <a:lnTo>
                  <a:pt x="610" y="1765"/>
                </a:lnTo>
                <a:lnTo>
                  <a:pt x="546" y="1777"/>
                </a:lnTo>
                <a:lnTo>
                  <a:pt x="494" y="1803"/>
                </a:lnTo>
                <a:lnTo>
                  <a:pt x="411" y="1885"/>
                </a:lnTo>
                <a:lnTo>
                  <a:pt x="367" y="1984"/>
                </a:lnTo>
                <a:lnTo>
                  <a:pt x="371" y="2039"/>
                </a:lnTo>
                <a:lnTo>
                  <a:pt x="386" y="2082"/>
                </a:lnTo>
                <a:lnTo>
                  <a:pt x="398" y="2099"/>
                </a:lnTo>
                <a:lnTo>
                  <a:pt x="376" y="2126"/>
                </a:lnTo>
                <a:lnTo>
                  <a:pt x="329" y="2312"/>
                </a:lnTo>
                <a:lnTo>
                  <a:pt x="338" y="2323"/>
                </a:lnTo>
                <a:lnTo>
                  <a:pt x="345" y="2370"/>
                </a:lnTo>
                <a:lnTo>
                  <a:pt x="323" y="2566"/>
                </a:lnTo>
                <a:lnTo>
                  <a:pt x="345" y="2616"/>
                </a:lnTo>
                <a:lnTo>
                  <a:pt x="405" y="2671"/>
                </a:lnTo>
                <a:lnTo>
                  <a:pt x="408" y="2738"/>
                </a:lnTo>
                <a:lnTo>
                  <a:pt x="382" y="2793"/>
                </a:lnTo>
                <a:lnTo>
                  <a:pt x="345" y="2827"/>
                </a:lnTo>
                <a:lnTo>
                  <a:pt x="296" y="2841"/>
                </a:lnTo>
                <a:lnTo>
                  <a:pt x="283" y="2860"/>
                </a:lnTo>
                <a:lnTo>
                  <a:pt x="312" y="2906"/>
                </a:lnTo>
                <a:lnTo>
                  <a:pt x="328" y="3015"/>
                </a:lnTo>
                <a:lnTo>
                  <a:pt x="291" y="3109"/>
                </a:lnTo>
                <a:lnTo>
                  <a:pt x="304" y="3138"/>
                </a:lnTo>
                <a:lnTo>
                  <a:pt x="292" y="3187"/>
                </a:lnTo>
                <a:lnTo>
                  <a:pt x="268" y="3221"/>
                </a:lnTo>
                <a:lnTo>
                  <a:pt x="174" y="3247"/>
                </a:lnTo>
                <a:lnTo>
                  <a:pt x="168" y="3292"/>
                </a:lnTo>
                <a:lnTo>
                  <a:pt x="117" y="3359"/>
                </a:lnTo>
                <a:lnTo>
                  <a:pt x="124" y="3456"/>
                </a:lnTo>
                <a:lnTo>
                  <a:pt x="81" y="3580"/>
                </a:lnTo>
                <a:lnTo>
                  <a:pt x="52" y="3595"/>
                </a:lnTo>
                <a:lnTo>
                  <a:pt x="40" y="3565"/>
                </a:lnTo>
                <a:lnTo>
                  <a:pt x="25" y="3610"/>
                </a:lnTo>
                <a:lnTo>
                  <a:pt x="35" y="3533"/>
                </a:lnTo>
                <a:lnTo>
                  <a:pt x="29" y="3518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7" name="Freeform 134" descr="Large grid">
            <a:extLst>
              <a:ext uri="{FF2B5EF4-FFF2-40B4-BE49-F238E27FC236}">
                <a16:creationId xmlns:a16="http://schemas.microsoft.com/office/drawing/2014/main" id="{C93B4389-D105-46E5-8FDF-620A9E530419}"/>
              </a:ext>
            </a:extLst>
          </p:cNvPr>
          <p:cNvSpPr>
            <a:spLocks/>
          </p:cNvSpPr>
          <p:nvPr/>
        </p:nvSpPr>
        <p:spPr bwMode="auto">
          <a:xfrm rot="21249101">
            <a:off x="6744958" y="1466575"/>
            <a:ext cx="958842" cy="1877694"/>
          </a:xfrm>
          <a:custGeom>
            <a:avLst/>
            <a:gdLst>
              <a:gd name="T0" fmla="*/ 2147483647 w 2296"/>
              <a:gd name="T1" fmla="*/ 2147483647 h 4909"/>
              <a:gd name="T2" fmla="*/ 2147483647 w 2296"/>
              <a:gd name="T3" fmla="*/ 2147483647 h 4909"/>
              <a:gd name="T4" fmla="*/ 2147483647 w 2296"/>
              <a:gd name="T5" fmla="*/ 2147483647 h 4909"/>
              <a:gd name="T6" fmla="*/ 2147483647 w 2296"/>
              <a:gd name="T7" fmla="*/ 2147483647 h 4909"/>
              <a:gd name="T8" fmla="*/ 2147483647 w 2296"/>
              <a:gd name="T9" fmla="*/ 2147483647 h 4909"/>
              <a:gd name="T10" fmla="*/ 2147483647 w 2296"/>
              <a:gd name="T11" fmla="*/ 2147483647 h 4909"/>
              <a:gd name="T12" fmla="*/ 2147483647 w 2296"/>
              <a:gd name="T13" fmla="*/ 2147483647 h 4909"/>
              <a:gd name="T14" fmla="*/ 2147483647 w 2296"/>
              <a:gd name="T15" fmla="*/ 2147483647 h 4909"/>
              <a:gd name="T16" fmla="*/ 2147483647 w 2296"/>
              <a:gd name="T17" fmla="*/ 2147483647 h 4909"/>
              <a:gd name="T18" fmla="*/ 2147483647 w 2296"/>
              <a:gd name="T19" fmla="*/ 2147483647 h 4909"/>
              <a:gd name="T20" fmla="*/ 2147483647 w 2296"/>
              <a:gd name="T21" fmla="*/ 2147483647 h 4909"/>
              <a:gd name="T22" fmla="*/ 2147483647 w 2296"/>
              <a:gd name="T23" fmla="*/ 2147483647 h 4909"/>
              <a:gd name="T24" fmla="*/ 2147483647 w 2296"/>
              <a:gd name="T25" fmla="*/ 2147483647 h 4909"/>
              <a:gd name="T26" fmla="*/ 2147483647 w 2296"/>
              <a:gd name="T27" fmla="*/ 2147483647 h 4909"/>
              <a:gd name="T28" fmla="*/ 2147483647 w 2296"/>
              <a:gd name="T29" fmla="*/ 2147483647 h 4909"/>
              <a:gd name="T30" fmla="*/ 2147483647 w 2296"/>
              <a:gd name="T31" fmla="*/ 2147483647 h 4909"/>
              <a:gd name="T32" fmla="*/ 2147483647 w 2296"/>
              <a:gd name="T33" fmla="*/ 2147483647 h 4909"/>
              <a:gd name="T34" fmla="*/ 2147483647 w 2296"/>
              <a:gd name="T35" fmla="*/ 2147483647 h 4909"/>
              <a:gd name="T36" fmla="*/ 2147483647 w 2296"/>
              <a:gd name="T37" fmla="*/ 2147483647 h 4909"/>
              <a:gd name="T38" fmla="*/ 2147483647 w 2296"/>
              <a:gd name="T39" fmla="*/ 2147483647 h 4909"/>
              <a:gd name="T40" fmla="*/ 2147483647 w 2296"/>
              <a:gd name="T41" fmla="*/ 2147483647 h 4909"/>
              <a:gd name="T42" fmla="*/ 2147483647 w 2296"/>
              <a:gd name="T43" fmla="*/ 2147483647 h 4909"/>
              <a:gd name="T44" fmla="*/ 2147483647 w 2296"/>
              <a:gd name="T45" fmla="*/ 2147483647 h 4909"/>
              <a:gd name="T46" fmla="*/ 2147483647 w 2296"/>
              <a:gd name="T47" fmla="*/ 2147483647 h 4909"/>
              <a:gd name="T48" fmla="*/ 2147483647 w 2296"/>
              <a:gd name="T49" fmla="*/ 2147483647 h 4909"/>
              <a:gd name="T50" fmla="*/ 2147483647 w 2296"/>
              <a:gd name="T51" fmla="*/ 2147483647 h 4909"/>
              <a:gd name="T52" fmla="*/ 2147483647 w 2296"/>
              <a:gd name="T53" fmla="*/ 2147483647 h 4909"/>
              <a:gd name="T54" fmla="*/ 2147483647 w 2296"/>
              <a:gd name="T55" fmla="*/ 2147483647 h 4909"/>
              <a:gd name="T56" fmla="*/ 2147483647 w 2296"/>
              <a:gd name="T57" fmla="*/ 2147483647 h 4909"/>
              <a:gd name="T58" fmla="*/ 2147483647 w 2296"/>
              <a:gd name="T59" fmla="*/ 2147483647 h 4909"/>
              <a:gd name="T60" fmla="*/ 2147483647 w 2296"/>
              <a:gd name="T61" fmla="*/ 2147483647 h 4909"/>
              <a:gd name="T62" fmla="*/ 2147483647 w 2296"/>
              <a:gd name="T63" fmla="*/ 2147483647 h 4909"/>
              <a:gd name="T64" fmla="*/ 2147483647 w 2296"/>
              <a:gd name="T65" fmla="*/ 2147483647 h 4909"/>
              <a:gd name="T66" fmla="*/ 2147483647 w 2296"/>
              <a:gd name="T67" fmla="*/ 2147483647 h 4909"/>
              <a:gd name="T68" fmla="*/ 2147483647 w 2296"/>
              <a:gd name="T69" fmla="*/ 2147483647 h 4909"/>
              <a:gd name="T70" fmla="*/ 2147483647 w 2296"/>
              <a:gd name="T71" fmla="*/ 2147483647 h 4909"/>
              <a:gd name="T72" fmla="*/ 2147483647 w 2296"/>
              <a:gd name="T73" fmla="*/ 2147483647 h 4909"/>
              <a:gd name="T74" fmla="*/ 2147483647 w 2296"/>
              <a:gd name="T75" fmla="*/ 2147483647 h 4909"/>
              <a:gd name="T76" fmla="*/ 2147483647 w 2296"/>
              <a:gd name="T77" fmla="*/ 2147483647 h 4909"/>
              <a:gd name="T78" fmla="*/ 2147483647 w 2296"/>
              <a:gd name="T79" fmla="*/ 2147483647 h 4909"/>
              <a:gd name="T80" fmla="*/ 2147483647 w 2296"/>
              <a:gd name="T81" fmla="*/ 2147483647 h 4909"/>
              <a:gd name="T82" fmla="*/ 2147483647 w 2296"/>
              <a:gd name="T83" fmla="*/ 2147483647 h 4909"/>
              <a:gd name="T84" fmla="*/ 2147483647 w 2296"/>
              <a:gd name="T85" fmla="*/ 2147483647 h 4909"/>
              <a:gd name="T86" fmla="*/ 2147483647 w 2296"/>
              <a:gd name="T87" fmla="*/ 2147483647 h 4909"/>
              <a:gd name="T88" fmla="*/ 2147483647 w 2296"/>
              <a:gd name="T89" fmla="*/ 2147483647 h 4909"/>
              <a:gd name="T90" fmla="*/ 2147483647 w 2296"/>
              <a:gd name="T91" fmla="*/ 2147483647 h 4909"/>
              <a:gd name="T92" fmla="*/ 2147483647 w 2296"/>
              <a:gd name="T93" fmla="*/ 2147483647 h 4909"/>
              <a:gd name="T94" fmla="*/ 2147483647 w 2296"/>
              <a:gd name="T95" fmla="*/ 2147483647 h 4909"/>
              <a:gd name="T96" fmla="*/ 2147483647 w 2296"/>
              <a:gd name="T97" fmla="*/ 2147483647 h 4909"/>
              <a:gd name="T98" fmla="*/ 2147483647 w 2296"/>
              <a:gd name="T99" fmla="*/ 2147483647 h 4909"/>
              <a:gd name="T100" fmla="*/ 2147483647 w 2296"/>
              <a:gd name="T101" fmla="*/ 2147483647 h 4909"/>
              <a:gd name="T102" fmla="*/ 2147483647 w 2296"/>
              <a:gd name="T103" fmla="*/ 2147483647 h 4909"/>
              <a:gd name="T104" fmla="*/ 2147483647 w 2296"/>
              <a:gd name="T105" fmla="*/ 2147483647 h 4909"/>
              <a:gd name="T106" fmla="*/ 2147483647 w 2296"/>
              <a:gd name="T107" fmla="*/ 2147483647 h 4909"/>
              <a:gd name="T108" fmla="*/ 2147483647 w 2296"/>
              <a:gd name="T109" fmla="*/ 2147483647 h 4909"/>
              <a:gd name="T110" fmla="*/ 2147483647 w 2296"/>
              <a:gd name="T111" fmla="*/ 2147483647 h 4909"/>
              <a:gd name="T112" fmla="*/ 2147483647 w 2296"/>
              <a:gd name="T113" fmla="*/ 2147483647 h 4909"/>
              <a:gd name="T114" fmla="*/ 2147483647 w 2296"/>
              <a:gd name="T115" fmla="*/ 2147483647 h 490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296"/>
              <a:gd name="T175" fmla="*/ 0 h 4909"/>
              <a:gd name="T176" fmla="*/ 2296 w 2296"/>
              <a:gd name="T177" fmla="*/ 4909 h 490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296" h="4909">
                <a:moveTo>
                  <a:pt x="29" y="3518"/>
                </a:moveTo>
                <a:lnTo>
                  <a:pt x="0" y="3558"/>
                </a:lnTo>
                <a:lnTo>
                  <a:pt x="0" y="3756"/>
                </a:lnTo>
                <a:lnTo>
                  <a:pt x="16" y="3762"/>
                </a:lnTo>
                <a:lnTo>
                  <a:pt x="20" y="3777"/>
                </a:lnTo>
                <a:lnTo>
                  <a:pt x="19" y="3804"/>
                </a:lnTo>
                <a:lnTo>
                  <a:pt x="13" y="3816"/>
                </a:lnTo>
                <a:lnTo>
                  <a:pt x="37" y="3793"/>
                </a:lnTo>
                <a:lnTo>
                  <a:pt x="47" y="3770"/>
                </a:lnTo>
                <a:lnTo>
                  <a:pt x="60" y="3786"/>
                </a:lnTo>
                <a:lnTo>
                  <a:pt x="46" y="3818"/>
                </a:lnTo>
                <a:lnTo>
                  <a:pt x="61" y="3819"/>
                </a:lnTo>
                <a:lnTo>
                  <a:pt x="68" y="3827"/>
                </a:lnTo>
                <a:lnTo>
                  <a:pt x="49" y="3838"/>
                </a:lnTo>
                <a:lnTo>
                  <a:pt x="19" y="3871"/>
                </a:lnTo>
                <a:lnTo>
                  <a:pt x="72" y="3897"/>
                </a:lnTo>
                <a:lnTo>
                  <a:pt x="79" y="3934"/>
                </a:lnTo>
                <a:lnTo>
                  <a:pt x="61" y="3989"/>
                </a:lnTo>
                <a:lnTo>
                  <a:pt x="100" y="3985"/>
                </a:lnTo>
                <a:lnTo>
                  <a:pt x="103" y="4027"/>
                </a:lnTo>
                <a:lnTo>
                  <a:pt x="77" y="4055"/>
                </a:lnTo>
                <a:lnTo>
                  <a:pt x="81" y="4109"/>
                </a:lnTo>
                <a:lnTo>
                  <a:pt x="71" y="4151"/>
                </a:lnTo>
                <a:lnTo>
                  <a:pt x="102" y="4155"/>
                </a:lnTo>
                <a:lnTo>
                  <a:pt x="132" y="4316"/>
                </a:lnTo>
                <a:lnTo>
                  <a:pt x="167" y="4357"/>
                </a:lnTo>
                <a:lnTo>
                  <a:pt x="182" y="4401"/>
                </a:lnTo>
                <a:lnTo>
                  <a:pt x="220" y="4433"/>
                </a:lnTo>
                <a:lnTo>
                  <a:pt x="244" y="4473"/>
                </a:lnTo>
                <a:lnTo>
                  <a:pt x="241" y="4502"/>
                </a:lnTo>
                <a:lnTo>
                  <a:pt x="217" y="4513"/>
                </a:lnTo>
                <a:lnTo>
                  <a:pt x="191" y="4506"/>
                </a:lnTo>
                <a:lnTo>
                  <a:pt x="183" y="4518"/>
                </a:lnTo>
                <a:lnTo>
                  <a:pt x="203" y="4581"/>
                </a:lnTo>
                <a:lnTo>
                  <a:pt x="175" y="4576"/>
                </a:lnTo>
                <a:lnTo>
                  <a:pt x="151" y="4561"/>
                </a:lnTo>
                <a:lnTo>
                  <a:pt x="147" y="4584"/>
                </a:lnTo>
                <a:lnTo>
                  <a:pt x="226" y="4799"/>
                </a:lnTo>
                <a:lnTo>
                  <a:pt x="213" y="4819"/>
                </a:lnTo>
                <a:lnTo>
                  <a:pt x="204" y="4861"/>
                </a:lnTo>
                <a:lnTo>
                  <a:pt x="193" y="4864"/>
                </a:lnTo>
                <a:lnTo>
                  <a:pt x="186" y="4882"/>
                </a:lnTo>
                <a:lnTo>
                  <a:pt x="234" y="4884"/>
                </a:lnTo>
                <a:lnTo>
                  <a:pt x="276" y="4902"/>
                </a:lnTo>
                <a:lnTo>
                  <a:pt x="346" y="4883"/>
                </a:lnTo>
                <a:lnTo>
                  <a:pt x="409" y="4886"/>
                </a:lnTo>
                <a:lnTo>
                  <a:pt x="446" y="4909"/>
                </a:lnTo>
                <a:lnTo>
                  <a:pt x="466" y="4894"/>
                </a:lnTo>
                <a:lnTo>
                  <a:pt x="486" y="4844"/>
                </a:lnTo>
                <a:lnTo>
                  <a:pt x="481" y="4763"/>
                </a:lnTo>
                <a:lnTo>
                  <a:pt x="529" y="4672"/>
                </a:lnTo>
                <a:lnTo>
                  <a:pt x="564" y="4686"/>
                </a:lnTo>
                <a:lnTo>
                  <a:pt x="584" y="4650"/>
                </a:lnTo>
                <a:lnTo>
                  <a:pt x="623" y="4629"/>
                </a:lnTo>
                <a:lnTo>
                  <a:pt x="676" y="4634"/>
                </a:lnTo>
                <a:lnTo>
                  <a:pt x="708" y="4649"/>
                </a:lnTo>
                <a:lnTo>
                  <a:pt x="750" y="4642"/>
                </a:lnTo>
                <a:lnTo>
                  <a:pt x="793" y="4658"/>
                </a:lnTo>
                <a:lnTo>
                  <a:pt x="836" y="4660"/>
                </a:lnTo>
                <a:lnTo>
                  <a:pt x="932" y="4448"/>
                </a:lnTo>
                <a:lnTo>
                  <a:pt x="956" y="4276"/>
                </a:lnTo>
                <a:lnTo>
                  <a:pt x="995" y="4199"/>
                </a:lnTo>
                <a:lnTo>
                  <a:pt x="995" y="4159"/>
                </a:lnTo>
                <a:lnTo>
                  <a:pt x="981" y="4136"/>
                </a:lnTo>
                <a:lnTo>
                  <a:pt x="1004" y="4100"/>
                </a:lnTo>
                <a:lnTo>
                  <a:pt x="1000" y="4069"/>
                </a:lnTo>
                <a:lnTo>
                  <a:pt x="984" y="4043"/>
                </a:lnTo>
                <a:lnTo>
                  <a:pt x="981" y="4025"/>
                </a:lnTo>
                <a:lnTo>
                  <a:pt x="985" y="4010"/>
                </a:lnTo>
                <a:lnTo>
                  <a:pt x="1006" y="4022"/>
                </a:lnTo>
                <a:lnTo>
                  <a:pt x="1023" y="4021"/>
                </a:lnTo>
                <a:lnTo>
                  <a:pt x="1014" y="3996"/>
                </a:lnTo>
                <a:lnTo>
                  <a:pt x="1017" y="3982"/>
                </a:lnTo>
                <a:lnTo>
                  <a:pt x="1029" y="3961"/>
                </a:lnTo>
                <a:lnTo>
                  <a:pt x="1027" y="3944"/>
                </a:lnTo>
                <a:lnTo>
                  <a:pt x="1038" y="3886"/>
                </a:lnTo>
                <a:lnTo>
                  <a:pt x="1035" y="3869"/>
                </a:lnTo>
                <a:lnTo>
                  <a:pt x="977" y="3825"/>
                </a:lnTo>
                <a:lnTo>
                  <a:pt x="985" y="3823"/>
                </a:lnTo>
                <a:lnTo>
                  <a:pt x="1016" y="3835"/>
                </a:lnTo>
                <a:lnTo>
                  <a:pt x="1049" y="3831"/>
                </a:lnTo>
                <a:lnTo>
                  <a:pt x="1059" y="3815"/>
                </a:lnTo>
                <a:lnTo>
                  <a:pt x="1027" y="3785"/>
                </a:lnTo>
                <a:lnTo>
                  <a:pt x="931" y="3765"/>
                </a:lnTo>
                <a:lnTo>
                  <a:pt x="938" y="3756"/>
                </a:lnTo>
                <a:lnTo>
                  <a:pt x="1016" y="3750"/>
                </a:lnTo>
                <a:lnTo>
                  <a:pt x="1059" y="3768"/>
                </a:lnTo>
                <a:lnTo>
                  <a:pt x="1084" y="3756"/>
                </a:lnTo>
                <a:lnTo>
                  <a:pt x="1093" y="3725"/>
                </a:lnTo>
                <a:lnTo>
                  <a:pt x="1138" y="3725"/>
                </a:lnTo>
                <a:lnTo>
                  <a:pt x="1199" y="3663"/>
                </a:lnTo>
                <a:lnTo>
                  <a:pt x="1201" y="3622"/>
                </a:lnTo>
                <a:lnTo>
                  <a:pt x="1227" y="3631"/>
                </a:lnTo>
                <a:lnTo>
                  <a:pt x="1226" y="3673"/>
                </a:lnTo>
                <a:lnTo>
                  <a:pt x="1267" y="3670"/>
                </a:lnTo>
                <a:lnTo>
                  <a:pt x="1294" y="3627"/>
                </a:lnTo>
                <a:lnTo>
                  <a:pt x="1344" y="3588"/>
                </a:lnTo>
                <a:lnTo>
                  <a:pt x="1336" y="3544"/>
                </a:lnTo>
                <a:lnTo>
                  <a:pt x="1351" y="3561"/>
                </a:lnTo>
                <a:lnTo>
                  <a:pt x="1374" y="3561"/>
                </a:lnTo>
                <a:lnTo>
                  <a:pt x="1374" y="3541"/>
                </a:lnTo>
                <a:lnTo>
                  <a:pt x="1395" y="3525"/>
                </a:lnTo>
                <a:lnTo>
                  <a:pt x="1392" y="3509"/>
                </a:lnTo>
                <a:lnTo>
                  <a:pt x="1212" y="3542"/>
                </a:lnTo>
                <a:lnTo>
                  <a:pt x="1170" y="3532"/>
                </a:lnTo>
                <a:lnTo>
                  <a:pt x="1153" y="3544"/>
                </a:lnTo>
                <a:lnTo>
                  <a:pt x="1147" y="3521"/>
                </a:lnTo>
                <a:lnTo>
                  <a:pt x="1127" y="3501"/>
                </a:lnTo>
                <a:lnTo>
                  <a:pt x="1047" y="3462"/>
                </a:lnTo>
                <a:lnTo>
                  <a:pt x="1000" y="3468"/>
                </a:lnTo>
                <a:lnTo>
                  <a:pt x="981" y="3457"/>
                </a:lnTo>
                <a:lnTo>
                  <a:pt x="1001" y="3447"/>
                </a:lnTo>
                <a:lnTo>
                  <a:pt x="1016" y="3426"/>
                </a:lnTo>
                <a:lnTo>
                  <a:pt x="1038" y="3433"/>
                </a:lnTo>
                <a:lnTo>
                  <a:pt x="1065" y="3427"/>
                </a:lnTo>
                <a:lnTo>
                  <a:pt x="1105" y="3434"/>
                </a:lnTo>
                <a:lnTo>
                  <a:pt x="1110" y="3431"/>
                </a:lnTo>
                <a:lnTo>
                  <a:pt x="1141" y="3464"/>
                </a:lnTo>
                <a:lnTo>
                  <a:pt x="1164" y="3452"/>
                </a:lnTo>
                <a:lnTo>
                  <a:pt x="1166" y="3441"/>
                </a:lnTo>
                <a:lnTo>
                  <a:pt x="1187" y="3460"/>
                </a:lnTo>
                <a:lnTo>
                  <a:pt x="1215" y="3470"/>
                </a:lnTo>
                <a:lnTo>
                  <a:pt x="1226" y="3451"/>
                </a:lnTo>
                <a:lnTo>
                  <a:pt x="1235" y="3462"/>
                </a:lnTo>
                <a:lnTo>
                  <a:pt x="1248" y="3498"/>
                </a:lnTo>
                <a:lnTo>
                  <a:pt x="1275" y="3507"/>
                </a:lnTo>
                <a:lnTo>
                  <a:pt x="1385" y="3453"/>
                </a:lnTo>
                <a:lnTo>
                  <a:pt x="1439" y="3377"/>
                </a:lnTo>
                <a:lnTo>
                  <a:pt x="1452" y="3321"/>
                </a:lnTo>
                <a:lnTo>
                  <a:pt x="1432" y="3271"/>
                </a:lnTo>
                <a:lnTo>
                  <a:pt x="1391" y="3241"/>
                </a:lnTo>
                <a:lnTo>
                  <a:pt x="1362" y="3192"/>
                </a:lnTo>
                <a:lnTo>
                  <a:pt x="1389" y="3190"/>
                </a:lnTo>
                <a:lnTo>
                  <a:pt x="1387" y="3178"/>
                </a:lnTo>
                <a:lnTo>
                  <a:pt x="1316" y="3143"/>
                </a:lnTo>
                <a:lnTo>
                  <a:pt x="1313" y="3112"/>
                </a:lnTo>
                <a:lnTo>
                  <a:pt x="1300" y="3079"/>
                </a:lnTo>
                <a:lnTo>
                  <a:pt x="1244" y="3085"/>
                </a:lnTo>
                <a:lnTo>
                  <a:pt x="1224" y="3050"/>
                </a:lnTo>
                <a:lnTo>
                  <a:pt x="1212" y="3048"/>
                </a:lnTo>
                <a:lnTo>
                  <a:pt x="1212" y="3062"/>
                </a:lnTo>
                <a:lnTo>
                  <a:pt x="1187" y="3121"/>
                </a:lnTo>
                <a:lnTo>
                  <a:pt x="1160" y="3156"/>
                </a:lnTo>
                <a:lnTo>
                  <a:pt x="1075" y="3216"/>
                </a:lnTo>
                <a:lnTo>
                  <a:pt x="1045" y="3214"/>
                </a:lnTo>
                <a:lnTo>
                  <a:pt x="1004" y="3223"/>
                </a:lnTo>
                <a:lnTo>
                  <a:pt x="981" y="3214"/>
                </a:lnTo>
                <a:lnTo>
                  <a:pt x="1011" y="3197"/>
                </a:lnTo>
                <a:lnTo>
                  <a:pt x="1050" y="3190"/>
                </a:lnTo>
                <a:lnTo>
                  <a:pt x="1082" y="3162"/>
                </a:lnTo>
                <a:lnTo>
                  <a:pt x="1114" y="3149"/>
                </a:lnTo>
                <a:lnTo>
                  <a:pt x="1173" y="3101"/>
                </a:lnTo>
                <a:lnTo>
                  <a:pt x="1184" y="3069"/>
                </a:lnTo>
                <a:lnTo>
                  <a:pt x="1185" y="3028"/>
                </a:lnTo>
                <a:lnTo>
                  <a:pt x="1158" y="3021"/>
                </a:lnTo>
                <a:lnTo>
                  <a:pt x="1170" y="2996"/>
                </a:lnTo>
                <a:lnTo>
                  <a:pt x="1174" y="2964"/>
                </a:lnTo>
                <a:lnTo>
                  <a:pt x="1163" y="2934"/>
                </a:lnTo>
                <a:lnTo>
                  <a:pt x="1156" y="2716"/>
                </a:lnTo>
                <a:lnTo>
                  <a:pt x="1172" y="2669"/>
                </a:lnTo>
                <a:lnTo>
                  <a:pt x="1168" y="2650"/>
                </a:lnTo>
                <a:lnTo>
                  <a:pt x="1215" y="2678"/>
                </a:lnTo>
                <a:lnTo>
                  <a:pt x="1218" y="2652"/>
                </a:lnTo>
                <a:lnTo>
                  <a:pt x="1208" y="2584"/>
                </a:lnTo>
                <a:lnTo>
                  <a:pt x="1242" y="2464"/>
                </a:lnTo>
                <a:lnTo>
                  <a:pt x="1221" y="2435"/>
                </a:lnTo>
                <a:lnTo>
                  <a:pt x="1213" y="2408"/>
                </a:lnTo>
                <a:lnTo>
                  <a:pt x="1216" y="2364"/>
                </a:lnTo>
                <a:lnTo>
                  <a:pt x="1265" y="2393"/>
                </a:lnTo>
                <a:lnTo>
                  <a:pt x="1267" y="2385"/>
                </a:lnTo>
                <a:lnTo>
                  <a:pt x="1281" y="2377"/>
                </a:lnTo>
                <a:lnTo>
                  <a:pt x="1300" y="2349"/>
                </a:lnTo>
                <a:lnTo>
                  <a:pt x="1303" y="2341"/>
                </a:lnTo>
                <a:lnTo>
                  <a:pt x="1299" y="2331"/>
                </a:lnTo>
                <a:lnTo>
                  <a:pt x="1309" y="2281"/>
                </a:lnTo>
                <a:lnTo>
                  <a:pt x="1297" y="2249"/>
                </a:lnTo>
                <a:lnTo>
                  <a:pt x="1299" y="2223"/>
                </a:lnTo>
                <a:lnTo>
                  <a:pt x="1306" y="2253"/>
                </a:lnTo>
                <a:lnTo>
                  <a:pt x="1333" y="2276"/>
                </a:lnTo>
                <a:lnTo>
                  <a:pt x="1344" y="2273"/>
                </a:lnTo>
                <a:lnTo>
                  <a:pt x="1362" y="2243"/>
                </a:lnTo>
                <a:lnTo>
                  <a:pt x="1381" y="2255"/>
                </a:lnTo>
                <a:lnTo>
                  <a:pt x="1386" y="2231"/>
                </a:lnTo>
                <a:lnTo>
                  <a:pt x="1399" y="2215"/>
                </a:lnTo>
                <a:lnTo>
                  <a:pt x="1364" y="2198"/>
                </a:lnTo>
                <a:lnTo>
                  <a:pt x="1389" y="2201"/>
                </a:lnTo>
                <a:lnTo>
                  <a:pt x="1415" y="2183"/>
                </a:lnTo>
                <a:lnTo>
                  <a:pt x="1414" y="2171"/>
                </a:lnTo>
                <a:lnTo>
                  <a:pt x="1438" y="2159"/>
                </a:lnTo>
                <a:lnTo>
                  <a:pt x="1440" y="2129"/>
                </a:lnTo>
                <a:lnTo>
                  <a:pt x="1459" y="2123"/>
                </a:lnTo>
                <a:lnTo>
                  <a:pt x="1461" y="2088"/>
                </a:lnTo>
                <a:lnTo>
                  <a:pt x="1481" y="2084"/>
                </a:lnTo>
                <a:lnTo>
                  <a:pt x="1512" y="2091"/>
                </a:lnTo>
                <a:lnTo>
                  <a:pt x="1546" y="2063"/>
                </a:lnTo>
                <a:lnTo>
                  <a:pt x="1558" y="2031"/>
                </a:lnTo>
                <a:lnTo>
                  <a:pt x="1600" y="1998"/>
                </a:lnTo>
                <a:lnTo>
                  <a:pt x="1621" y="2018"/>
                </a:lnTo>
                <a:lnTo>
                  <a:pt x="1653" y="1996"/>
                </a:lnTo>
                <a:lnTo>
                  <a:pt x="1661" y="1968"/>
                </a:lnTo>
                <a:lnTo>
                  <a:pt x="1685" y="1949"/>
                </a:lnTo>
                <a:lnTo>
                  <a:pt x="1706" y="1957"/>
                </a:lnTo>
                <a:lnTo>
                  <a:pt x="1719" y="1943"/>
                </a:lnTo>
                <a:lnTo>
                  <a:pt x="1755" y="1923"/>
                </a:lnTo>
                <a:lnTo>
                  <a:pt x="1770" y="1897"/>
                </a:lnTo>
                <a:lnTo>
                  <a:pt x="1790" y="1886"/>
                </a:lnTo>
                <a:lnTo>
                  <a:pt x="1900" y="1684"/>
                </a:lnTo>
                <a:lnTo>
                  <a:pt x="1904" y="1700"/>
                </a:lnTo>
                <a:lnTo>
                  <a:pt x="1901" y="1729"/>
                </a:lnTo>
                <a:lnTo>
                  <a:pt x="1931" y="1677"/>
                </a:lnTo>
                <a:lnTo>
                  <a:pt x="1915" y="1662"/>
                </a:lnTo>
                <a:lnTo>
                  <a:pt x="1913" y="1646"/>
                </a:lnTo>
                <a:lnTo>
                  <a:pt x="1870" y="1604"/>
                </a:lnTo>
                <a:lnTo>
                  <a:pt x="1865" y="1585"/>
                </a:lnTo>
                <a:lnTo>
                  <a:pt x="1872" y="1580"/>
                </a:lnTo>
                <a:lnTo>
                  <a:pt x="1868" y="1561"/>
                </a:lnTo>
                <a:lnTo>
                  <a:pt x="1854" y="1545"/>
                </a:lnTo>
                <a:lnTo>
                  <a:pt x="1855" y="1535"/>
                </a:lnTo>
                <a:lnTo>
                  <a:pt x="1867" y="1522"/>
                </a:lnTo>
                <a:lnTo>
                  <a:pt x="1870" y="1504"/>
                </a:lnTo>
                <a:lnTo>
                  <a:pt x="1896" y="1491"/>
                </a:lnTo>
                <a:lnTo>
                  <a:pt x="1924" y="1404"/>
                </a:lnTo>
                <a:lnTo>
                  <a:pt x="1895" y="1356"/>
                </a:lnTo>
                <a:lnTo>
                  <a:pt x="1898" y="1349"/>
                </a:lnTo>
                <a:lnTo>
                  <a:pt x="1928" y="1328"/>
                </a:lnTo>
                <a:lnTo>
                  <a:pt x="1929" y="1307"/>
                </a:lnTo>
                <a:lnTo>
                  <a:pt x="1940" y="1304"/>
                </a:lnTo>
                <a:lnTo>
                  <a:pt x="1965" y="1314"/>
                </a:lnTo>
                <a:lnTo>
                  <a:pt x="1973" y="1310"/>
                </a:lnTo>
                <a:lnTo>
                  <a:pt x="1976" y="1291"/>
                </a:lnTo>
                <a:lnTo>
                  <a:pt x="1967" y="1279"/>
                </a:lnTo>
                <a:lnTo>
                  <a:pt x="1994" y="1275"/>
                </a:lnTo>
                <a:lnTo>
                  <a:pt x="1997" y="1259"/>
                </a:lnTo>
                <a:lnTo>
                  <a:pt x="1965" y="1218"/>
                </a:lnTo>
                <a:lnTo>
                  <a:pt x="1965" y="1207"/>
                </a:lnTo>
                <a:lnTo>
                  <a:pt x="1997" y="1229"/>
                </a:lnTo>
                <a:lnTo>
                  <a:pt x="2012" y="1251"/>
                </a:lnTo>
                <a:lnTo>
                  <a:pt x="2024" y="1251"/>
                </a:lnTo>
                <a:lnTo>
                  <a:pt x="2018" y="1206"/>
                </a:lnTo>
                <a:lnTo>
                  <a:pt x="2020" y="1211"/>
                </a:lnTo>
                <a:lnTo>
                  <a:pt x="2030" y="1206"/>
                </a:lnTo>
                <a:lnTo>
                  <a:pt x="2033" y="1149"/>
                </a:lnTo>
                <a:lnTo>
                  <a:pt x="2043" y="1145"/>
                </a:lnTo>
                <a:lnTo>
                  <a:pt x="2054" y="1144"/>
                </a:lnTo>
                <a:lnTo>
                  <a:pt x="2054" y="1159"/>
                </a:lnTo>
                <a:lnTo>
                  <a:pt x="2065" y="1173"/>
                </a:lnTo>
                <a:lnTo>
                  <a:pt x="2078" y="1178"/>
                </a:lnTo>
                <a:lnTo>
                  <a:pt x="2088" y="1141"/>
                </a:lnTo>
                <a:lnTo>
                  <a:pt x="2104" y="1152"/>
                </a:lnTo>
                <a:lnTo>
                  <a:pt x="2123" y="1179"/>
                </a:lnTo>
                <a:lnTo>
                  <a:pt x="2132" y="1178"/>
                </a:lnTo>
                <a:lnTo>
                  <a:pt x="2148" y="1192"/>
                </a:lnTo>
                <a:lnTo>
                  <a:pt x="2160" y="1158"/>
                </a:lnTo>
                <a:lnTo>
                  <a:pt x="2231" y="1150"/>
                </a:lnTo>
                <a:lnTo>
                  <a:pt x="2257" y="1163"/>
                </a:lnTo>
                <a:lnTo>
                  <a:pt x="2275" y="1183"/>
                </a:lnTo>
                <a:lnTo>
                  <a:pt x="2284" y="1161"/>
                </a:lnTo>
                <a:lnTo>
                  <a:pt x="2296" y="1153"/>
                </a:lnTo>
                <a:lnTo>
                  <a:pt x="2228" y="978"/>
                </a:lnTo>
                <a:lnTo>
                  <a:pt x="2237" y="931"/>
                </a:lnTo>
                <a:lnTo>
                  <a:pt x="2257" y="893"/>
                </a:lnTo>
                <a:lnTo>
                  <a:pt x="2257" y="834"/>
                </a:lnTo>
                <a:lnTo>
                  <a:pt x="2194" y="719"/>
                </a:lnTo>
                <a:lnTo>
                  <a:pt x="2184" y="677"/>
                </a:lnTo>
                <a:lnTo>
                  <a:pt x="2198" y="624"/>
                </a:lnTo>
                <a:lnTo>
                  <a:pt x="2191" y="586"/>
                </a:lnTo>
                <a:lnTo>
                  <a:pt x="2178" y="569"/>
                </a:lnTo>
                <a:lnTo>
                  <a:pt x="2167" y="480"/>
                </a:lnTo>
                <a:lnTo>
                  <a:pt x="2180" y="408"/>
                </a:lnTo>
                <a:lnTo>
                  <a:pt x="2084" y="254"/>
                </a:lnTo>
                <a:lnTo>
                  <a:pt x="2037" y="216"/>
                </a:lnTo>
                <a:lnTo>
                  <a:pt x="1950" y="191"/>
                </a:lnTo>
                <a:lnTo>
                  <a:pt x="1770" y="13"/>
                </a:lnTo>
                <a:lnTo>
                  <a:pt x="1764" y="1"/>
                </a:lnTo>
                <a:lnTo>
                  <a:pt x="1703" y="0"/>
                </a:lnTo>
                <a:lnTo>
                  <a:pt x="1689" y="7"/>
                </a:lnTo>
                <a:lnTo>
                  <a:pt x="1692" y="30"/>
                </a:lnTo>
                <a:lnTo>
                  <a:pt x="1704" y="42"/>
                </a:lnTo>
                <a:lnTo>
                  <a:pt x="1707" y="68"/>
                </a:lnTo>
                <a:lnTo>
                  <a:pt x="1703" y="89"/>
                </a:lnTo>
                <a:lnTo>
                  <a:pt x="1692" y="102"/>
                </a:lnTo>
                <a:lnTo>
                  <a:pt x="1684" y="139"/>
                </a:lnTo>
                <a:lnTo>
                  <a:pt x="1669" y="165"/>
                </a:lnTo>
                <a:lnTo>
                  <a:pt x="1672" y="190"/>
                </a:lnTo>
                <a:lnTo>
                  <a:pt x="1695" y="213"/>
                </a:lnTo>
                <a:lnTo>
                  <a:pt x="1680" y="233"/>
                </a:lnTo>
                <a:lnTo>
                  <a:pt x="1658" y="238"/>
                </a:lnTo>
                <a:lnTo>
                  <a:pt x="1474" y="190"/>
                </a:lnTo>
                <a:lnTo>
                  <a:pt x="1452" y="194"/>
                </a:lnTo>
                <a:lnTo>
                  <a:pt x="1439" y="203"/>
                </a:lnTo>
                <a:lnTo>
                  <a:pt x="1426" y="227"/>
                </a:lnTo>
                <a:lnTo>
                  <a:pt x="1428" y="285"/>
                </a:lnTo>
                <a:lnTo>
                  <a:pt x="1408" y="361"/>
                </a:lnTo>
                <a:lnTo>
                  <a:pt x="1383" y="400"/>
                </a:lnTo>
                <a:lnTo>
                  <a:pt x="1373" y="395"/>
                </a:lnTo>
                <a:lnTo>
                  <a:pt x="1350" y="363"/>
                </a:lnTo>
                <a:lnTo>
                  <a:pt x="1321" y="346"/>
                </a:lnTo>
                <a:lnTo>
                  <a:pt x="1290" y="351"/>
                </a:lnTo>
                <a:lnTo>
                  <a:pt x="1217" y="425"/>
                </a:lnTo>
                <a:lnTo>
                  <a:pt x="1198" y="499"/>
                </a:lnTo>
                <a:lnTo>
                  <a:pt x="1143" y="566"/>
                </a:lnTo>
                <a:lnTo>
                  <a:pt x="1133" y="600"/>
                </a:lnTo>
                <a:lnTo>
                  <a:pt x="1162" y="660"/>
                </a:lnTo>
                <a:lnTo>
                  <a:pt x="1165" y="693"/>
                </a:lnTo>
                <a:lnTo>
                  <a:pt x="1015" y="890"/>
                </a:lnTo>
                <a:lnTo>
                  <a:pt x="969" y="1016"/>
                </a:lnTo>
                <a:lnTo>
                  <a:pt x="919" y="1048"/>
                </a:lnTo>
                <a:lnTo>
                  <a:pt x="888" y="1046"/>
                </a:lnTo>
                <a:lnTo>
                  <a:pt x="869" y="1057"/>
                </a:lnTo>
                <a:lnTo>
                  <a:pt x="817" y="1371"/>
                </a:lnTo>
                <a:lnTo>
                  <a:pt x="697" y="1554"/>
                </a:lnTo>
                <a:lnTo>
                  <a:pt x="698" y="1583"/>
                </a:lnTo>
                <a:lnTo>
                  <a:pt x="751" y="1665"/>
                </a:lnTo>
                <a:lnTo>
                  <a:pt x="734" y="1754"/>
                </a:lnTo>
                <a:lnTo>
                  <a:pt x="703" y="1787"/>
                </a:lnTo>
                <a:lnTo>
                  <a:pt x="610" y="1765"/>
                </a:lnTo>
                <a:lnTo>
                  <a:pt x="546" y="1777"/>
                </a:lnTo>
                <a:lnTo>
                  <a:pt x="494" y="1803"/>
                </a:lnTo>
                <a:lnTo>
                  <a:pt x="411" y="1885"/>
                </a:lnTo>
                <a:lnTo>
                  <a:pt x="367" y="1984"/>
                </a:lnTo>
                <a:lnTo>
                  <a:pt x="371" y="2039"/>
                </a:lnTo>
                <a:lnTo>
                  <a:pt x="386" y="2082"/>
                </a:lnTo>
                <a:lnTo>
                  <a:pt x="398" y="2099"/>
                </a:lnTo>
                <a:lnTo>
                  <a:pt x="376" y="2126"/>
                </a:lnTo>
                <a:lnTo>
                  <a:pt x="329" y="2312"/>
                </a:lnTo>
                <a:lnTo>
                  <a:pt x="338" y="2323"/>
                </a:lnTo>
                <a:lnTo>
                  <a:pt x="345" y="2370"/>
                </a:lnTo>
                <a:lnTo>
                  <a:pt x="323" y="2566"/>
                </a:lnTo>
                <a:lnTo>
                  <a:pt x="345" y="2616"/>
                </a:lnTo>
                <a:lnTo>
                  <a:pt x="405" y="2671"/>
                </a:lnTo>
                <a:lnTo>
                  <a:pt x="408" y="2738"/>
                </a:lnTo>
                <a:lnTo>
                  <a:pt x="382" y="2793"/>
                </a:lnTo>
                <a:lnTo>
                  <a:pt x="345" y="2827"/>
                </a:lnTo>
                <a:lnTo>
                  <a:pt x="296" y="2841"/>
                </a:lnTo>
                <a:lnTo>
                  <a:pt x="283" y="2860"/>
                </a:lnTo>
                <a:lnTo>
                  <a:pt x="312" y="2906"/>
                </a:lnTo>
                <a:lnTo>
                  <a:pt x="328" y="3015"/>
                </a:lnTo>
                <a:lnTo>
                  <a:pt x="291" y="3109"/>
                </a:lnTo>
                <a:lnTo>
                  <a:pt x="304" y="3138"/>
                </a:lnTo>
                <a:lnTo>
                  <a:pt x="292" y="3187"/>
                </a:lnTo>
                <a:lnTo>
                  <a:pt x="268" y="3221"/>
                </a:lnTo>
                <a:lnTo>
                  <a:pt x="174" y="3247"/>
                </a:lnTo>
                <a:lnTo>
                  <a:pt x="168" y="3292"/>
                </a:lnTo>
                <a:lnTo>
                  <a:pt x="117" y="3359"/>
                </a:lnTo>
                <a:lnTo>
                  <a:pt x="124" y="3456"/>
                </a:lnTo>
                <a:lnTo>
                  <a:pt x="81" y="3580"/>
                </a:lnTo>
                <a:lnTo>
                  <a:pt x="52" y="3595"/>
                </a:lnTo>
                <a:lnTo>
                  <a:pt x="40" y="3565"/>
                </a:lnTo>
                <a:lnTo>
                  <a:pt x="25" y="3610"/>
                </a:lnTo>
                <a:lnTo>
                  <a:pt x="35" y="3533"/>
                </a:lnTo>
                <a:lnTo>
                  <a:pt x="29" y="3518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8" name="Freeform 135">
            <a:extLst>
              <a:ext uri="{FF2B5EF4-FFF2-40B4-BE49-F238E27FC236}">
                <a16:creationId xmlns:a16="http://schemas.microsoft.com/office/drawing/2014/main" id="{B306F1D0-3198-4540-9EDE-BA8F97B35F09}"/>
              </a:ext>
            </a:extLst>
          </p:cNvPr>
          <p:cNvSpPr>
            <a:spLocks/>
          </p:cNvSpPr>
          <p:nvPr/>
        </p:nvSpPr>
        <p:spPr bwMode="auto">
          <a:xfrm rot="21249101">
            <a:off x="6592333" y="4271648"/>
            <a:ext cx="784670" cy="345718"/>
          </a:xfrm>
          <a:custGeom>
            <a:avLst/>
            <a:gdLst>
              <a:gd name="T0" fmla="*/ 2147483647 w 1879"/>
              <a:gd name="T1" fmla="*/ 2147483647 h 907"/>
              <a:gd name="T2" fmla="*/ 2147483647 w 1879"/>
              <a:gd name="T3" fmla="*/ 2147483647 h 907"/>
              <a:gd name="T4" fmla="*/ 2147483647 w 1879"/>
              <a:gd name="T5" fmla="*/ 2147483647 h 907"/>
              <a:gd name="T6" fmla="*/ 2147483647 w 1879"/>
              <a:gd name="T7" fmla="*/ 2147483647 h 907"/>
              <a:gd name="T8" fmla="*/ 2147483647 w 1879"/>
              <a:gd name="T9" fmla="*/ 2147483647 h 907"/>
              <a:gd name="T10" fmla="*/ 2147483647 w 1879"/>
              <a:gd name="T11" fmla="*/ 2147483647 h 907"/>
              <a:gd name="T12" fmla="*/ 2147483647 w 1879"/>
              <a:gd name="T13" fmla="*/ 2147483647 h 907"/>
              <a:gd name="T14" fmla="*/ 2147483647 w 1879"/>
              <a:gd name="T15" fmla="*/ 2147483647 h 907"/>
              <a:gd name="T16" fmla="*/ 2147483647 w 1879"/>
              <a:gd name="T17" fmla="*/ 2147483647 h 907"/>
              <a:gd name="T18" fmla="*/ 2147483647 w 1879"/>
              <a:gd name="T19" fmla="*/ 2147483647 h 907"/>
              <a:gd name="T20" fmla="*/ 2147483647 w 1879"/>
              <a:gd name="T21" fmla="*/ 2147483647 h 907"/>
              <a:gd name="T22" fmla="*/ 2147483647 w 1879"/>
              <a:gd name="T23" fmla="*/ 2147483647 h 907"/>
              <a:gd name="T24" fmla="*/ 2147483647 w 1879"/>
              <a:gd name="T25" fmla="*/ 2147483647 h 907"/>
              <a:gd name="T26" fmla="*/ 2147483647 w 1879"/>
              <a:gd name="T27" fmla="*/ 2147483647 h 907"/>
              <a:gd name="T28" fmla="*/ 2147483647 w 1879"/>
              <a:gd name="T29" fmla="*/ 2147483647 h 907"/>
              <a:gd name="T30" fmla="*/ 2147483647 w 1879"/>
              <a:gd name="T31" fmla="*/ 2147483647 h 907"/>
              <a:gd name="T32" fmla="*/ 2147483647 w 1879"/>
              <a:gd name="T33" fmla="*/ 2147483647 h 907"/>
              <a:gd name="T34" fmla="*/ 2147483647 w 1879"/>
              <a:gd name="T35" fmla="*/ 2147483647 h 907"/>
              <a:gd name="T36" fmla="*/ 2147483647 w 1879"/>
              <a:gd name="T37" fmla="*/ 2147483647 h 907"/>
              <a:gd name="T38" fmla="*/ 2147483647 w 1879"/>
              <a:gd name="T39" fmla="*/ 2147483647 h 907"/>
              <a:gd name="T40" fmla="*/ 2147483647 w 1879"/>
              <a:gd name="T41" fmla="*/ 2147483647 h 907"/>
              <a:gd name="T42" fmla="*/ 2147483647 w 1879"/>
              <a:gd name="T43" fmla="*/ 2147483647 h 907"/>
              <a:gd name="T44" fmla="*/ 2147483647 w 1879"/>
              <a:gd name="T45" fmla="*/ 2147483647 h 907"/>
              <a:gd name="T46" fmla="*/ 2147483647 w 1879"/>
              <a:gd name="T47" fmla="*/ 2147483647 h 907"/>
              <a:gd name="T48" fmla="*/ 2147483647 w 1879"/>
              <a:gd name="T49" fmla="*/ 2147483647 h 907"/>
              <a:gd name="T50" fmla="*/ 2147483647 w 1879"/>
              <a:gd name="T51" fmla="*/ 2147483647 h 907"/>
              <a:gd name="T52" fmla="*/ 2147483647 w 1879"/>
              <a:gd name="T53" fmla="*/ 2147483647 h 907"/>
              <a:gd name="T54" fmla="*/ 2147483647 w 1879"/>
              <a:gd name="T55" fmla="*/ 2147483647 h 907"/>
              <a:gd name="T56" fmla="*/ 2147483647 w 1879"/>
              <a:gd name="T57" fmla="*/ 2147483647 h 907"/>
              <a:gd name="T58" fmla="*/ 2147483647 w 1879"/>
              <a:gd name="T59" fmla="*/ 2147483647 h 907"/>
              <a:gd name="T60" fmla="*/ 2147483647 w 1879"/>
              <a:gd name="T61" fmla="*/ 2147483647 h 907"/>
              <a:gd name="T62" fmla="*/ 2147483647 w 1879"/>
              <a:gd name="T63" fmla="*/ 2147483647 h 907"/>
              <a:gd name="T64" fmla="*/ 2147483647 w 1879"/>
              <a:gd name="T65" fmla="*/ 2147483647 h 907"/>
              <a:gd name="T66" fmla="*/ 2147483647 w 1879"/>
              <a:gd name="T67" fmla="*/ 2147483647 h 907"/>
              <a:gd name="T68" fmla="*/ 2147483647 w 1879"/>
              <a:gd name="T69" fmla="*/ 2147483647 h 907"/>
              <a:gd name="T70" fmla="*/ 2147483647 w 1879"/>
              <a:gd name="T71" fmla="*/ 2147483647 h 907"/>
              <a:gd name="T72" fmla="*/ 2147483647 w 1879"/>
              <a:gd name="T73" fmla="*/ 2147483647 h 907"/>
              <a:gd name="T74" fmla="*/ 2147483647 w 1879"/>
              <a:gd name="T75" fmla="*/ 2147483647 h 90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879"/>
              <a:gd name="T115" fmla="*/ 0 h 907"/>
              <a:gd name="T116" fmla="*/ 1879 w 1879"/>
              <a:gd name="T117" fmla="*/ 907 h 90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879" h="907">
                <a:moveTo>
                  <a:pt x="1089" y="64"/>
                </a:moveTo>
                <a:lnTo>
                  <a:pt x="1080" y="98"/>
                </a:lnTo>
                <a:lnTo>
                  <a:pt x="1002" y="123"/>
                </a:lnTo>
                <a:lnTo>
                  <a:pt x="963" y="200"/>
                </a:lnTo>
                <a:lnTo>
                  <a:pt x="861" y="230"/>
                </a:lnTo>
                <a:lnTo>
                  <a:pt x="835" y="278"/>
                </a:lnTo>
                <a:lnTo>
                  <a:pt x="833" y="351"/>
                </a:lnTo>
                <a:lnTo>
                  <a:pt x="856" y="424"/>
                </a:lnTo>
                <a:lnTo>
                  <a:pt x="856" y="458"/>
                </a:lnTo>
                <a:lnTo>
                  <a:pt x="819" y="471"/>
                </a:lnTo>
                <a:lnTo>
                  <a:pt x="804" y="435"/>
                </a:lnTo>
                <a:lnTo>
                  <a:pt x="739" y="428"/>
                </a:lnTo>
                <a:lnTo>
                  <a:pt x="690" y="407"/>
                </a:lnTo>
                <a:lnTo>
                  <a:pt x="669" y="427"/>
                </a:lnTo>
                <a:lnTo>
                  <a:pt x="520" y="429"/>
                </a:lnTo>
                <a:lnTo>
                  <a:pt x="427" y="476"/>
                </a:lnTo>
                <a:lnTo>
                  <a:pt x="368" y="469"/>
                </a:lnTo>
                <a:lnTo>
                  <a:pt x="313" y="427"/>
                </a:lnTo>
                <a:lnTo>
                  <a:pt x="263" y="416"/>
                </a:lnTo>
                <a:lnTo>
                  <a:pt x="230" y="441"/>
                </a:lnTo>
                <a:lnTo>
                  <a:pt x="212" y="469"/>
                </a:lnTo>
                <a:lnTo>
                  <a:pt x="187" y="481"/>
                </a:lnTo>
                <a:lnTo>
                  <a:pt x="146" y="453"/>
                </a:lnTo>
                <a:lnTo>
                  <a:pt x="128" y="412"/>
                </a:lnTo>
                <a:lnTo>
                  <a:pt x="91" y="396"/>
                </a:lnTo>
                <a:lnTo>
                  <a:pt x="48" y="393"/>
                </a:lnTo>
                <a:lnTo>
                  <a:pt x="0" y="405"/>
                </a:lnTo>
                <a:lnTo>
                  <a:pt x="29" y="444"/>
                </a:lnTo>
                <a:lnTo>
                  <a:pt x="60" y="470"/>
                </a:lnTo>
                <a:lnTo>
                  <a:pt x="56" y="554"/>
                </a:lnTo>
                <a:lnTo>
                  <a:pt x="24" y="585"/>
                </a:lnTo>
                <a:lnTo>
                  <a:pt x="93" y="636"/>
                </a:lnTo>
                <a:lnTo>
                  <a:pt x="134" y="648"/>
                </a:lnTo>
                <a:lnTo>
                  <a:pt x="171" y="633"/>
                </a:lnTo>
                <a:lnTo>
                  <a:pt x="203" y="662"/>
                </a:lnTo>
                <a:lnTo>
                  <a:pt x="257" y="687"/>
                </a:lnTo>
                <a:lnTo>
                  <a:pt x="572" y="648"/>
                </a:lnTo>
                <a:lnTo>
                  <a:pt x="595" y="634"/>
                </a:lnTo>
                <a:lnTo>
                  <a:pt x="624" y="632"/>
                </a:lnTo>
                <a:lnTo>
                  <a:pt x="634" y="641"/>
                </a:lnTo>
                <a:lnTo>
                  <a:pt x="636" y="700"/>
                </a:lnTo>
                <a:lnTo>
                  <a:pt x="649" y="735"/>
                </a:lnTo>
                <a:lnTo>
                  <a:pt x="700" y="775"/>
                </a:lnTo>
                <a:lnTo>
                  <a:pt x="719" y="781"/>
                </a:lnTo>
                <a:lnTo>
                  <a:pt x="759" y="815"/>
                </a:lnTo>
                <a:lnTo>
                  <a:pt x="995" y="878"/>
                </a:lnTo>
                <a:lnTo>
                  <a:pt x="1200" y="907"/>
                </a:lnTo>
                <a:lnTo>
                  <a:pt x="1241" y="886"/>
                </a:lnTo>
                <a:lnTo>
                  <a:pt x="1282" y="840"/>
                </a:lnTo>
                <a:lnTo>
                  <a:pt x="1344" y="829"/>
                </a:lnTo>
                <a:lnTo>
                  <a:pt x="1430" y="853"/>
                </a:lnTo>
                <a:lnTo>
                  <a:pt x="1455" y="817"/>
                </a:lnTo>
                <a:lnTo>
                  <a:pt x="1553" y="831"/>
                </a:lnTo>
                <a:lnTo>
                  <a:pt x="1564" y="796"/>
                </a:lnTo>
                <a:lnTo>
                  <a:pt x="1602" y="779"/>
                </a:lnTo>
                <a:lnTo>
                  <a:pt x="1651" y="732"/>
                </a:lnTo>
                <a:lnTo>
                  <a:pt x="1701" y="721"/>
                </a:lnTo>
                <a:lnTo>
                  <a:pt x="1702" y="630"/>
                </a:lnTo>
                <a:lnTo>
                  <a:pt x="1745" y="550"/>
                </a:lnTo>
                <a:lnTo>
                  <a:pt x="1716" y="510"/>
                </a:lnTo>
                <a:lnTo>
                  <a:pt x="1736" y="477"/>
                </a:lnTo>
                <a:lnTo>
                  <a:pt x="1853" y="480"/>
                </a:lnTo>
                <a:lnTo>
                  <a:pt x="1875" y="444"/>
                </a:lnTo>
                <a:lnTo>
                  <a:pt x="1879" y="356"/>
                </a:lnTo>
                <a:lnTo>
                  <a:pt x="1827" y="197"/>
                </a:lnTo>
                <a:lnTo>
                  <a:pt x="1829" y="137"/>
                </a:lnTo>
                <a:lnTo>
                  <a:pt x="1797" y="91"/>
                </a:lnTo>
                <a:lnTo>
                  <a:pt x="1640" y="96"/>
                </a:lnTo>
                <a:lnTo>
                  <a:pt x="1583" y="38"/>
                </a:lnTo>
                <a:lnTo>
                  <a:pt x="1547" y="17"/>
                </a:lnTo>
                <a:lnTo>
                  <a:pt x="1400" y="0"/>
                </a:lnTo>
                <a:lnTo>
                  <a:pt x="1355" y="79"/>
                </a:lnTo>
                <a:lnTo>
                  <a:pt x="1311" y="112"/>
                </a:lnTo>
                <a:lnTo>
                  <a:pt x="1273" y="126"/>
                </a:lnTo>
                <a:lnTo>
                  <a:pt x="1172" y="119"/>
                </a:lnTo>
                <a:lnTo>
                  <a:pt x="1089" y="64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29" name="Freeform 136" descr="Large checker board">
            <a:extLst>
              <a:ext uri="{FF2B5EF4-FFF2-40B4-BE49-F238E27FC236}">
                <a16:creationId xmlns:a16="http://schemas.microsoft.com/office/drawing/2014/main" id="{BE3D7DDA-5D08-4E9D-8905-BDB492E91E06}"/>
              </a:ext>
            </a:extLst>
          </p:cNvPr>
          <p:cNvSpPr>
            <a:spLocks/>
          </p:cNvSpPr>
          <p:nvPr/>
        </p:nvSpPr>
        <p:spPr bwMode="auto">
          <a:xfrm rot="21249101">
            <a:off x="6592333" y="4271648"/>
            <a:ext cx="784670" cy="345718"/>
          </a:xfrm>
          <a:custGeom>
            <a:avLst/>
            <a:gdLst>
              <a:gd name="T0" fmla="*/ 2147483647 w 1879"/>
              <a:gd name="T1" fmla="*/ 2147483647 h 907"/>
              <a:gd name="T2" fmla="*/ 2147483647 w 1879"/>
              <a:gd name="T3" fmla="*/ 2147483647 h 907"/>
              <a:gd name="T4" fmla="*/ 2147483647 w 1879"/>
              <a:gd name="T5" fmla="*/ 2147483647 h 907"/>
              <a:gd name="T6" fmla="*/ 2147483647 w 1879"/>
              <a:gd name="T7" fmla="*/ 2147483647 h 907"/>
              <a:gd name="T8" fmla="*/ 2147483647 w 1879"/>
              <a:gd name="T9" fmla="*/ 2147483647 h 907"/>
              <a:gd name="T10" fmla="*/ 2147483647 w 1879"/>
              <a:gd name="T11" fmla="*/ 2147483647 h 907"/>
              <a:gd name="T12" fmla="*/ 2147483647 w 1879"/>
              <a:gd name="T13" fmla="*/ 2147483647 h 907"/>
              <a:gd name="T14" fmla="*/ 2147483647 w 1879"/>
              <a:gd name="T15" fmla="*/ 2147483647 h 907"/>
              <a:gd name="T16" fmla="*/ 2147483647 w 1879"/>
              <a:gd name="T17" fmla="*/ 2147483647 h 907"/>
              <a:gd name="T18" fmla="*/ 2147483647 w 1879"/>
              <a:gd name="T19" fmla="*/ 2147483647 h 907"/>
              <a:gd name="T20" fmla="*/ 2147483647 w 1879"/>
              <a:gd name="T21" fmla="*/ 2147483647 h 907"/>
              <a:gd name="T22" fmla="*/ 2147483647 w 1879"/>
              <a:gd name="T23" fmla="*/ 2147483647 h 907"/>
              <a:gd name="T24" fmla="*/ 2147483647 w 1879"/>
              <a:gd name="T25" fmla="*/ 2147483647 h 907"/>
              <a:gd name="T26" fmla="*/ 2147483647 w 1879"/>
              <a:gd name="T27" fmla="*/ 2147483647 h 907"/>
              <a:gd name="T28" fmla="*/ 2147483647 w 1879"/>
              <a:gd name="T29" fmla="*/ 2147483647 h 907"/>
              <a:gd name="T30" fmla="*/ 2147483647 w 1879"/>
              <a:gd name="T31" fmla="*/ 2147483647 h 907"/>
              <a:gd name="T32" fmla="*/ 2147483647 w 1879"/>
              <a:gd name="T33" fmla="*/ 2147483647 h 907"/>
              <a:gd name="T34" fmla="*/ 2147483647 w 1879"/>
              <a:gd name="T35" fmla="*/ 2147483647 h 907"/>
              <a:gd name="T36" fmla="*/ 2147483647 w 1879"/>
              <a:gd name="T37" fmla="*/ 2147483647 h 907"/>
              <a:gd name="T38" fmla="*/ 2147483647 w 1879"/>
              <a:gd name="T39" fmla="*/ 2147483647 h 907"/>
              <a:gd name="T40" fmla="*/ 2147483647 w 1879"/>
              <a:gd name="T41" fmla="*/ 2147483647 h 907"/>
              <a:gd name="T42" fmla="*/ 2147483647 w 1879"/>
              <a:gd name="T43" fmla="*/ 2147483647 h 907"/>
              <a:gd name="T44" fmla="*/ 2147483647 w 1879"/>
              <a:gd name="T45" fmla="*/ 2147483647 h 907"/>
              <a:gd name="T46" fmla="*/ 2147483647 w 1879"/>
              <a:gd name="T47" fmla="*/ 2147483647 h 907"/>
              <a:gd name="T48" fmla="*/ 2147483647 w 1879"/>
              <a:gd name="T49" fmla="*/ 2147483647 h 907"/>
              <a:gd name="T50" fmla="*/ 2147483647 w 1879"/>
              <a:gd name="T51" fmla="*/ 2147483647 h 907"/>
              <a:gd name="T52" fmla="*/ 2147483647 w 1879"/>
              <a:gd name="T53" fmla="*/ 2147483647 h 907"/>
              <a:gd name="T54" fmla="*/ 2147483647 w 1879"/>
              <a:gd name="T55" fmla="*/ 2147483647 h 907"/>
              <a:gd name="T56" fmla="*/ 2147483647 w 1879"/>
              <a:gd name="T57" fmla="*/ 2147483647 h 907"/>
              <a:gd name="T58" fmla="*/ 2147483647 w 1879"/>
              <a:gd name="T59" fmla="*/ 2147483647 h 907"/>
              <a:gd name="T60" fmla="*/ 2147483647 w 1879"/>
              <a:gd name="T61" fmla="*/ 2147483647 h 907"/>
              <a:gd name="T62" fmla="*/ 2147483647 w 1879"/>
              <a:gd name="T63" fmla="*/ 2147483647 h 907"/>
              <a:gd name="T64" fmla="*/ 2147483647 w 1879"/>
              <a:gd name="T65" fmla="*/ 2147483647 h 907"/>
              <a:gd name="T66" fmla="*/ 2147483647 w 1879"/>
              <a:gd name="T67" fmla="*/ 2147483647 h 907"/>
              <a:gd name="T68" fmla="*/ 2147483647 w 1879"/>
              <a:gd name="T69" fmla="*/ 2147483647 h 907"/>
              <a:gd name="T70" fmla="*/ 2147483647 w 1879"/>
              <a:gd name="T71" fmla="*/ 0 h 907"/>
              <a:gd name="T72" fmla="*/ 2147483647 w 1879"/>
              <a:gd name="T73" fmla="*/ 2147483647 h 907"/>
              <a:gd name="T74" fmla="*/ 2147483647 w 1879"/>
              <a:gd name="T75" fmla="*/ 2147483647 h 90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879"/>
              <a:gd name="T115" fmla="*/ 0 h 907"/>
              <a:gd name="T116" fmla="*/ 1879 w 1879"/>
              <a:gd name="T117" fmla="*/ 907 h 90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879" h="907">
                <a:moveTo>
                  <a:pt x="1089" y="64"/>
                </a:moveTo>
                <a:lnTo>
                  <a:pt x="1080" y="98"/>
                </a:lnTo>
                <a:lnTo>
                  <a:pt x="1002" y="123"/>
                </a:lnTo>
                <a:lnTo>
                  <a:pt x="963" y="200"/>
                </a:lnTo>
                <a:lnTo>
                  <a:pt x="861" y="230"/>
                </a:lnTo>
                <a:lnTo>
                  <a:pt x="835" y="278"/>
                </a:lnTo>
                <a:lnTo>
                  <a:pt x="833" y="351"/>
                </a:lnTo>
                <a:lnTo>
                  <a:pt x="856" y="424"/>
                </a:lnTo>
                <a:lnTo>
                  <a:pt x="856" y="458"/>
                </a:lnTo>
                <a:lnTo>
                  <a:pt x="819" y="471"/>
                </a:lnTo>
                <a:lnTo>
                  <a:pt x="804" y="435"/>
                </a:lnTo>
                <a:lnTo>
                  <a:pt x="739" y="428"/>
                </a:lnTo>
                <a:lnTo>
                  <a:pt x="690" y="407"/>
                </a:lnTo>
                <a:lnTo>
                  <a:pt x="669" y="427"/>
                </a:lnTo>
                <a:lnTo>
                  <a:pt x="520" y="429"/>
                </a:lnTo>
                <a:lnTo>
                  <a:pt x="427" y="476"/>
                </a:lnTo>
                <a:lnTo>
                  <a:pt x="368" y="469"/>
                </a:lnTo>
                <a:lnTo>
                  <a:pt x="313" y="427"/>
                </a:lnTo>
                <a:lnTo>
                  <a:pt x="263" y="416"/>
                </a:lnTo>
                <a:lnTo>
                  <a:pt x="230" y="441"/>
                </a:lnTo>
                <a:lnTo>
                  <a:pt x="212" y="469"/>
                </a:lnTo>
                <a:lnTo>
                  <a:pt x="187" y="481"/>
                </a:lnTo>
                <a:lnTo>
                  <a:pt x="146" y="453"/>
                </a:lnTo>
                <a:lnTo>
                  <a:pt x="128" y="412"/>
                </a:lnTo>
                <a:lnTo>
                  <a:pt x="91" y="396"/>
                </a:lnTo>
                <a:lnTo>
                  <a:pt x="48" y="393"/>
                </a:lnTo>
                <a:lnTo>
                  <a:pt x="0" y="405"/>
                </a:lnTo>
                <a:lnTo>
                  <a:pt x="29" y="444"/>
                </a:lnTo>
                <a:lnTo>
                  <a:pt x="60" y="470"/>
                </a:lnTo>
                <a:lnTo>
                  <a:pt x="56" y="554"/>
                </a:lnTo>
                <a:lnTo>
                  <a:pt x="24" y="585"/>
                </a:lnTo>
                <a:lnTo>
                  <a:pt x="93" y="636"/>
                </a:lnTo>
                <a:lnTo>
                  <a:pt x="134" y="648"/>
                </a:lnTo>
                <a:lnTo>
                  <a:pt x="171" y="633"/>
                </a:lnTo>
                <a:lnTo>
                  <a:pt x="203" y="662"/>
                </a:lnTo>
                <a:lnTo>
                  <a:pt x="257" y="687"/>
                </a:lnTo>
                <a:lnTo>
                  <a:pt x="572" y="648"/>
                </a:lnTo>
                <a:lnTo>
                  <a:pt x="595" y="634"/>
                </a:lnTo>
                <a:lnTo>
                  <a:pt x="624" y="632"/>
                </a:lnTo>
                <a:lnTo>
                  <a:pt x="634" y="641"/>
                </a:lnTo>
                <a:lnTo>
                  <a:pt x="636" y="700"/>
                </a:lnTo>
                <a:lnTo>
                  <a:pt x="649" y="735"/>
                </a:lnTo>
                <a:lnTo>
                  <a:pt x="700" y="775"/>
                </a:lnTo>
                <a:lnTo>
                  <a:pt x="719" y="781"/>
                </a:lnTo>
                <a:lnTo>
                  <a:pt x="759" y="815"/>
                </a:lnTo>
                <a:lnTo>
                  <a:pt x="995" y="878"/>
                </a:lnTo>
                <a:lnTo>
                  <a:pt x="1200" y="907"/>
                </a:lnTo>
                <a:lnTo>
                  <a:pt x="1241" y="886"/>
                </a:lnTo>
                <a:lnTo>
                  <a:pt x="1282" y="840"/>
                </a:lnTo>
                <a:lnTo>
                  <a:pt x="1344" y="829"/>
                </a:lnTo>
                <a:lnTo>
                  <a:pt x="1430" y="853"/>
                </a:lnTo>
                <a:lnTo>
                  <a:pt x="1455" y="817"/>
                </a:lnTo>
                <a:lnTo>
                  <a:pt x="1553" y="831"/>
                </a:lnTo>
                <a:lnTo>
                  <a:pt x="1564" y="796"/>
                </a:lnTo>
                <a:lnTo>
                  <a:pt x="1602" y="779"/>
                </a:lnTo>
                <a:lnTo>
                  <a:pt x="1651" y="732"/>
                </a:lnTo>
                <a:lnTo>
                  <a:pt x="1701" y="721"/>
                </a:lnTo>
                <a:lnTo>
                  <a:pt x="1702" y="630"/>
                </a:lnTo>
                <a:lnTo>
                  <a:pt x="1745" y="550"/>
                </a:lnTo>
                <a:lnTo>
                  <a:pt x="1716" y="510"/>
                </a:lnTo>
                <a:lnTo>
                  <a:pt x="1736" y="477"/>
                </a:lnTo>
                <a:lnTo>
                  <a:pt x="1853" y="480"/>
                </a:lnTo>
                <a:lnTo>
                  <a:pt x="1875" y="444"/>
                </a:lnTo>
                <a:lnTo>
                  <a:pt x="1879" y="356"/>
                </a:lnTo>
                <a:lnTo>
                  <a:pt x="1827" y="197"/>
                </a:lnTo>
                <a:lnTo>
                  <a:pt x="1829" y="137"/>
                </a:lnTo>
                <a:lnTo>
                  <a:pt x="1797" y="91"/>
                </a:lnTo>
                <a:lnTo>
                  <a:pt x="1640" y="96"/>
                </a:lnTo>
                <a:lnTo>
                  <a:pt x="1583" y="38"/>
                </a:lnTo>
                <a:lnTo>
                  <a:pt x="1547" y="17"/>
                </a:lnTo>
                <a:lnTo>
                  <a:pt x="1400" y="0"/>
                </a:lnTo>
                <a:lnTo>
                  <a:pt x="1355" y="79"/>
                </a:lnTo>
                <a:lnTo>
                  <a:pt x="1311" y="112"/>
                </a:lnTo>
                <a:lnTo>
                  <a:pt x="1273" y="126"/>
                </a:lnTo>
                <a:lnTo>
                  <a:pt x="1172" y="119"/>
                </a:lnTo>
                <a:lnTo>
                  <a:pt x="1089" y="64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0" name="Freeform 137">
            <a:extLst>
              <a:ext uri="{FF2B5EF4-FFF2-40B4-BE49-F238E27FC236}">
                <a16:creationId xmlns:a16="http://schemas.microsoft.com/office/drawing/2014/main" id="{036A9A22-F45C-4F0F-95CE-33D4DA0F1F62}"/>
              </a:ext>
            </a:extLst>
          </p:cNvPr>
          <p:cNvSpPr>
            <a:spLocks/>
          </p:cNvSpPr>
          <p:nvPr/>
        </p:nvSpPr>
        <p:spPr bwMode="auto">
          <a:xfrm rot="21249101">
            <a:off x="6051863" y="3635919"/>
            <a:ext cx="380663" cy="360466"/>
          </a:xfrm>
          <a:custGeom>
            <a:avLst/>
            <a:gdLst>
              <a:gd name="T0" fmla="*/ 2147483647 w 914"/>
              <a:gd name="T1" fmla="*/ 2147483647 h 939"/>
              <a:gd name="T2" fmla="*/ 2147483647 w 914"/>
              <a:gd name="T3" fmla="*/ 2147483647 h 939"/>
              <a:gd name="T4" fmla="*/ 2147483647 w 914"/>
              <a:gd name="T5" fmla="*/ 2147483647 h 939"/>
              <a:gd name="T6" fmla="*/ 2147483647 w 914"/>
              <a:gd name="T7" fmla="*/ 2147483647 h 939"/>
              <a:gd name="T8" fmla="*/ 2147483647 w 914"/>
              <a:gd name="T9" fmla="*/ 2147483647 h 939"/>
              <a:gd name="T10" fmla="*/ 2147483647 w 914"/>
              <a:gd name="T11" fmla="*/ 2147483647 h 939"/>
              <a:gd name="T12" fmla="*/ 0 w 914"/>
              <a:gd name="T13" fmla="*/ 2147483647 h 939"/>
              <a:gd name="T14" fmla="*/ 2147483647 w 914"/>
              <a:gd name="T15" fmla="*/ 2147483647 h 939"/>
              <a:gd name="T16" fmla="*/ 2147483647 w 914"/>
              <a:gd name="T17" fmla="*/ 2147483647 h 939"/>
              <a:gd name="T18" fmla="*/ 2147483647 w 914"/>
              <a:gd name="T19" fmla="*/ 2147483647 h 939"/>
              <a:gd name="T20" fmla="*/ 2147483647 w 914"/>
              <a:gd name="T21" fmla="*/ 2147483647 h 939"/>
              <a:gd name="T22" fmla="*/ 2147483647 w 914"/>
              <a:gd name="T23" fmla="*/ 2147483647 h 939"/>
              <a:gd name="T24" fmla="*/ 2147483647 w 914"/>
              <a:gd name="T25" fmla="*/ 2147483647 h 939"/>
              <a:gd name="T26" fmla="*/ 2147483647 w 914"/>
              <a:gd name="T27" fmla="*/ 2147483647 h 939"/>
              <a:gd name="T28" fmla="*/ 2147483647 w 914"/>
              <a:gd name="T29" fmla="*/ 2147483647 h 939"/>
              <a:gd name="T30" fmla="*/ 2147483647 w 914"/>
              <a:gd name="T31" fmla="*/ 2147483647 h 939"/>
              <a:gd name="T32" fmla="*/ 2147483647 w 914"/>
              <a:gd name="T33" fmla="*/ 2147483647 h 939"/>
              <a:gd name="T34" fmla="*/ 2147483647 w 914"/>
              <a:gd name="T35" fmla="*/ 2147483647 h 939"/>
              <a:gd name="T36" fmla="*/ 2147483647 w 914"/>
              <a:gd name="T37" fmla="*/ 2147483647 h 939"/>
              <a:gd name="T38" fmla="*/ 2147483647 w 914"/>
              <a:gd name="T39" fmla="*/ 2147483647 h 939"/>
              <a:gd name="T40" fmla="*/ 2147483647 w 914"/>
              <a:gd name="T41" fmla="*/ 2147483647 h 939"/>
              <a:gd name="T42" fmla="*/ 2147483647 w 914"/>
              <a:gd name="T43" fmla="*/ 2147483647 h 939"/>
              <a:gd name="T44" fmla="*/ 2147483647 w 914"/>
              <a:gd name="T45" fmla="*/ 2147483647 h 939"/>
              <a:gd name="T46" fmla="*/ 2147483647 w 914"/>
              <a:gd name="T47" fmla="*/ 2147483647 h 939"/>
              <a:gd name="T48" fmla="*/ 2147483647 w 914"/>
              <a:gd name="T49" fmla="*/ 2147483647 h 939"/>
              <a:gd name="T50" fmla="*/ 2147483647 w 914"/>
              <a:gd name="T51" fmla="*/ 2147483647 h 939"/>
              <a:gd name="T52" fmla="*/ 2147483647 w 914"/>
              <a:gd name="T53" fmla="*/ 2147483647 h 939"/>
              <a:gd name="T54" fmla="*/ 2147483647 w 914"/>
              <a:gd name="T55" fmla="*/ 2147483647 h 939"/>
              <a:gd name="T56" fmla="*/ 2147483647 w 914"/>
              <a:gd name="T57" fmla="*/ 2147483647 h 939"/>
              <a:gd name="T58" fmla="*/ 2147483647 w 914"/>
              <a:gd name="T59" fmla="*/ 0 h 939"/>
              <a:gd name="T60" fmla="*/ 2147483647 w 914"/>
              <a:gd name="T61" fmla="*/ 2147483647 h 939"/>
              <a:gd name="T62" fmla="*/ 2147483647 w 914"/>
              <a:gd name="T63" fmla="*/ 2147483647 h 939"/>
              <a:gd name="T64" fmla="*/ 2147483647 w 914"/>
              <a:gd name="T65" fmla="*/ 2147483647 h 939"/>
              <a:gd name="T66" fmla="*/ 2147483647 w 914"/>
              <a:gd name="T67" fmla="*/ 2147483647 h 939"/>
              <a:gd name="T68" fmla="*/ 2147483647 w 914"/>
              <a:gd name="T69" fmla="*/ 2147483647 h 939"/>
              <a:gd name="T70" fmla="*/ 2147483647 w 914"/>
              <a:gd name="T71" fmla="*/ 2147483647 h 939"/>
              <a:gd name="T72" fmla="*/ 2147483647 w 914"/>
              <a:gd name="T73" fmla="*/ 2147483647 h 939"/>
              <a:gd name="T74" fmla="*/ 2147483647 w 914"/>
              <a:gd name="T75" fmla="*/ 2147483647 h 939"/>
              <a:gd name="T76" fmla="*/ 2147483647 w 914"/>
              <a:gd name="T77" fmla="*/ 2147483647 h 939"/>
              <a:gd name="T78" fmla="*/ 2147483647 w 914"/>
              <a:gd name="T79" fmla="*/ 2147483647 h 939"/>
              <a:gd name="T80" fmla="*/ 2147483647 w 914"/>
              <a:gd name="T81" fmla="*/ 2147483647 h 939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914"/>
              <a:gd name="T124" fmla="*/ 0 h 939"/>
              <a:gd name="T125" fmla="*/ 914 w 914"/>
              <a:gd name="T126" fmla="*/ 939 h 939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914" h="939">
                <a:moveTo>
                  <a:pt x="510" y="939"/>
                </a:moveTo>
                <a:lnTo>
                  <a:pt x="463" y="930"/>
                </a:lnTo>
                <a:lnTo>
                  <a:pt x="435" y="900"/>
                </a:lnTo>
                <a:lnTo>
                  <a:pt x="455" y="769"/>
                </a:lnTo>
                <a:lnTo>
                  <a:pt x="429" y="740"/>
                </a:lnTo>
                <a:lnTo>
                  <a:pt x="389" y="730"/>
                </a:lnTo>
                <a:lnTo>
                  <a:pt x="361" y="704"/>
                </a:lnTo>
                <a:lnTo>
                  <a:pt x="356" y="676"/>
                </a:lnTo>
                <a:lnTo>
                  <a:pt x="344" y="674"/>
                </a:lnTo>
                <a:lnTo>
                  <a:pt x="327" y="644"/>
                </a:lnTo>
                <a:lnTo>
                  <a:pt x="215" y="636"/>
                </a:lnTo>
                <a:lnTo>
                  <a:pt x="144" y="662"/>
                </a:lnTo>
                <a:lnTo>
                  <a:pt x="61" y="670"/>
                </a:lnTo>
                <a:lnTo>
                  <a:pt x="0" y="617"/>
                </a:lnTo>
                <a:lnTo>
                  <a:pt x="2" y="613"/>
                </a:lnTo>
                <a:lnTo>
                  <a:pt x="13" y="607"/>
                </a:lnTo>
                <a:lnTo>
                  <a:pt x="43" y="611"/>
                </a:lnTo>
                <a:lnTo>
                  <a:pt x="78" y="647"/>
                </a:lnTo>
                <a:lnTo>
                  <a:pt x="120" y="637"/>
                </a:lnTo>
                <a:lnTo>
                  <a:pt x="155" y="642"/>
                </a:lnTo>
                <a:lnTo>
                  <a:pt x="172" y="632"/>
                </a:lnTo>
                <a:lnTo>
                  <a:pt x="143" y="621"/>
                </a:lnTo>
                <a:lnTo>
                  <a:pt x="104" y="617"/>
                </a:lnTo>
                <a:lnTo>
                  <a:pt x="84" y="605"/>
                </a:lnTo>
                <a:lnTo>
                  <a:pt x="104" y="577"/>
                </a:lnTo>
                <a:lnTo>
                  <a:pt x="339" y="550"/>
                </a:lnTo>
                <a:lnTo>
                  <a:pt x="325" y="532"/>
                </a:lnTo>
                <a:lnTo>
                  <a:pt x="272" y="542"/>
                </a:lnTo>
                <a:lnTo>
                  <a:pt x="208" y="513"/>
                </a:lnTo>
                <a:lnTo>
                  <a:pt x="188" y="484"/>
                </a:lnTo>
                <a:lnTo>
                  <a:pt x="206" y="428"/>
                </a:lnTo>
                <a:lnTo>
                  <a:pt x="315" y="343"/>
                </a:lnTo>
                <a:lnTo>
                  <a:pt x="413" y="139"/>
                </a:lnTo>
                <a:lnTo>
                  <a:pt x="451" y="132"/>
                </a:lnTo>
                <a:lnTo>
                  <a:pt x="459" y="165"/>
                </a:lnTo>
                <a:lnTo>
                  <a:pt x="479" y="191"/>
                </a:lnTo>
                <a:lnTo>
                  <a:pt x="478" y="204"/>
                </a:lnTo>
                <a:lnTo>
                  <a:pt x="474" y="211"/>
                </a:lnTo>
                <a:lnTo>
                  <a:pt x="439" y="215"/>
                </a:lnTo>
                <a:lnTo>
                  <a:pt x="422" y="250"/>
                </a:lnTo>
                <a:lnTo>
                  <a:pt x="419" y="297"/>
                </a:lnTo>
                <a:lnTo>
                  <a:pt x="414" y="312"/>
                </a:lnTo>
                <a:lnTo>
                  <a:pt x="432" y="339"/>
                </a:lnTo>
                <a:lnTo>
                  <a:pt x="468" y="363"/>
                </a:lnTo>
                <a:lnTo>
                  <a:pt x="488" y="368"/>
                </a:lnTo>
                <a:lnTo>
                  <a:pt x="499" y="360"/>
                </a:lnTo>
                <a:lnTo>
                  <a:pt x="499" y="327"/>
                </a:lnTo>
                <a:lnTo>
                  <a:pt x="486" y="299"/>
                </a:lnTo>
                <a:lnTo>
                  <a:pt x="486" y="281"/>
                </a:lnTo>
                <a:lnTo>
                  <a:pt x="504" y="279"/>
                </a:lnTo>
                <a:lnTo>
                  <a:pt x="532" y="262"/>
                </a:lnTo>
                <a:lnTo>
                  <a:pt x="571" y="174"/>
                </a:lnTo>
                <a:lnTo>
                  <a:pt x="562" y="164"/>
                </a:lnTo>
                <a:lnTo>
                  <a:pt x="536" y="160"/>
                </a:lnTo>
                <a:lnTo>
                  <a:pt x="534" y="146"/>
                </a:lnTo>
                <a:lnTo>
                  <a:pt x="540" y="80"/>
                </a:lnTo>
                <a:lnTo>
                  <a:pt x="549" y="62"/>
                </a:lnTo>
                <a:lnTo>
                  <a:pt x="571" y="35"/>
                </a:lnTo>
                <a:lnTo>
                  <a:pt x="656" y="0"/>
                </a:lnTo>
                <a:lnTo>
                  <a:pt x="699" y="0"/>
                </a:lnTo>
                <a:lnTo>
                  <a:pt x="746" y="19"/>
                </a:lnTo>
                <a:lnTo>
                  <a:pt x="792" y="6"/>
                </a:lnTo>
                <a:lnTo>
                  <a:pt x="840" y="11"/>
                </a:lnTo>
                <a:lnTo>
                  <a:pt x="873" y="29"/>
                </a:lnTo>
                <a:lnTo>
                  <a:pt x="914" y="88"/>
                </a:lnTo>
                <a:lnTo>
                  <a:pt x="841" y="262"/>
                </a:lnTo>
                <a:lnTo>
                  <a:pt x="774" y="292"/>
                </a:lnTo>
                <a:lnTo>
                  <a:pt x="776" y="332"/>
                </a:lnTo>
                <a:lnTo>
                  <a:pt x="842" y="376"/>
                </a:lnTo>
                <a:lnTo>
                  <a:pt x="829" y="422"/>
                </a:lnTo>
                <a:lnTo>
                  <a:pt x="793" y="456"/>
                </a:lnTo>
                <a:lnTo>
                  <a:pt x="749" y="477"/>
                </a:lnTo>
                <a:lnTo>
                  <a:pt x="733" y="522"/>
                </a:lnTo>
                <a:lnTo>
                  <a:pt x="707" y="559"/>
                </a:lnTo>
                <a:lnTo>
                  <a:pt x="674" y="561"/>
                </a:lnTo>
                <a:lnTo>
                  <a:pt x="627" y="529"/>
                </a:lnTo>
                <a:lnTo>
                  <a:pt x="585" y="522"/>
                </a:lnTo>
                <a:lnTo>
                  <a:pt x="548" y="785"/>
                </a:lnTo>
                <a:lnTo>
                  <a:pt x="517" y="811"/>
                </a:lnTo>
                <a:lnTo>
                  <a:pt x="508" y="840"/>
                </a:lnTo>
                <a:lnTo>
                  <a:pt x="514" y="917"/>
                </a:lnTo>
                <a:lnTo>
                  <a:pt x="510" y="939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1" name="Freeform 138">
            <a:extLst>
              <a:ext uri="{FF2B5EF4-FFF2-40B4-BE49-F238E27FC236}">
                <a16:creationId xmlns:a16="http://schemas.microsoft.com/office/drawing/2014/main" id="{B2CA8506-8BD3-4621-A805-D9FE92B360E4}"/>
              </a:ext>
            </a:extLst>
          </p:cNvPr>
          <p:cNvSpPr>
            <a:spLocks/>
          </p:cNvSpPr>
          <p:nvPr/>
        </p:nvSpPr>
        <p:spPr bwMode="auto">
          <a:xfrm rot="21249101">
            <a:off x="6051863" y="3635919"/>
            <a:ext cx="380663" cy="360466"/>
          </a:xfrm>
          <a:custGeom>
            <a:avLst/>
            <a:gdLst>
              <a:gd name="T0" fmla="*/ 2147483647 w 914"/>
              <a:gd name="T1" fmla="*/ 2147483647 h 939"/>
              <a:gd name="T2" fmla="*/ 2147483647 w 914"/>
              <a:gd name="T3" fmla="*/ 2147483647 h 939"/>
              <a:gd name="T4" fmla="*/ 2147483647 w 914"/>
              <a:gd name="T5" fmla="*/ 2147483647 h 939"/>
              <a:gd name="T6" fmla="*/ 2147483647 w 914"/>
              <a:gd name="T7" fmla="*/ 2147483647 h 939"/>
              <a:gd name="T8" fmla="*/ 2147483647 w 914"/>
              <a:gd name="T9" fmla="*/ 2147483647 h 939"/>
              <a:gd name="T10" fmla="*/ 2147483647 w 914"/>
              <a:gd name="T11" fmla="*/ 2147483647 h 939"/>
              <a:gd name="T12" fmla="*/ 0 w 914"/>
              <a:gd name="T13" fmla="*/ 2147483647 h 939"/>
              <a:gd name="T14" fmla="*/ 2147483647 w 914"/>
              <a:gd name="T15" fmla="*/ 2147483647 h 939"/>
              <a:gd name="T16" fmla="*/ 2147483647 w 914"/>
              <a:gd name="T17" fmla="*/ 2147483647 h 939"/>
              <a:gd name="T18" fmla="*/ 2147483647 w 914"/>
              <a:gd name="T19" fmla="*/ 2147483647 h 939"/>
              <a:gd name="T20" fmla="*/ 2147483647 w 914"/>
              <a:gd name="T21" fmla="*/ 2147483647 h 939"/>
              <a:gd name="T22" fmla="*/ 2147483647 w 914"/>
              <a:gd name="T23" fmla="*/ 2147483647 h 939"/>
              <a:gd name="T24" fmla="*/ 2147483647 w 914"/>
              <a:gd name="T25" fmla="*/ 2147483647 h 939"/>
              <a:gd name="T26" fmla="*/ 2147483647 w 914"/>
              <a:gd name="T27" fmla="*/ 2147483647 h 939"/>
              <a:gd name="T28" fmla="*/ 2147483647 w 914"/>
              <a:gd name="T29" fmla="*/ 2147483647 h 939"/>
              <a:gd name="T30" fmla="*/ 2147483647 w 914"/>
              <a:gd name="T31" fmla="*/ 2147483647 h 939"/>
              <a:gd name="T32" fmla="*/ 2147483647 w 914"/>
              <a:gd name="T33" fmla="*/ 2147483647 h 939"/>
              <a:gd name="T34" fmla="*/ 2147483647 w 914"/>
              <a:gd name="T35" fmla="*/ 2147483647 h 939"/>
              <a:gd name="T36" fmla="*/ 2147483647 w 914"/>
              <a:gd name="T37" fmla="*/ 2147483647 h 939"/>
              <a:gd name="T38" fmla="*/ 2147483647 w 914"/>
              <a:gd name="T39" fmla="*/ 2147483647 h 939"/>
              <a:gd name="T40" fmla="*/ 2147483647 w 914"/>
              <a:gd name="T41" fmla="*/ 2147483647 h 939"/>
              <a:gd name="T42" fmla="*/ 2147483647 w 914"/>
              <a:gd name="T43" fmla="*/ 2147483647 h 939"/>
              <a:gd name="T44" fmla="*/ 2147483647 w 914"/>
              <a:gd name="T45" fmla="*/ 2147483647 h 939"/>
              <a:gd name="T46" fmla="*/ 2147483647 w 914"/>
              <a:gd name="T47" fmla="*/ 2147483647 h 939"/>
              <a:gd name="T48" fmla="*/ 2147483647 w 914"/>
              <a:gd name="T49" fmla="*/ 2147483647 h 939"/>
              <a:gd name="T50" fmla="*/ 2147483647 w 914"/>
              <a:gd name="T51" fmla="*/ 2147483647 h 939"/>
              <a:gd name="T52" fmla="*/ 2147483647 w 914"/>
              <a:gd name="T53" fmla="*/ 2147483647 h 939"/>
              <a:gd name="T54" fmla="*/ 2147483647 w 914"/>
              <a:gd name="T55" fmla="*/ 2147483647 h 939"/>
              <a:gd name="T56" fmla="*/ 2147483647 w 914"/>
              <a:gd name="T57" fmla="*/ 2147483647 h 939"/>
              <a:gd name="T58" fmla="*/ 2147483647 w 914"/>
              <a:gd name="T59" fmla="*/ 0 h 939"/>
              <a:gd name="T60" fmla="*/ 2147483647 w 914"/>
              <a:gd name="T61" fmla="*/ 2147483647 h 939"/>
              <a:gd name="T62" fmla="*/ 2147483647 w 914"/>
              <a:gd name="T63" fmla="*/ 2147483647 h 939"/>
              <a:gd name="T64" fmla="*/ 2147483647 w 914"/>
              <a:gd name="T65" fmla="*/ 2147483647 h 939"/>
              <a:gd name="T66" fmla="*/ 2147483647 w 914"/>
              <a:gd name="T67" fmla="*/ 2147483647 h 939"/>
              <a:gd name="T68" fmla="*/ 2147483647 w 914"/>
              <a:gd name="T69" fmla="*/ 2147483647 h 939"/>
              <a:gd name="T70" fmla="*/ 2147483647 w 914"/>
              <a:gd name="T71" fmla="*/ 2147483647 h 939"/>
              <a:gd name="T72" fmla="*/ 2147483647 w 914"/>
              <a:gd name="T73" fmla="*/ 2147483647 h 939"/>
              <a:gd name="T74" fmla="*/ 2147483647 w 914"/>
              <a:gd name="T75" fmla="*/ 2147483647 h 939"/>
              <a:gd name="T76" fmla="*/ 2147483647 w 914"/>
              <a:gd name="T77" fmla="*/ 2147483647 h 939"/>
              <a:gd name="T78" fmla="*/ 2147483647 w 914"/>
              <a:gd name="T79" fmla="*/ 2147483647 h 939"/>
              <a:gd name="T80" fmla="*/ 2147483647 w 914"/>
              <a:gd name="T81" fmla="*/ 2147483647 h 939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914"/>
              <a:gd name="T124" fmla="*/ 0 h 939"/>
              <a:gd name="T125" fmla="*/ 914 w 914"/>
              <a:gd name="T126" fmla="*/ 939 h 939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914" h="939">
                <a:moveTo>
                  <a:pt x="510" y="939"/>
                </a:moveTo>
                <a:lnTo>
                  <a:pt x="463" y="930"/>
                </a:lnTo>
                <a:lnTo>
                  <a:pt x="435" y="900"/>
                </a:lnTo>
                <a:lnTo>
                  <a:pt x="455" y="769"/>
                </a:lnTo>
                <a:lnTo>
                  <a:pt x="429" y="740"/>
                </a:lnTo>
                <a:lnTo>
                  <a:pt x="389" y="730"/>
                </a:lnTo>
                <a:lnTo>
                  <a:pt x="361" y="704"/>
                </a:lnTo>
                <a:lnTo>
                  <a:pt x="356" y="676"/>
                </a:lnTo>
                <a:lnTo>
                  <a:pt x="344" y="674"/>
                </a:lnTo>
                <a:lnTo>
                  <a:pt x="327" y="644"/>
                </a:lnTo>
                <a:lnTo>
                  <a:pt x="215" y="636"/>
                </a:lnTo>
                <a:lnTo>
                  <a:pt x="144" y="662"/>
                </a:lnTo>
                <a:lnTo>
                  <a:pt x="61" y="670"/>
                </a:lnTo>
                <a:lnTo>
                  <a:pt x="0" y="617"/>
                </a:lnTo>
                <a:lnTo>
                  <a:pt x="2" y="613"/>
                </a:lnTo>
                <a:lnTo>
                  <a:pt x="13" y="607"/>
                </a:lnTo>
                <a:lnTo>
                  <a:pt x="43" y="611"/>
                </a:lnTo>
                <a:lnTo>
                  <a:pt x="78" y="647"/>
                </a:lnTo>
                <a:lnTo>
                  <a:pt x="120" y="637"/>
                </a:lnTo>
                <a:lnTo>
                  <a:pt x="155" y="642"/>
                </a:lnTo>
                <a:lnTo>
                  <a:pt x="172" y="632"/>
                </a:lnTo>
                <a:lnTo>
                  <a:pt x="143" y="621"/>
                </a:lnTo>
                <a:lnTo>
                  <a:pt x="104" y="617"/>
                </a:lnTo>
                <a:lnTo>
                  <a:pt x="84" y="605"/>
                </a:lnTo>
                <a:lnTo>
                  <a:pt x="104" y="577"/>
                </a:lnTo>
                <a:lnTo>
                  <a:pt x="339" y="550"/>
                </a:lnTo>
                <a:lnTo>
                  <a:pt x="325" y="532"/>
                </a:lnTo>
                <a:lnTo>
                  <a:pt x="272" y="542"/>
                </a:lnTo>
                <a:lnTo>
                  <a:pt x="208" y="513"/>
                </a:lnTo>
                <a:lnTo>
                  <a:pt x="188" y="484"/>
                </a:lnTo>
                <a:lnTo>
                  <a:pt x="206" y="428"/>
                </a:lnTo>
                <a:lnTo>
                  <a:pt x="315" y="343"/>
                </a:lnTo>
                <a:lnTo>
                  <a:pt x="413" y="139"/>
                </a:lnTo>
                <a:lnTo>
                  <a:pt x="451" y="132"/>
                </a:lnTo>
                <a:lnTo>
                  <a:pt x="459" y="165"/>
                </a:lnTo>
                <a:lnTo>
                  <a:pt x="479" y="191"/>
                </a:lnTo>
                <a:lnTo>
                  <a:pt x="478" y="204"/>
                </a:lnTo>
                <a:lnTo>
                  <a:pt x="474" y="211"/>
                </a:lnTo>
                <a:lnTo>
                  <a:pt x="439" y="215"/>
                </a:lnTo>
                <a:lnTo>
                  <a:pt x="422" y="250"/>
                </a:lnTo>
                <a:lnTo>
                  <a:pt x="419" y="297"/>
                </a:lnTo>
                <a:lnTo>
                  <a:pt x="414" y="312"/>
                </a:lnTo>
                <a:lnTo>
                  <a:pt x="432" y="339"/>
                </a:lnTo>
                <a:lnTo>
                  <a:pt x="468" y="363"/>
                </a:lnTo>
                <a:lnTo>
                  <a:pt x="488" y="368"/>
                </a:lnTo>
                <a:lnTo>
                  <a:pt x="499" y="360"/>
                </a:lnTo>
                <a:lnTo>
                  <a:pt x="499" y="327"/>
                </a:lnTo>
                <a:lnTo>
                  <a:pt x="486" y="299"/>
                </a:lnTo>
                <a:lnTo>
                  <a:pt x="486" y="281"/>
                </a:lnTo>
                <a:lnTo>
                  <a:pt x="504" y="279"/>
                </a:lnTo>
                <a:lnTo>
                  <a:pt x="532" y="262"/>
                </a:lnTo>
                <a:lnTo>
                  <a:pt x="571" y="174"/>
                </a:lnTo>
                <a:lnTo>
                  <a:pt x="562" y="164"/>
                </a:lnTo>
                <a:lnTo>
                  <a:pt x="536" y="160"/>
                </a:lnTo>
                <a:lnTo>
                  <a:pt x="534" y="146"/>
                </a:lnTo>
                <a:lnTo>
                  <a:pt x="540" y="80"/>
                </a:lnTo>
                <a:lnTo>
                  <a:pt x="549" y="62"/>
                </a:lnTo>
                <a:lnTo>
                  <a:pt x="571" y="35"/>
                </a:lnTo>
                <a:lnTo>
                  <a:pt x="656" y="0"/>
                </a:lnTo>
                <a:lnTo>
                  <a:pt x="699" y="0"/>
                </a:lnTo>
                <a:lnTo>
                  <a:pt x="746" y="19"/>
                </a:lnTo>
                <a:lnTo>
                  <a:pt x="792" y="6"/>
                </a:lnTo>
                <a:lnTo>
                  <a:pt x="840" y="11"/>
                </a:lnTo>
                <a:lnTo>
                  <a:pt x="873" y="29"/>
                </a:lnTo>
                <a:lnTo>
                  <a:pt x="914" y="88"/>
                </a:lnTo>
                <a:lnTo>
                  <a:pt x="841" y="262"/>
                </a:lnTo>
                <a:lnTo>
                  <a:pt x="774" y="292"/>
                </a:lnTo>
                <a:lnTo>
                  <a:pt x="776" y="332"/>
                </a:lnTo>
                <a:lnTo>
                  <a:pt x="842" y="376"/>
                </a:lnTo>
                <a:lnTo>
                  <a:pt x="829" y="422"/>
                </a:lnTo>
                <a:lnTo>
                  <a:pt x="793" y="456"/>
                </a:lnTo>
                <a:lnTo>
                  <a:pt x="749" y="477"/>
                </a:lnTo>
                <a:lnTo>
                  <a:pt x="733" y="522"/>
                </a:lnTo>
                <a:lnTo>
                  <a:pt x="707" y="559"/>
                </a:lnTo>
                <a:lnTo>
                  <a:pt x="674" y="561"/>
                </a:lnTo>
                <a:lnTo>
                  <a:pt x="627" y="529"/>
                </a:lnTo>
                <a:lnTo>
                  <a:pt x="585" y="522"/>
                </a:lnTo>
                <a:lnTo>
                  <a:pt x="548" y="785"/>
                </a:lnTo>
                <a:lnTo>
                  <a:pt x="517" y="811"/>
                </a:lnTo>
                <a:lnTo>
                  <a:pt x="508" y="840"/>
                </a:lnTo>
                <a:lnTo>
                  <a:pt x="514" y="917"/>
                </a:lnTo>
                <a:lnTo>
                  <a:pt x="510" y="939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2" name="Freeform 142">
            <a:extLst>
              <a:ext uri="{FF2B5EF4-FFF2-40B4-BE49-F238E27FC236}">
                <a16:creationId xmlns:a16="http://schemas.microsoft.com/office/drawing/2014/main" id="{18745667-068C-4AA5-A595-8192AACA8ABA}"/>
              </a:ext>
            </a:extLst>
          </p:cNvPr>
          <p:cNvSpPr>
            <a:spLocks/>
          </p:cNvSpPr>
          <p:nvPr/>
        </p:nvSpPr>
        <p:spPr bwMode="auto">
          <a:xfrm rot="21249101">
            <a:off x="7551174" y="4596066"/>
            <a:ext cx="490195" cy="602959"/>
          </a:xfrm>
          <a:custGeom>
            <a:avLst/>
            <a:gdLst>
              <a:gd name="T0" fmla="*/ 2147483647 w 1173"/>
              <a:gd name="T1" fmla="*/ 2147483647 h 1576"/>
              <a:gd name="T2" fmla="*/ 2147483647 w 1173"/>
              <a:gd name="T3" fmla="*/ 2147483647 h 1576"/>
              <a:gd name="T4" fmla="*/ 2147483647 w 1173"/>
              <a:gd name="T5" fmla="*/ 2147483647 h 1576"/>
              <a:gd name="T6" fmla="*/ 2147483647 w 1173"/>
              <a:gd name="T7" fmla="*/ 2147483647 h 1576"/>
              <a:gd name="T8" fmla="*/ 2147483647 w 1173"/>
              <a:gd name="T9" fmla="*/ 2147483647 h 1576"/>
              <a:gd name="T10" fmla="*/ 2147483647 w 1173"/>
              <a:gd name="T11" fmla="*/ 2147483647 h 1576"/>
              <a:gd name="T12" fmla="*/ 2147483647 w 1173"/>
              <a:gd name="T13" fmla="*/ 2147483647 h 1576"/>
              <a:gd name="T14" fmla="*/ 2147483647 w 1173"/>
              <a:gd name="T15" fmla="*/ 2147483647 h 1576"/>
              <a:gd name="T16" fmla="*/ 2147483647 w 1173"/>
              <a:gd name="T17" fmla="*/ 2147483647 h 1576"/>
              <a:gd name="T18" fmla="*/ 2147483647 w 1173"/>
              <a:gd name="T19" fmla="*/ 2147483647 h 1576"/>
              <a:gd name="T20" fmla="*/ 2147483647 w 1173"/>
              <a:gd name="T21" fmla="*/ 2147483647 h 1576"/>
              <a:gd name="T22" fmla="*/ 2147483647 w 1173"/>
              <a:gd name="T23" fmla="*/ 2147483647 h 1576"/>
              <a:gd name="T24" fmla="*/ 2147483647 w 1173"/>
              <a:gd name="T25" fmla="*/ 2147483647 h 1576"/>
              <a:gd name="T26" fmla="*/ 2147483647 w 1173"/>
              <a:gd name="T27" fmla="*/ 2147483647 h 1576"/>
              <a:gd name="T28" fmla="*/ 2147483647 w 1173"/>
              <a:gd name="T29" fmla="*/ 2147483647 h 1576"/>
              <a:gd name="T30" fmla="*/ 2147483647 w 1173"/>
              <a:gd name="T31" fmla="*/ 2147483647 h 1576"/>
              <a:gd name="T32" fmla="*/ 2147483647 w 1173"/>
              <a:gd name="T33" fmla="*/ 2147483647 h 1576"/>
              <a:gd name="T34" fmla="*/ 2147483647 w 1173"/>
              <a:gd name="T35" fmla="*/ 2147483647 h 1576"/>
              <a:gd name="T36" fmla="*/ 2147483647 w 1173"/>
              <a:gd name="T37" fmla="*/ 2147483647 h 1576"/>
              <a:gd name="T38" fmla="*/ 2147483647 w 1173"/>
              <a:gd name="T39" fmla="*/ 2147483647 h 1576"/>
              <a:gd name="T40" fmla="*/ 2147483647 w 1173"/>
              <a:gd name="T41" fmla="*/ 2147483647 h 1576"/>
              <a:gd name="T42" fmla="*/ 2147483647 w 1173"/>
              <a:gd name="T43" fmla="*/ 2147483647 h 1576"/>
              <a:gd name="T44" fmla="*/ 2147483647 w 1173"/>
              <a:gd name="T45" fmla="*/ 2147483647 h 1576"/>
              <a:gd name="T46" fmla="*/ 2147483647 w 1173"/>
              <a:gd name="T47" fmla="*/ 2147483647 h 1576"/>
              <a:gd name="T48" fmla="*/ 2147483647 w 1173"/>
              <a:gd name="T49" fmla="*/ 2147483647 h 1576"/>
              <a:gd name="T50" fmla="*/ 2147483647 w 1173"/>
              <a:gd name="T51" fmla="*/ 2147483647 h 1576"/>
              <a:gd name="T52" fmla="*/ 2147483647 w 1173"/>
              <a:gd name="T53" fmla="*/ 2147483647 h 1576"/>
              <a:gd name="T54" fmla="*/ 2147483647 w 1173"/>
              <a:gd name="T55" fmla="*/ 2147483647 h 1576"/>
              <a:gd name="T56" fmla="*/ 2147483647 w 1173"/>
              <a:gd name="T57" fmla="*/ 2147483647 h 1576"/>
              <a:gd name="T58" fmla="*/ 2147483647 w 1173"/>
              <a:gd name="T59" fmla="*/ 2147483647 h 1576"/>
              <a:gd name="T60" fmla="*/ 2147483647 w 1173"/>
              <a:gd name="T61" fmla="*/ 2147483647 h 1576"/>
              <a:gd name="T62" fmla="*/ 2147483647 w 1173"/>
              <a:gd name="T63" fmla="*/ 2147483647 h 1576"/>
              <a:gd name="T64" fmla="*/ 2147483647 w 1173"/>
              <a:gd name="T65" fmla="*/ 2147483647 h 1576"/>
              <a:gd name="T66" fmla="*/ 2147483647 w 1173"/>
              <a:gd name="T67" fmla="*/ 2147483647 h 1576"/>
              <a:gd name="T68" fmla="*/ 2147483647 w 1173"/>
              <a:gd name="T69" fmla="*/ 2147483647 h 1576"/>
              <a:gd name="T70" fmla="*/ 2147483647 w 1173"/>
              <a:gd name="T71" fmla="*/ 2147483647 h 1576"/>
              <a:gd name="T72" fmla="*/ 2147483647 w 1173"/>
              <a:gd name="T73" fmla="*/ 2147483647 h 1576"/>
              <a:gd name="T74" fmla="*/ 2147483647 w 1173"/>
              <a:gd name="T75" fmla="*/ 2147483647 h 1576"/>
              <a:gd name="T76" fmla="*/ 2147483647 w 1173"/>
              <a:gd name="T77" fmla="*/ 2147483647 h 1576"/>
              <a:gd name="T78" fmla="*/ 2147483647 w 1173"/>
              <a:gd name="T79" fmla="*/ 2147483647 h 1576"/>
              <a:gd name="T80" fmla="*/ 2147483647 w 1173"/>
              <a:gd name="T81" fmla="*/ 2147483647 h 1576"/>
              <a:gd name="T82" fmla="*/ 2147483647 w 1173"/>
              <a:gd name="T83" fmla="*/ 2147483647 h 1576"/>
              <a:gd name="T84" fmla="*/ 2147483647 w 1173"/>
              <a:gd name="T85" fmla="*/ 2147483647 h 1576"/>
              <a:gd name="T86" fmla="*/ 2147483647 w 1173"/>
              <a:gd name="T87" fmla="*/ 2147483647 h 1576"/>
              <a:gd name="T88" fmla="*/ 2147483647 w 1173"/>
              <a:gd name="T89" fmla="*/ 2147483647 h 1576"/>
              <a:gd name="T90" fmla="*/ 2147483647 w 1173"/>
              <a:gd name="T91" fmla="*/ 2147483647 h 1576"/>
              <a:gd name="T92" fmla="*/ 2147483647 w 1173"/>
              <a:gd name="T93" fmla="*/ 2147483647 h 1576"/>
              <a:gd name="T94" fmla="*/ 2147483647 w 1173"/>
              <a:gd name="T95" fmla="*/ 2147483647 h 1576"/>
              <a:gd name="T96" fmla="*/ 2147483647 w 1173"/>
              <a:gd name="T97" fmla="*/ 2147483647 h 1576"/>
              <a:gd name="T98" fmla="*/ 2147483647 w 1173"/>
              <a:gd name="T99" fmla="*/ 0 h 1576"/>
              <a:gd name="T100" fmla="*/ 2147483647 w 1173"/>
              <a:gd name="T101" fmla="*/ 2147483647 h 1576"/>
              <a:gd name="T102" fmla="*/ 2147483647 w 1173"/>
              <a:gd name="T103" fmla="*/ 2147483647 h 157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173"/>
              <a:gd name="T157" fmla="*/ 0 h 1576"/>
              <a:gd name="T158" fmla="*/ 1173 w 1173"/>
              <a:gd name="T159" fmla="*/ 1576 h 157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173" h="1576">
                <a:moveTo>
                  <a:pt x="91" y="101"/>
                </a:moveTo>
                <a:lnTo>
                  <a:pt x="126" y="135"/>
                </a:lnTo>
                <a:lnTo>
                  <a:pt x="128" y="151"/>
                </a:lnTo>
                <a:lnTo>
                  <a:pt x="121" y="161"/>
                </a:lnTo>
                <a:lnTo>
                  <a:pt x="132" y="172"/>
                </a:lnTo>
                <a:lnTo>
                  <a:pt x="133" y="187"/>
                </a:lnTo>
                <a:lnTo>
                  <a:pt x="120" y="205"/>
                </a:lnTo>
                <a:lnTo>
                  <a:pt x="122" y="217"/>
                </a:lnTo>
                <a:lnTo>
                  <a:pt x="137" y="225"/>
                </a:lnTo>
                <a:lnTo>
                  <a:pt x="147" y="215"/>
                </a:lnTo>
                <a:lnTo>
                  <a:pt x="156" y="215"/>
                </a:lnTo>
                <a:lnTo>
                  <a:pt x="170" y="226"/>
                </a:lnTo>
                <a:lnTo>
                  <a:pt x="170" y="233"/>
                </a:lnTo>
                <a:lnTo>
                  <a:pt x="161" y="240"/>
                </a:lnTo>
                <a:lnTo>
                  <a:pt x="152" y="240"/>
                </a:lnTo>
                <a:lnTo>
                  <a:pt x="148" y="252"/>
                </a:lnTo>
                <a:lnTo>
                  <a:pt x="154" y="261"/>
                </a:lnTo>
                <a:lnTo>
                  <a:pt x="147" y="283"/>
                </a:lnTo>
                <a:lnTo>
                  <a:pt x="154" y="291"/>
                </a:lnTo>
                <a:lnTo>
                  <a:pt x="172" y="291"/>
                </a:lnTo>
                <a:lnTo>
                  <a:pt x="193" y="313"/>
                </a:lnTo>
                <a:lnTo>
                  <a:pt x="214" y="311"/>
                </a:lnTo>
                <a:lnTo>
                  <a:pt x="231" y="320"/>
                </a:lnTo>
                <a:lnTo>
                  <a:pt x="251" y="319"/>
                </a:lnTo>
                <a:lnTo>
                  <a:pt x="261" y="324"/>
                </a:lnTo>
                <a:lnTo>
                  <a:pt x="263" y="334"/>
                </a:lnTo>
                <a:lnTo>
                  <a:pt x="246" y="343"/>
                </a:lnTo>
                <a:lnTo>
                  <a:pt x="211" y="335"/>
                </a:lnTo>
                <a:lnTo>
                  <a:pt x="201" y="337"/>
                </a:lnTo>
                <a:lnTo>
                  <a:pt x="195" y="359"/>
                </a:lnTo>
                <a:lnTo>
                  <a:pt x="184" y="373"/>
                </a:lnTo>
                <a:lnTo>
                  <a:pt x="190" y="417"/>
                </a:lnTo>
                <a:lnTo>
                  <a:pt x="200" y="424"/>
                </a:lnTo>
                <a:lnTo>
                  <a:pt x="194" y="446"/>
                </a:lnTo>
                <a:lnTo>
                  <a:pt x="250" y="451"/>
                </a:lnTo>
                <a:lnTo>
                  <a:pt x="261" y="465"/>
                </a:lnTo>
                <a:lnTo>
                  <a:pt x="253" y="481"/>
                </a:lnTo>
                <a:lnTo>
                  <a:pt x="253" y="501"/>
                </a:lnTo>
                <a:lnTo>
                  <a:pt x="207" y="585"/>
                </a:lnTo>
                <a:lnTo>
                  <a:pt x="196" y="591"/>
                </a:lnTo>
                <a:lnTo>
                  <a:pt x="196" y="605"/>
                </a:lnTo>
                <a:lnTo>
                  <a:pt x="203" y="615"/>
                </a:lnTo>
                <a:lnTo>
                  <a:pt x="187" y="639"/>
                </a:lnTo>
                <a:lnTo>
                  <a:pt x="196" y="670"/>
                </a:lnTo>
                <a:lnTo>
                  <a:pt x="212" y="674"/>
                </a:lnTo>
                <a:lnTo>
                  <a:pt x="224" y="683"/>
                </a:lnTo>
                <a:lnTo>
                  <a:pt x="242" y="679"/>
                </a:lnTo>
                <a:lnTo>
                  <a:pt x="250" y="693"/>
                </a:lnTo>
                <a:lnTo>
                  <a:pt x="254" y="709"/>
                </a:lnTo>
                <a:lnTo>
                  <a:pt x="273" y="729"/>
                </a:lnTo>
                <a:lnTo>
                  <a:pt x="286" y="727"/>
                </a:lnTo>
                <a:lnTo>
                  <a:pt x="291" y="732"/>
                </a:lnTo>
                <a:lnTo>
                  <a:pt x="290" y="744"/>
                </a:lnTo>
                <a:lnTo>
                  <a:pt x="309" y="756"/>
                </a:lnTo>
                <a:lnTo>
                  <a:pt x="321" y="759"/>
                </a:lnTo>
                <a:lnTo>
                  <a:pt x="323" y="775"/>
                </a:lnTo>
                <a:lnTo>
                  <a:pt x="303" y="795"/>
                </a:lnTo>
                <a:lnTo>
                  <a:pt x="266" y="796"/>
                </a:lnTo>
                <a:lnTo>
                  <a:pt x="242" y="781"/>
                </a:lnTo>
                <a:lnTo>
                  <a:pt x="229" y="781"/>
                </a:lnTo>
                <a:lnTo>
                  <a:pt x="224" y="787"/>
                </a:lnTo>
                <a:lnTo>
                  <a:pt x="288" y="873"/>
                </a:lnTo>
                <a:lnTo>
                  <a:pt x="297" y="878"/>
                </a:lnTo>
                <a:lnTo>
                  <a:pt x="294" y="914"/>
                </a:lnTo>
                <a:lnTo>
                  <a:pt x="289" y="928"/>
                </a:lnTo>
                <a:lnTo>
                  <a:pt x="274" y="934"/>
                </a:lnTo>
                <a:lnTo>
                  <a:pt x="263" y="924"/>
                </a:lnTo>
                <a:lnTo>
                  <a:pt x="252" y="923"/>
                </a:lnTo>
                <a:lnTo>
                  <a:pt x="239" y="942"/>
                </a:lnTo>
                <a:lnTo>
                  <a:pt x="218" y="952"/>
                </a:lnTo>
                <a:lnTo>
                  <a:pt x="198" y="952"/>
                </a:lnTo>
                <a:lnTo>
                  <a:pt x="188" y="960"/>
                </a:lnTo>
                <a:lnTo>
                  <a:pt x="176" y="959"/>
                </a:lnTo>
                <a:lnTo>
                  <a:pt x="171" y="946"/>
                </a:lnTo>
                <a:lnTo>
                  <a:pt x="154" y="947"/>
                </a:lnTo>
                <a:lnTo>
                  <a:pt x="140" y="963"/>
                </a:lnTo>
                <a:lnTo>
                  <a:pt x="146" y="977"/>
                </a:lnTo>
                <a:lnTo>
                  <a:pt x="162" y="984"/>
                </a:lnTo>
                <a:lnTo>
                  <a:pt x="167" y="1009"/>
                </a:lnTo>
                <a:lnTo>
                  <a:pt x="176" y="1023"/>
                </a:lnTo>
                <a:lnTo>
                  <a:pt x="176" y="1050"/>
                </a:lnTo>
                <a:lnTo>
                  <a:pt x="170" y="1060"/>
                </a:lnTo>
                <a:lnTo>
                  <a:pt x="157" y="1058"/>
                </a:lnTo>
                <a:lnTo>
                  <a:pt x="149" y="1050"/>
                </a:lnTo>
                <a:lnTo>
                  <a:pt x="143" y="1024"/>
                </a:lnTo>
                <a:lnTo>
                  <a:pt x="135" y="1016"/>
                </a:lnTo>
                <a:lnTo>
                  <a:pt x="113" y="1016"/>
                </a:lnTo>
                <a:lnTo>
                  <a:pt x="72" y="1052"/>
                </a:lnTo>
                <a:lnTo>
                  <a:pt x="65" y="1077"/>
                </a:lnTo>
                <a:lnTo>
                  <a:pt x="57" y="1087"/>
                </a:lnTo>
                <a:lnTo>
                  <a:pt x="57" y="1124"/>
                </a:lnTo>
                <a:lnTo>
                  <a:pt x="46" y="1133"/>
                </a:lnTo>
                <a:lnTo>
                  <a:pt x="25" y="1133"/>
                </a:lnTo>
                <a:lnTo>
                  <a:pt x="11" y="1148"/>
                </a:lnTo>
                <a:lnTo>
                  <a:pt x="8" y="1192"/>
                </a:lnTo>
                <a:lnTo>
                  <a:pt x="2" y="1196"/>
                </a:lnTo>
                <a:lnTo>
                  <a:pt x="4" y="1211"/>
                </a:lnTo>
                <a:lnTo>
                  <a:pt x="29" y="1249"/>
                </a:lnTo>
                <a:lnTo>
                  <a:pt x="28" y="1271"/>
                </a:lnTo>
                <a:lnTo>
                  <a:pt x="2" y="1308"/>
                </a:lnTo>
                <a:lnTo>
                  <a:pt x="0" y="1345"/>
                </a:lnTo>
                <a:lnTo>
                  <a:pt x="176" y="1489"/>
                </a:lnTo>
                <a:lnTo>
                  <a:pt x="205" y="1555"/>
                </a:lnTo>
                <a:lnTo>
                  <a:pt x="231" y="1576"/>
                </a:lnTo>
                <a:lnTo>
                  <a:pt x="259" y="1499"/>
                </a:lnTo>
                <a:lnTo>
                  <a:pt x="251" y="1445"/>
                </a:lnTo>
                <a:lnTo>
                  <a:pt x="272" y="1374"/>
                </a:lnTo>
                <a:lnTo>
                  <a:pt x="308" y="1345"/>
                </a:lnTo>
                <a:lnTo>
                  <a:pt x="340" y="1298"/>
                </a:lnTo>
                <a:lnTo>
                  <a:pt x="376" y="1335"/>
                </a:lnTo>
                <a:lnTo>
                  <a:pt x="447" y="1342"/>
                </a:lnTo>
                <a:lnTo>
                  <a:pt x="476" y="1398"/>
                </a:lnTo>
                <a:lnTo>
                  <a:pt x="526" y="1419"/>
                </a:lnTo>
                <a:lnTo>
                  <a:pt x="584" y="1495"/>
                </a:lnTo>
                <a:lnTo>
                  <a:pt x="595" y="1504"/>
                </a:lnTo>
                <a:lnTo>
                  <a:pt x="614" y="1505"/>
                </a:lnTo>
                <a:lnTo>
                  <a:pt x="632" y="1491"/>
                </a:lnTo>
                <a:lnTo>
                  <a:pt x="636" y="1447"/>
                </a:lnTo>
                <a:lnTo>
                  <a:pt x="718" y="1421"/>
                </a:lnTo>
                <a:lnTo>
                  <a:pt x="735" y="1424"/>
                </a:lnTo>
                <a:lnTo>
                  <a:pt x="765" y="1458"/>
                </a:lnTo>
                <a:lnTo>
                  <a:pt x="778" y="1456"/>
                </a:lnTo>
                <a:lnTo>
                  <a:pt x="779" y="1436"/>
                </a:lnTo>
                <a:lnTo>
                  <a:pt x="816" y="1412"/>
                </a:lnTo>
                <a:lnTo>
                  <a:pt x="895" y="1426"/>
                </a:lnTo>
                <a:lnTo>
                  <a:pt x="912" y="1405"/>
                </a:lnTo>
                <a:lnTo>
                  <a:pt x="985" y="1417"/>
                </a:lnTo>
                <a:lnTo>
                  <a:pt x="1037" y="1408"/>
                </a:lnTo>
                <a:lnTo>
                  <a:pt x="1067" y="1421"/>
                </a:lnTo>
                <a:lnTo>
                  <a:pt x="1064" y="1304"/>
                </a:lnTo>
                <a:lnTo>
                  <a:pt x="1120" y="1178"/>
                </a:lnTo>
                <a:lnTo>
                  <a:pt x="1173" y="1121"/>
                </a:lnTo>
                <a:lnTo>
                  <a:pt x="1054" y="973"/>
                </a:lnTo>
                <a:lnTo>
                  <a:pt x="1052" y="770"/>
                </a:lnTo>
                <a:lnTo>
                  <a:pt x="1130" y="731"/>
                </a:lnTo>
                <a:lnTo>
                  <a:pt x="1085" y="721"/>
                </a:lnTo>
                <a:lnTo>
                  <a:pt x="1044" y="645"/>
                </a:lnTo>
                <a:lnTo>
                  <a:pt x="1091" y="593"/>
                </a:lnTo>
                <a:lnTo>
                  <a:pt x="1056" y="541"/>
                </a:lnTo>
                <a:lnTo>
                  <a:pt x="1003" y="586"/>
                </a:lnTo>
                <a:lnTo>
                  <a:pt x="867" y="541"/>
                </a:lnTo>
                <a:lnTo>
                  <a:pt x="795" y="486"/>
                </a:lnTo>
                <a:lnTo>
                  <a:pt x="776" y="371"/>
                </a:lnTo>
                <a:lnTo>
                  <a:pt x="738" y="347"/>
                </a:lnTo>
                <a:lnTo>
                  <a:pt x="687" y="336"/>
                </a:lnTo>
                <a:lnTo>
                  <a:pt x="645" y="274"/>
                </a:lnTo>
                <a:lnTo>
                  <a:pt x="596" y="136"/>
                </a:lnTo>
                <a:lnTo>
                  <a:pt x="548" y="79"/>
                </a:lnTo>
                <a:lnTo>
                  <a:pt x="458" y="33"/>
                </a:lnTo>
                <a:lnTo>
                  <a:pt x="436" y="0"/>
                </a:lnTo>
                <a:lnTo>
                  <a:pt x="381" y="19"/>
                </a:lnTo>
                <a:lnTo>
                  <a:pt x="325" y="22"/>
                </a:lnTo>
                <a:lnTo>
                  <a:pt x="252" y="69"/>
                </a:lnTo>
                <a:lnTo>
                  <a:pt x="186" y="71"/>
                </a:lnTo>
                <a:lnTo>
                  <a:pt x="155" y="95"/>
                </a:lnTo>
                <a:lnTo>
                  <a:pt x="91" y="10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3" name="Freeform 143">
            <a:extLst>
              <a:ext uri="{FF2B5EF4-FFF2-40B4-BE49-F238E27FC236}">
                <a16:creationId xmlns:a16="http://schemas.microsoft.com/office/drawing/2014/main" id="{55F2C24B-D63E-4FF3-A781-6FB59AB3A41C}"/>
              </a:ext>
            </a:extLst>
          </p:cNvPr>
          <p:cNvSpPr>
            <a:spLocks/>
          </p:cNvSpPr>
          <p:nvPr/>
        </p:nvSpPr>
        <p:spPr bwMode="auto">
          <a:xfrm rot="21249101">
            <a:off x="7551174" y="4596066"/>
            <a:ext cx="490195" cy="602959"/>
          </a:xfrm>
          <a:custGeom>
            <a:avLst/>
            <a:gdLst>
              <a:gd name="T0" fmla="*/ 2147483647 w 1173"/>
              <a:gd name="T1" fmla="*/ 2147483647 h 1576"/>
              <a:gd name="T2" fmla="*/ 2147483647 w 1173"/>
              <a:gd name="T3" fmla="*/ 2147483647 h 1576"/>
              <a:gd name="T4" fmla="*/ 2147483647 w 1173"/>
              <a:gd name="T5" fmla="*/ 2147483647 h 1576"/>
              <a:gd name="T6" fmla="*/ 2147483647 w 1173"/>
              <a:gd name="T7" fmla="*/ 2147483647 h 1576"/>
              <a:gd name="T8" fmla="*/ 2147483647 w 1173"/>
              <a:gd name="T9" fmla="*/ 2147483647 h 1576"/>
              <a:gd name="T10" fmla="*/ 2147483647 w 1173"/>
              <a:gd name="T11" fmla="*/ 2147483647 h 1576"/>
              <a:gd name="T12" fmla="*/ 2147483647 w 1173"/>
              <a:gd name="T13" fmla="*/ 2147483647 h 1576"/>
              <a:gd name="T14" fmla="*/ 2147483647 w 1173"/>
              <a:gd name="T15" fmla="*/ 2147483647 h 1576"/>
              <a:gd name="T16" fmla="*/ 2147483647 w 1173"/>
              <a:gd name="T17" fmla="*/ 2147483647 h 1576"/>
              <a:gd name="T18" fmla="*/ 2147483647 w 1173"/>
              <a:gd name="T19" fmla="*/ 2147483647 h 1576"/>
              <a:gd name="T20" fmla="*/ 2147483647 w 1173"/>
              <a:gd name="T21" fmla="*/ 2147483647 h 1576"/>
              <a:gd name="T22" fmla="*/ 2147483647 w 1173"/>
              <a:gd name="T23" fmla="*/ 2147483647 h 1576"/>
              <a:gd name="T24" fmla="*/ 2147483647 w 1173"/>
              <a:gd name="T25" fmla="*/ 2147483647 h 1576"/>
              <a:gd name="T26" fmla="*/ 2147483647 w 1173"/>
              <a:gd name="T27" fmla="*/ 2147483647 h 1576"/>
              <a:gd name="T28" fmla="*/ 2147483647 w 1173"/>
              <a:gd name="T29" fmla="*/ 2147483647 h 1576"/>
              <a:gd name="T30" fmla="*/ 2147483647 w 1173"/>
              <a:gd name="T31" fmla="*/ 2147483647 h 1576"/>
              <a:gd name="T32" fmla="*/ 2147483647 w 1173"/>
              <a:gd name="T33" fmla="*/ 2147483647 h 1576"/>
              <a:gd name="T34" fmla="*/ 2147483647 w 1173"/>
              <a:gd name="T35" fmla="*/ 2147483647 h 1576"/>
              <a:gd name="T36" fmla="*/ 2147483647 w 1173"/>
              <a:gd name="T37" fmla="*/ 2147483647 h 1576"/>
              <a:gd name="T38" fmla="*/ 2147483647 w 1173"/>
              <a:gd name="T39" fmla="*/ 2147483647 h 1576"/>
              <a:gd name="T40" fmla="*/ 2147483647 w 1173"/>
              <a:gd name="T41" fmla="*/ 2147483647 h 1576"/>
              <a:gd name="T42" fmla="*/ 2147483647 w 1173"/>
              <a:gd name="T43" fmla="*/ 2147483647 h 1576"/>
              <a:gd name="T44" fmla="*/ 2147483647 w 1173"/>
              <a:gd name="T45" fmla="*/ 2147483647 h 1576"/>
              <a:gd name="T46" fmla="*/ 2147483647 w 1173"/>
              <a:gd name="T47" fmla="*/ 2147483647 h 1576"/>
              <a:gd name="T48" fmla="*/ 2147483647 w 1173"/>
              <a:gd name="T49" fmla="*/ 2147483647 h 1576"/>
              <a:gd name="T50" fmla="*/ 2147483647 w 1173"/>
              <a:gd name="T51" fmla="*/ 2147483647 h 1576"/>
              <a:gd name="T52" fmla="*/ 2147483647 w 1173"/>
              <a:gd name="T53" fmla="*/ 2147483647 h 1576"/>
              <a:gd name="T54" fmla="*/ 2147483647 w 1173"/>
              <a:gd name="T55" fmla="*/ 2147483647 h 1576"/>
              <a:gd name="T56" fmla="*/ 2147483647 w 1173"/>
              <a:gd name="T57" fmla="*/ 2147483647 h 1576"/>
              <a:gd name="T58" fmla="*/ 2147483647 w 1173"/>
              <a:gd name="T59" fmla="*/ 2147483647 h 1576"/>
              <a:gd name="T60" fmla="*/ 2147483647 w 1173"/>
              <a:gd name="T61" fmla="*/ 2147483647 h 1576"/>
              <a:gd name="T62" fmla="*/ 2147483647 w 1173"/>
              <a:gd name="T63" fmla="*/ 2147483647 h 1576"/>
              <a:gd name="T64" fmla="*/ 2147483647 w 1173"/>
              <a:gd name="T65" fmla="*/ 2147483647 h 1576"/>
              <a:gd name="T66" fmla="*/ 2147483647 w 1173"/>
              <a:gd name="T67" fmla="*/ 2147483647 h 1576"/>
              <a:gd name="T68" fmla="*/ 2147483647 w 1173"/>
              <a:gd name="T69" fmla="*/ 2147483647 h 1576"/>
              <a:gd name="T70" fmla="*/ 2147483647 w 1173"/>
              <a:gd name="T71" fmla="*/ 2147483647 h 1576"/>
              <a:gd name="T72" fmla="*/ 2147483647 w 1173"/>
              <a:gd name="T73" fmla="*/ 2147483647 h 1576"/>
              <a:gd name="T74" fmla="*/ 2147483647 w 1173"/>
              <a:gd name="T75" fmla="*/ 2147483647 h 1576"/>
              <a:gd name="T76" fmla="*/ 2147483647 w 1173"/>
              <a:gd name="T77" fmla="*/ 2147483647 h 1576"/>
              <a:gd name="T78" fmla="*/ 2147483647 w 1173"/>
              <a:gd name="T79" fmla="*/ 2147483647 h 1576"/>
              <a:gd name="T80" fmla="*/ 2147483647 w 1173"/>
              <a:gd name="T81" fmla="*/ 2147483647 h 1576"/>
              <a:gd name="T82" fmla="*/ 2147483647 w 1173"/>
              <a:gd name="T83" fmla="*/ 2147483647 h 1576"/>
              <a:gd name="T84" fmla="*/ 2147483647 w 1173"/>
              <a:gd name="T85" fmla="*/ 2147483647 h 1576"/>
              <a:gd name="T86" fmla="*/ 2147483647 w 1173"/>
              <a:gd name="T87" fmla="*/ 2147483647 h 1576"/>
              <a:gd name="T88" fmla="*/ 2147483647 w 1173"/>
              <a:gd name="T89" fmla="*/ 2147483647 h 1576"/>
              <a:gd name="T90" fmla="*/ 2147483647 w 1173"/>
              <a:gd name="T91" fmla="*/ 2147483647 h 1576"/>
              <a:gd name="T92" fmla="*/ 2147483647 w 1173"/>
              <a:gd name="T93" fmla="*/ 2147483647 h 1576"/>
              <a:gd name="T94" fmla="*/ 2147483647 w 1173"/>
              <a:gd name="T95" fmla="*/ 2147483647 h 1576"/>
              <a:gd name="T96" fmla="*/ 2147483647 w 1173"/>
              <a:gd name="T97" fmla="*/ 2147483647 h 1576"/>
              <a:gd name="T98" fmla="*/ 2147483647 w 1173"/>
              <a:gd name="T99" fmla="*/ 0 h 1576"/>
              <a:gd name="T100" fmla="*/ 2147483647 w 1173"/>
              <a:gd name="T101" fmla="*/ 2147483647 h 1576"/>
              <a:gd name="T102" fmla="*/ 2147483647 w 1173"/>
              <a:gd name="T103" fmla="*/ 2147483647 h 157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173"/>
              <a:gd name="T157" fmla="*/ 0 h 1576"/>
              <a:gd name="T158" fmla="*/ 1173 w 1173"/>
              <a:gd name="T159" fmla="*/ 1576 h 157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173" h="1576">
                <a:moveTo>
                  <a:pt x="91" y="101"/>
                </a:moveTo>
                <a:lnTo>
                  <a:pt x="126" y="135"/>
                </a:lnTo>
                <a:lnTo>
                  <a:pt x="128" y="151"/>
                </a:lnTo>
                <a:lnTo>
                  <a:pt x="121" y="161"/>
                </a:lnTo>
                <a:lnTo>
                  <a:pt x="132" y="172"/>
                </a:lnTo>
                <a:lnTo>
                  <a:pt x="133" y="187"/>
                </a:lnTo>
                <a:lnTo>
                  <a:pt x="120" y="205"/>
                </a:lnTo>
                <a:lnTo>
                  <a:pt x="122" y="217"/>
                </a:lnTo>
                <a:lnTo>
                  <a:pt x="137" y="225"/>
                </a:lnTo>
                <a:lnTo>
                  <a:pt x="147" y="215"/>
                </a:lnTo>
                <a:lnTo>
                  <a:pt x="156" y="215"/>
                </a:lnTo>
                <a:lnTo>
                  <a:pt x="170" y="226"/>
                </a:lnTo>
                <a:lnTo>
                  <a:pt x="170" y="233"/>
                </a:lnTo>
                <a:lnTo>
                  <a:pt x="161" y="240"/>
                </a:lnTo>
                <a:lnTo>
                  <a:pt x="152" y="240"/>
                </a:lnTo>
                <a:lnTo>
                  <a:pt x="148" y="252"/>
                </a:lnTo>
                <a:lnTo>
                  <a:pt x="154" y="261"/>
                </a:lnTo>
                <a:lnTo>
                  <a:pt x="147" y="283"/>
                </a:lnTo>
                <a:lnTo>
                  <a:pt x="154" y="291"/>
                </a:lnTo>
                <a:lnTo>
                  <a:pt x="172" y="291"/>
                </a:lnTo>
                <a:lnTo>
                  <a:pt x="193" y="313"/>
                </a:lnTo>
                <a:lnTo>
                  <a:pt x="214" y="311"/>
                </a:lnTo>
                <a:lnTo>
                  <a:pt x="231" y="320"/>
                </a:lnTo>
                <a:lnTo>
                  <a:pt x="251" y="319"/>
                </a:lnTo>
                <a:lnTo>
                  <a:pt x="261" y="324"/>
                </a:lnTo>
                <a:lnTo>
                  <a:pt x="263" y="334"/>
                </a:lnTo>
                <a:lnTo>
                  <a:pt x="246" y="343"/>
                </a:lnTo>
                <a:lnTo>
                  <a:pt x="211" y="335"/>
                </a:lnTo>
                <a:lnTo>
                  <a:pt x="201" y="337"/>
                </a:lnTo>
                <a:lnTo>
                  <a:pt x="195" y="359"/>
                </a:lnTo>
                <a:lnTo>
                  <a:pt x="184" y="373"/>
                </a:lnTo>
                <a:lnTo>
                  <a:pt x="190" y="417"/>
                </a:lnTo>
                <a:lnTo>
                  <a:pt x="200" y="424"/>
                </a:lnTo>
                <a:lnTo>
                  <a:pt x="194" y="446"/>
                </a:lnTo>
                <a:lnTo>
                  <a:pt x="250" y="451"/>
                </a:lnTo>
                <a:lnTo>
                  <a:pt x="261" y="465"/>
                </a:lnTo>
                <a:lnTo>
                  <a:pt x="253" y="481"/>
                </a:lnTo>
                <a:lnTo>
                  <a:pt x="253" y="501"/>
                </a:lnTo>
                <a:lnTo>
                  <a:pt x="207" y="585"/>
                </a:lnTo>
                <a:lnTo>
                  <a:pt x="196" y="591"/>
                </a:lnTo>
                <a:lnTo>
                  <a:pt x="196" y="605"/>
                </a:lnTo>
                <a:lnTo>
                  <a:pt x="203" y="615"/>
                </a:lnTo>
                <a:lnTo>
                  <a:pt x="187" y="639"/>
                </a:lnTo>
                <a:lnTo>
                  <a:pt x="196" y="670"/>
                </a:lnTo>
                <a:lnTo>
                  <a:pt x="212" y="674"/>
                </a:lnTo>
                <a:lnTo>
                  <a:pt x="224" y="683"/>
                </a:lnTo>
                <a:lnTo>
                  <a:pt x="242" y="679"/>
                </a:lnTo>
                <a:lnTo>
                  <a:pt x="250" y="693"/>
                </a:lnTo>
                <a:lnTo>
                  <a:pt x="254" y="709"/>
                </a:lnTo>
                <a:lnTo>
                  <a:pt x="273" y="729"/>
                </a:lnTo>
                <a:lnTo>
                  <a:pt x="286" y="727"/>
                </a:lnTo>
                <a:lnTo>
                  <a:pt x="291" y="732"/>
                </a:lnTo>
                <a:lnTo>
                  <a:pt x="290" y="744"/>
                </a:lnTo>
                <a:lnTo>
                  <a:pt x="309" y="756"/>
                </a:lnTo>
                <a:lnTo>
                  <a:pt x="321" y="759"/>
                </a:lnTo>
                <a:lnTo>
                  <a:pt x="323" y="775"/>
                </a:lnTo>
                <a:lnTo>
                  <a:pt x="303" y="795"/>
                </a:lnTo>
                <a:lnTo>
                  <a:pt x="266" y="796"/>
                </a:lnTo>
                <a:lnTo>
                  <a:pt x="242" y="781"/>
                </a:lnTo>
                <a:lnTo>
                  <a:pt x="229" y="781"/>
                </a:lnTo>
                <a:lnTo>
                  <a:pt x="224" y="787"/>
                </a:lnTo>
                <a:lnTo>
                  <a:pt x="288" y="873"/>
                </a:lnTo>
                <a:lnTo>
                  <a:pt x="297" y="878"/>
                </a:lnTo>
                <a:lnTo>
                  <a:pt x="294" y="914"/>
                </a:lnTo>
                <a:lnTo>
                  <a:pt x="289" y="928"/>
                </a:lnTo>
                <a:lnTo>
                  <a:pt x="274" y="934"/>
                </a:lnTo>
                <a:lnTo>
                  <a:pt x="263" y="924"/>
                </a:lnTo>
                <a:lnTo>
                  <a:pt x="252" y="923"/>
                </a:lnTo>
                <a:lnTo>
                  <a:pt x="239" y="942"/>
                </a:lnTo>
                <a:lnTo>
                  <a:pt x="218" y="952"/>
                </a:lnTo>
                <a:lnTo>
                  <a:pt x="198" y="952"/>
                </a:lnTo>
                <a:lnTo>
                  <a:pt x="188" y="960"/>
                </a:lnTo>
                <a:lnTo>
                  <a:pt x="176" y="959"/>
                </a:lnTo>
                <a:lnTo>
                  <a:pt x="171" y="946"/>
                </a:lnTo>
                <a:lnTo>
                  <a:pt x="154" y="947"/>
                </a:lnTo>
                <a:lnTo>
                  <a:pt x="140" y="963"/>
                </a:lnTo>
                <a:lnTo>
                  <a:pt x="146" y="977"/>
                </a:lnTo>
                <a:lnTo>
                  <a:pt x="162" y="984"/>
                </a:lnTo>
                <a:lnTo>
                  <a:pt x="167" y="1009"/>
                </a:lnTo>
                <a:lnTo>
                  <a:pt x="176" y="1023"/>
                </a:lnTo>
                <a:lnTo>
                  <a:pt x="176" y="1050"/>
                </a:lnTo>
                <a:lnTo>
                  <a:pt x="170" y="1060"/>
                </a:lnTo>
                <a:lnTo>
                  <a:pt x="157" y="1058"/>
                </a:lnTo>
                <a:lnTo>
                  <a:pt x="149" y="1050"/>
                </a:lnTo>
                <a:lnTo>
                  <a:pt x="143" y="1024"/>
                </a:lnTo>
                <a:lnTo>
                  <a:pt x="135" y="1016"/>
                </a:lnTo>
                <a:lnTo>
                  <a:pt x="113" y="1016"/>
                </a:lnTo>
                <a:lnTo>
                  <a:pt x="72" y="1052"/>
                </a:lnTo>
                <a:lnTo>
                  <a:pt x="65" y="1077"/>
                </a:lnTo>
                <a:lnTo>
                  <a:pt x="57" y="1087"/>
                </a:lnTo>
                <a:lnTo>
                  <a:pt x="57" y="1124"/>
                </a:lnTo>
                <a:lnTo>
                  <a:pt x="46" y="1133"/>
                </a:lnTo>
                <a:lnTo>
                  <a:pt x="25" y="1133"/>
                </a:lnTo>
                <a:lnTo>
                  <a:pt x="11" y="1148"/>
                </a:lnTo>
                <a:lnTo>
                  <a:pt x="8" y="1192"/>
                </a:lnTo>
                <a:lnTo>
                  <a:pt x="2" y="1196"/>
                </a:lnTo>
                <a:lnTo>
                  <a:pt x="4" y="1211"/>
                </a:lnTo>
                <a:lnTo>
                  <a:pt x="29" y="1249"/>
                </a:lnTo>
                <a:lnTo>
                  <a:pt x="28" y="1271"/>
                </a:lnTo>
                <a:lnTo>
                  <a:pt x="2" y="1308"/>
                </a:lnTo>
                <a:lnTo>
                  <a:pt x="0" y="1345"/>
                </a:lnTo>
                <a:lnTo>
                  <a:pt x="176" y="1489"/>
                </a:lnTo>
                <a:lnTo>
                  <a:pt x="205" y="1555"/>
                </a:lnTo>
                <a:lnTo>
                  <a:pt x="231" y="1576"/>
                </a:lnTo>
                <a:lnTo>
                  <a:pt x="259" y="1499"/>
                </a:lnTo>
                <a:lnTo>
                  <a:pt x="251" y="1445"/>
                </a:lnTo>
                <a:lnTo>
                  <a:pt x="272" y="1374"/>
                </a:lnTo>
                <a:lnTo>
                  <a:pt x="308" y="1345"/>
                </a:lnTo>
                <a:lnTo>
                  <a:pt x="340" y="1298"/>
                </a:lnTo>
                <a:lnTo>
                  <a:pt x="376" y="1335"/>
                </a:lnTo>
                <a:lnTo>
                  <a:pt x="447" y="1342"/>
                </a:lnTo>
                <a:lnTo>
                  <a:pt x="476" y="1398"/>
                </a:lnTo>
                <a:lnTo>
                  <a:pt x="526" y="1419"/>
                </a:lnTo>
                <a:lnTo>
                  <a:pt x="584" y="1495"/>
                </a:lnTo>
                <a:lnTo>
                  <a:pt x="595" y="1504"/>
                </a:lnTo>
                <a:lnTo>
                  <a:pt x="614" y="1505"/>
                </a:lnTo>
                <a:lnTo>
                  <a:pt x="632" y="1491"/>
                </a:lnTo>
                <a:lnTo>
                  <a:pt x="636" y="1447"/>
                </a:lnTo>
                <a:lnTo>
                  <a:pt x="718" y="1421"/>
                </a:lnTo>
                <a:lnTo>
                  <a:pt x="735" y="1424"/>
                </a:lnTo>
                <a:lnTo>
                  <a:pt x="765" y="1458"/>
                </a:lnTo>
                <a:lnTo>
                  <a:pt x="778" y="1456"/>
                </a:lnTo>
                <a:lnTo>
                  <a:pt x="779" y="1436"/>
                </a:lnTo>
                <a:lnTo>
                  <a:pt x="816" y="1412"/>
                </a:lnTo>
                <a:lnTo>
                  <a:pt x="895" y="1426"/>
                </a:lnTo>
                <a:lnTo>
                  <a:pt x="912" y="1405"/>
                </a:lnTo>
                <a:lnTo>
                  <a:pt x="985" y="1417"/>
                </a:lnTo>
                <a:lnTo>
                  <a:pt x="1037" y="1408"/>
                </a:lnTo>
                <a:lnTo>
                  <a:pt x="1067" y="1421"/>
                </a:lnTo>
                <a:lnTo>
                  <a:pt x="1064" y="1304"/>
                </a:lnTo>
                <a:lnTo>
                  <a:pt x="1120" y="1178"/>
                </a:lnTo>
                <a:lnTo>
                  <a:pt x="1173" y="1121"/>
                </a:lnTo>
                <a:lnTo>
                  <a:pt x="1054" y="973"/>
                </a:lnTo>
                <a:lnTo>
                  <a:pt x="1052" y="770"/>
                </a:lnTo>
                <a:lnTo>
                  <a:pt x="1130" y="731"/>
                </a:lnTo>
                <a:lnTo>
                  <a:pt x="1085" y="721"/>
                </a:lnTo>
                <a:lnTo>
                  <a:pt x="1044" y="645"/>
                </a:lnTo>
                <a:lnTo>
                  <a:pt x="1091" y="593"/>
                </a:lnTo>
                <a:lnTo>
                  <a:pt x="1056" y="541"/>
                </a:lnTo>
                <a:lnTo>
                  <a:pt x="1003" y="586"/>
                </a:lnTo>
                <a:lnTo>
                  <a:pt x="867" y="541"/>
                </a:lnTo>
                <a:lnTo>
                  <a:pt x="795" y="486"/>
                </a:lnTo>
                <a:lnTo>
                  <a:pt x="776" y="371"/>
                </a:lnTo>
                <a:lnTo>
                  <a:pt x="738" y="347"/>
                </a:lnTo>
                <a:lnTo>
                  <a:pt x="687" y="336"/>
                </a:lnTo>
                <a:lnTo>
                  <a:pt x="645" y="274"/>
                </a:lnTo>
                <a:lnTo>
                  <a:pt x="596" y="136"/>
                </a:lnTo>
                <a:lnTo>
                  <a:pt x="548" y="79"/>
                </a:lnTo>
                <a:lnTo>
                  <a:pt x="458" y="33"/>
                </a:lnTo>
                <a:lnTo>
                  <a:pt x="436" y="0"/>
                </a:lnTo>
                <a:lnTo>
                  <a:pt x="381" y="19"/>
                </a:lnTo>
                <a:lnTo>
                  <a:pt x="325" y="22"/>
                </a:lnTo>
                <a:lnTo>
                  <a:pt x="252" y="69"/>
                </a:lnTo>
                <a:lnTo>
                  <a:pt x="186" y="71"/>
                </a:lnTo>
                <a:lnTo>
                  <a:pt x="155" y="95"/>
                </a:lnTo>
                <a:lnTo>
                  <a:pt x="91" y="10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4" name="Freeform 144">
            <a:extLst>
              <a:ext uri="{FF2B5EF4-FFF2-40B4-BE49-F238E27FC236}">
                <a16:creationId xmlns:a16="http://schemas.microsoft.com/office/drawing/2014/main" id="{82C82392-0F5E-4005-BD94-6D47D9E47A5B}"/>
              </a:ext>
            </a:extLst>
          </p:cNvPr>
          <p:cNvSpPr>
            <a:spLocks/>
          </p:cNvSpPr>
          <p:nvPr/>
        </p:nvSpPr>
        <p:spPr bwMode="auto">
          <a:xfrm rot="21249101">
            <a:off x="4317330" y="4954892"/>
            <a:ext cx="524311" cy="681606"/>
          </a:xfrm>
          <a:custGeom>
            <a:avLst/>
            <a:gdLst>
              <a:gd name="T0" fmla="*/ 2147483647 w 1252"/>
              <a:gd name="T1" fmla="*/ 2147483647 h 1779"/>
              <a:gd name="T2" fmla="*/ 2147483647 w 1252"/>
              <a:gd name="T3" fmla="*/ 2147483647 h 1779"/>
              <a:gd name="T4" fmla="*/ 2147483647 w 1252"/>
              <a:gd name="T5" fmla="*/ 2147483647 h 1779"/>
              <a:gd name="T6" fmla="*/ 2147483647 w 1252"/>
              <a:gd name="T7" fmla="*/ 2147483647 h 1779"/>
              <a:gd name="T8" fmla="*/ 2147483647 w 1252"/>
              <a:gd name="T9" fmla="*/ 2147483647 h 1779"/>
              <a:gd name="T10" fmla="*/ 2147483647 w 1252"/>
              <a:gd name="T11" fmla="*/ 2147483647 h 1779"/>
              <a:gd name="T12" fmla="*/ 2147483647 w 1252"/>
              <a:gd name="T13" fmla="*/ 0 h 1779"/>
              <a:gd name="T14" fmla="*/ 2147483647 w 1252"/>
              <a:gd name="T15" fmla="*/ 2147483647 h 1779"/>
              <a:gd name="T16" fmla="*/ 2147483647 w 1252"/>
              <a:gd name="T17" fmla="*/ 2147483647 h 1779"/>
              <a:gd name="T18" fmla="*/ 2147483647 w 1252"/>
              <a:gd name="T19" fmla="*/ 2147483647 h 1779"/>
              <a:gd name="T20" fmla="*/ 2147483647 w 1252"/>
              <a:gd name="T21" fmla="*/ 2147483647 h 1779"/>
              <a:gd name="T22" fmla="*/ 2147483647 w 1252"/>
              <a:gd name="T23" fmla="*/ 2147483647 h 1779"/>
              <a:gd name="T24" fmla="*/ 2147483647 w 1252"/>
              <a:gd name="T25" fmla="*/ 2147483647 h 1779"/>
              <a:gd name="T26" fmla="*/ 2147483647 w 1252"/>
              <a:gd name="T27" fmla="*/ 2147483647 h 1779"/>
              <a:gd name="T28" fmla="*/ 2147483647 w 1252"/>
              <a:gd name="T29" fmla="*/ 2147483647 h 1779"/>
              <a:gd name="T30" fmla="*/ 2147483647 w 1252"/>
              <a:gd name="T31" fmla="*/ 2147483647 h 1779"/>
              <a:gd name="T32" fmla="*/ 2147483647 w 1252"/>
              <a:gd name="T33" fmla="*/ 2147483647 h 1779"/>
              <a:gd name="T34" fmla="*/ 2147483647 w 1252"/>
              <a:gd name="T35" fmla="*/ 2147483647 h 1779"/>
              <a:gd name="T36" fmla="*/ 2147483647 w 1252"/>
              <a:gd name="T37" fmla="*/ 2147483647 h 1779"/>
              <a:gd name="T38" fmla="*/ 2147483647 w 1252"/>
              <a:gd name="T39" fmla="*/ 2147483647 h 1779"/>
              <a:gd name="T40" fmla="*/ 2147483647 w 1252"/>
              <a:gd name="T41" fmla="*/ 2147483647 h 1779"/>
              <a:gd name="T42" fmla="*/ 0 w 1252"/>
              <a:gd name="T43" fmla="*/ 2147483647 h 1779"/>
              <a:gd name="T44" fmla="*/ 2147483647 w 1252"/>
              <a:gd name="T45" fmla="*/ 2147483647 h 1779"/>
              <a:gd name="T46" fmla="*/ 2147483647 w 1252"/>
              <a:gd name="T47" fmla="*/ 2147483647 h 1779"/>
              <a:gd name="T48" fmla="*/ 2147483647 w 1252"/>
              <a:gd name="T49" fmla="*/ 2147483647 h 1779"/>
              <a:gd name="T50" fmla="*/ 2147483647 w 1252"/>
              <a:gd name="T51" fmla="*/ 2147483647 h 1779"/>
              <a:gd name="T52" fmla="*/ 2147483647 w 1252"/>
              <a:gd name="T53" fmla="*/ 2147483647 h 1779"/>
              <a:gd name="T54" fmla="*/ 2147483647 w 1252"/>
              <a:gd name="T55" fmla="*/ 2147483647 h 1779"/>
              <a:gd name="T56" fmla="*/ 2147483647 w 1252"/>
              <a:gd name="T57" fmla="*/ 2147483647 h 1779"/>
              <a:gd name="T58" fmla="*/ 2147483647 w 1252"/>
              <a:gd name="T59" fmla="*/ 2147483647 h 1779"/>
              <a:gd name="T60" fmla="*/ 2147483647 w 1252"/>
              <a:gd name="T61" fmla="*/ 2147483647 h 1779"/>
              <a:gd name="T62" fmla="*/ 2147483647 w 1252"/>
              <a:gd name="T63" fmla="*/ 2147483647 h 1779"/>
              <a:gd name="T64" fmla="*/ 2147483647 w 1252"/>
              <a:gd name="T65" fmla="*/ 2147483647 h 1779"/>
              <a:gd name="T66" fmla="*/ 2147483647 w 1252"/>
              <a:gd name="T67" fmla="*/ 2147483647 h 1779"/>
              <a:gd name="T68" fmla="*/ 2147483647 w 1252"/>
              <a:gd name="T69" fmla="*/ 2147483647 h 1779"/>
              <a:gd name="T70" fmla="*/ 2147483647 w 1252"/>
              <a:gd name="T71" fmla="*/ 2147483647 h 1779"/>
              <a:gd name="T72" fmla="*/ 2147483647 w 1252"/>
              <a:gd name="T73" fmla="*/ 2147483647 h 1779"/>
              <a:gd name="T74" fmla="*/ 2147483647 w 1252"/>
              <a:gd name="T75" fmla="*/ 2147483647 h 1779"/>
              <a:gd name="T76" fmla="*/ 2147483647 w 1252"/>
              <a:gd name="T77" fmla="*/ 2147483647 h 1779"/>
              <a:gd name="T78" fmla="*/ 2147483647 w 1252"/>
              <a:gd name="T79" fmla="*/ 2147483647 h 1779"/>
              <a:gd name="T80" fmla="*/ 2147483647 w 1252"/>
              <a:gd name="T81" fmla="*/ 2147483647 h 1779"/>
              <a:gd name="T82" fmla="*/ 2147483647 w 1252"/>
              <a:gd name="T83" fmla="*/ 2147483647 h 1779"/>
              <a:gd name="T84" fmla="*/ 2147483647 w 1252"/>
              <a:gd name="T85" fmla="*/ 2147483647 h 1779"/>
              <a:gd name="T86" fmla="*/ 2147483647 w 1252"/>
              <a:gd name="T87" fmla="*/ 2147483647 h 1779"/>
              <a:gd name="T88" fmla="*/ 2147483647 w 1252"/>
              <a:gd name="T89" fmla="*/ 2147483647 h 1779"/>
              <a:gd name="T90" fmla="*/ 2147483647 w 1252"/>
              <a:gd name="T91" fmla="*/ 2147483647 h 1779"/>
              <a:gd name="T92" fmla="*/ 2147483647 w 1252"/>
              <a:gd name="T93" fmla="*/ 2147483647 h 177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252"/>
              <a:gd name="T142" fmla="*/ 0 h 1779"/>
              <a:gd name="T143" fmla="*/ 1252 w 1252"/>
              <a:gd name="T144" fmla="*/ 1779 h 177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252" h="1779">
                <a:moveTo>
                  <a:pt x="1220" y="237"/>
                </a:moveTo>
                <a:lnTo>
                  <a:pt x="1073" y="164"/>
                </a:lnTo>
                <a:lnTo>
                  <a:pt x="1001" y="173"/>
                </a:lnTo>
                <a:lnTo>
                  <a:pt x="830" y="106"/>
                </a:lnTo>
                <a:lnTo>
                  <a:pt x="805" y="71"/>
                </a:lnTo>
                <a:lnTo>
                  <a:pt x="819" y="11"/>
                </a:lnTo>
                <a:lnTo>
                  <a:pt x="674" y="0"/>
                </a:lnTo>
                <a:lnTo>
                  <a:pt x="616" y="32"/>
                </a:lnTo>
                <a:lnTo>
                  <a:pt x="569" y="314"/>
                </a:lnTo>
                <a:lnTo>
                  <a:pt x="284" y="747"/>
                </a:lnTo>
                <a:lnTo>
                  <a:pt x="144" y="856"/>
                </a:lnTo>
                <a:lnTo>
                  <a:pt x="111" y="946"/>
                </a:lnTo>
                <a:lnTo>
                  <a:pt x="66" y="1008"/>
                </a:lnTo>
                <a:lnTo>
                  <a:pt x="64" y="1025"/>
                </a:lnTo>
                <a:lnTo>
                  <a:pt x="94" y="1068"/>
                </a:lnTo>
                <a:lnTo>
                  <a:pt x="114" y="1164"/>
                </a:lnTo>
                <a:lnTo>
                  <a:pt x="230" y="1178"/>
                </a:lnTo>
                <a:lnTo>
                  <a:pt x="219" y="1198"/>
                </a:lnTo>
                <a:lnTo>
                  <a:pt x="197" y="1214"/>
                </a:lnTo>
                <a:lnTo>
                  <a:pt x="97" y="1498"/>
                </a:lnTo>
                <a:lnTo>
                  <a:pt x="22" y="1593"/>
                </a:lnTo>
                <a:lnTo>
                  <a:pt x="0" y="1647"/>
                </a:lnTo>
                <a:lnTo>
                  <a:pt x="8" y="1672"/>
                </a:lnTo>
                <a:lnTo>
                  <a:pt x="69" y="1677"/>
                </a:lnTo>
                <a:lnTo>
                  <a:pt x="191" y="1727"/>
                </a:lnTo>
                <a:lnTo>
                  <a:pt x="232" y="1759"/>
                </a:lnTo>
                <a:lnTo>
                  <a:pt x="286" y="1779"/>
                </a:lnTo>
                <a:lnTo>
                  <a:pt x="430" y="1770"/>
                </a:lnTo>
                <a:lnTo>
                  <a:pt x="455" y="1621"/>
                </a:lnTo>
                <a:lnTo>
                  <a:pt x="647" y="1521"/>
                </a:lnTo>
                <a:lnTo>
                  <a:pt x="650" y="1459"/>
                </a:lnTo>
                <a:lnTo>
                  <a:pt x="622" y="1392"/>
                </a:lnTo>
                <a:lnTo>
                  <a:pt x="626" y="1319"/>
                </a:lnTo>
                <a:lnTo>
                  <a:pt x="652" y="1251"/>
                </a:lnTo>
                <a:lnTo>
                  <a:pt x="741" y="1165"/>
                </a:lnTo>
                <a:lnTo>
                  <a:pt x="709" y="1023"/>
                </a:lnTo>
                <a:lnTo>
                  <a:pt x="720" y="941"/>
                </a:lnTo>
                <a:lnTo>
                  <a:pt x="772" y="924"/>
                </a:lnTo>
                <a:lnTo>
                  <a:pt x="830" y="928"/>
                </a:lnTo>
                <a:lnTo>
                  <a:pt x="895" y="889"/>
                </a:lnTo>
                <a:lnTo>
                  <a:pt x="914" y="842"/>
                </a:lnTo>
                <a:lnTo>
                  <a:pt x="899" y="782"/>
                </a:lnTo>
                <a:lnTo>
                  <a:pt x="1042" y="509"/>
                </a:lnTo>
                <a:lnTo>
                  <a:pt x="1180" y="441"/>
                </a:lnTo>
                <a:lnTo>
                  <a:pt x="1239" y="388"/>
                </a:lnTo>
                <a:lnTo>
                  <a:pt x="1252" y="347"/>
                </a:lnTo>
                <a:lnTo>
                  <a:pt x="1220" y="237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5" name="Freeform 145">
            <a:extLst>
              <a:ext uri="{FF2B5EF4-FFF2-40B4-BE49-F238E27FC236}">
                <a16:creationId xmlns:a16="http://schemas.microsoft.com/office/drawing/2014/main" id="{5B27E78B-1589-4DC6-9524-A897FEE5D24F}"/>
              </a:ext>
            </a:extLst>
          </p:cNvPr>
          <p:cNvSpPr>
            <a:spLocks/>
          </p:cNvSpPr>
          <p:nvPr/>
        </p:nvSpPr>
        <p:spPr bwMode="auto">
          <a:xfrm rot="21249101">
            <a:off x="4317330" y="4954892"/>
            <a:ext cx="524311" cy="681606"/>
          </a:xfrm>
          <a:custGeom>
            <a:avLst/>
            <a:gdLst>
              <a:gd name="T0" fmla="*/ 2147483647 w 1252"/>
              <a:gd name="T1" fmla="*/ 2147483647 h 1779"/>
              <a:gd name="T2" fmla="*/ 2147483647 w 1252"/>
              <a:gd name="T3" fmla="*/ 2147483647 h 1779"/>
              <a:gd name="T4" fmla="*/ 2147483647 w 1252"/>
              <a:gd name="T5" fmla="*/ 2147483647 h 1779"/>
              <a:gd name="T6" fmla="*/ 2147483647 w 1252"/>
              <a:gd name="T7" fmla="*/ 2147483647 h 1779"/>
              <a:gd name="T8" fmla="*/ 2147483647 w 1252"/>
              <a:gd name="T9" fmla="*/ 2147483647 h 1779"/>
              <a:gd name="T10" fmla="*/ 2147483647 w 1252"/>
              <a:gd name="T11" fmla="*/ 2147483647 h 1779"/>
              <a:gd name="T12" fmla="*/ 2147483647 w 1252"/>
              <a:gd name="T13" fmla="*/ 0 h 1779"/>
              <a:gd name="T14" fmla="*/ 2147483647 w 1252"/>
              <a:gd name="T15" fmla="*/ 2147483647 h 1779"/>
              <a:gd name="T16" fmla="*/ 2147483647 w 1252"/>
              <a:gd name="T17" fmla="*/ 2147483647 h 1779"/>
              <a:gd name="T18" fmla="*/ 2147483647 w 1252"/>
              <a:gd name="T19" fmla="*/ 2147483647 h 1779"/>
              <a:gd name="T20" fmla="*/ 2147483647 w 1252"/>
              <a:gd name="T21" fmla="*/ 2147483647 h 1779"/>
              <a:gd name="T22" fmla="*/ 2147483647 w 1252"/>
              <a:gd name="T23" fmla="*/ 2147483647 h 1779"/>
              <a:gd name="T24" fmla="*/ 2147483647 w 1252"/>
              <a:gd name="T25" fmla="*/ 2147483647 h 1779"/>
              <a:gd name="T26" fmla="*/ 2147483647 w 1252"/>
              <a:gd name="T27" fmla="*/ 2147483647 h 1779"/>
              <a:gd name="T28" fmla="*/ 2147483647 w 1252"/>
              <a:gd name="T29" fmla="*/ 2147483647 h 1779"/>
              <a:gd name="T30" fmla="*/ 2147483647 w 1252"/>
              <a:gd name="T31" fmla="*/ 2147483647 h 1779"/>
              <a:gd name="T32" fmla="*/ 2147483647 w 1252"/>
              <a:gd name="T33" fmla="*/ 2147483647 h 1779"/>
              <a:gd name="T34" fmla="*/ 2147483647 w 1252"/>
              <a:gd name="T35" fmla="*/ 2147483647 h 1779"/>
              <a:gd name="T36" fmla="*/ 2147483647 w 1252"/>
              <a:gd name="T37" fmla="*/ 2147483647 h 1779"/>
              <a:gd name="T38" fmla="*/ 2147483647 w 1252"/>
              <a:gd name="T39" fmla="*/ 2147483647 h 1779"/>
              <a:gd name="T40" fmla="*/ 2147483647 w 1252"/>
              <a:gd name="T41" fmla="*/ 2147483647 h 1779"/>
              <a:gd name="T42" fmla="*/ 0 w 1252"/>
              <a:gd name="T43" fmla="*/ 2147483647 h 1779"/>
              <a:gd name="T44" fmla="*/ 2147483647 w 1252"/>
              <a:gd name="T45" fmla="*/ 2147483647 h 1779"/>
              <a:gd name="T46" fmla="*/ 2147483647 w 1252"/>
              <a:gd name="T47" fmla="*/ 2147483647 h 1779"/>
              <a:gd name="T48" fmla="*/ 2147483647 w 1252"/>
              <a:gd name="T49" fmla="*/ 2147483647 h 1779"/>
              <a:gd name="T50" fmla="*/ 2147483647 w 1252"/>
              <a:gd name="T51" fmla="*/ 2147483647 h 1779"/>
              <a:gd name="T52" fmla="*/ 2147483647 w 1252"/>
              <a:gd name="T53" fmla="*/ 2147483647 h 1779"/>
              <a:gd name="T54" fmla="*/ 2147483647 w 1252"/>
              <a:gd name="T55" fmla="*/ 2147483647 h 1779"/>
              <a:gd name="T56" fmla="*/ 2147483647 w 1252"/>
              <a:gd name="T57" fmla="*/ 2147483647 h 1779"/>
              <a:gd name="T58" fmla="*/ 2147483647 w 1252"/>
              <a:gd name="T59" fmla="*/ 2147483647 h 1779"/>
              <a:gd name="T60" fmla="*/ 2147483647 w 1252"/>
              <a:gd name="T61" fmla="*/ 2147483647 h 1779"/>
              <a:gd name="T62" fmla="*/ 2147483647 w 1252"/>
              <a:gd name="T63" fmla="*/ 2147483647 h 1779"/>
              <a:gd name="T64" fmla="*/ 2147483647 w 1252"/>
              <a:gd name="T65" fmla="*/ 2147483647 h 1779"/>
              <a:gd name="T66" fmla="*/ 2147483647 w 1252"/>
              <a:gd name="T67" fmla="*/ 2147483647 h 1779"/>
              <a:gd name="T68" fmla="*/ 2147483647 w 1252"/>
              <a:gd name="T69" fmla="*/ 2147483647 h 1779"/>
              <a:gd name="T70" fmla="*/ 2147483647 w 1252"/>
              <a:gd name="T71" fmla="*/ 2147483647 h 1779"/>
              <a:gd name="T72" fmla="*/ 2147483647 w 1252"/>
              <a:gd name="T73" fmla="*/ 2147483647 h 1779"/>
              <a:gd name="T74" fmla="*/ 2147483647 w 1252"/>
              <a:gd name="T75" fmla="*/ 2147483647 h 1779"/>
              <a:gd name="T76" fmla="*/ 2147483647 w 1252"/>
              <a:gd name="T77" fmla="*/ 2147483647 h 1779"/>
              <a:gd name="T78" fmla="*/ 2147483647 w 1252"/>
              <a:gd name="T79" fmla="*/ 2147483647 h 1779"/>
              <a:gd name="T80" fmla="*/ 2147483647 w 1252"/>
              <a:gd name="T81" fmla="*/ 2147483647 h 1779"/>
              <a:gd name="T82" fmla="*/ 2147483647 w 1252"/>
              <a:gd name="T83" fmla="*/ 2147483647 h 1779"/>
              <a:gd name="T84" fmla="*/ 2147483647 w 1252"/>
              <a:gd name="T85" fmla="*/ 2147483647 h 1779"/>
              <a:gd name="T86" fmla="*/ 2147483647 w 1252"/>
              <a:gd name="T87" fmla="*/ 2147483647 h 1779"/>
              <a:gd name="T88" fmla="*/ 2147483647 w 1252"/>
              <a:gd name="T89" fmla="*/ 2147483647 h 1779"/>
              <a:gd name="T90" fmla="*/ 2147483647 w 1252"/>
              <a:gd name="T91" fmla="*/ 2147483647 h 1779"/>
              <a:gd name="T92" fmla="*/ 2147483647 w 1252"/>
              <a:gd name="T93" fmla="*/ 2147483647 h 1779"/>
              <a:gd name="T94" fmla="*/ 2147483647 w 1252"/>
              <a:gd name="T95" fmla="*/ 2147483647 h 1779"/>
              <a:gd name="T96" fmla="*/ 2147483647 w 1252"/>
              <a:gd name="T97" fmla="*/ 2147483647 h 177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252"/>
              <a:gd name="T148" fmla="*/ 0 h 1779"/>
              <a:gd name="T149" fmla="*/ 1252 w 1252"/>
              <a:gd name="T150" fmla="*/ 1779 h 177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252" h="1779">
                <a:moveTo>
                  <a:pt x="1220" y="237"/>
                </a:moveTo>
                <a:lnTo>
                  <a:pt x="1073" y="164"/>
                </a:lnTo>
                <a:lnTo>
                  <a:pt x="1001" y="173"/>
                </a:lnTo>
                <a:lnTo>
                  <a:pt x="830" y="106"/>
                </a:lnTo>
                <a:lnTo>
                  <a:pt x="805" y="71"/>
                </a:lnTo>
                <a:lnTo>
                  <a:pt x="819" y="11"/>
                </a:lnTo>
                <a:lnTo>
                  <a:pt x="674" y="0"/>
                </a:lnTo>
                <a:lnTo>
                  <a:pt x="616" y="32"/>
                </a:lnTo>
                <a:lnTo>
                  <a:pt x="569" y="314"/>
                </a:lnTo>
                <a:lnTo>
                  <a:pt x="284" y="747"/>
                </a:lnTo>
                <a:lnTo>
                  <a:pt x="144" y="856"/>
                </a:lnTo>
                <a:lnTo>
                  <a:pt x="111" y="946"/>
                </a:lnTo>
                <a:lnTo>
                  <a:pt x="66" y="1008"/>
                </a:lnTo>
                <a:lnTo>
                  <a:pt x="64" y="1025"/>
                </a:lnTo>
                <a:lnTo>
                  <a:pt x="94" y="1068"/>
                </a:lnTo>
                <a:lnTo>
                  <a:pt x="114" y="1164"/>
                </a:lnTo>
                <a:lnTo>
                  <a:pt x="230" y="1178"/>
                </a:lnTo>
                <a:lnTo>
                  <a:pt x="219" y="1198"/>
                </a:lnTo>
                <a:lnTo>
                  <a:pt x="197" y="1214"/>
                </a:lnTo>
                <a:lnTo>
                  <a:pt x="97" y="1498"/>
                </a:lnTo>
                <a:lnTo>
                  <a:pt x="22" y="1593"/>
                </a:lnTo>
                <a:lnTo>
                  <a:pt x="0" y="1647"/>
                </a:lnTo>
                <a:lnTo>
                  <a:pt x="8" y="1672"/>
                </a:lnTo>
                <a:lnTo>
                  <a:pt x="69" y="1677"/>
                </a:lnTo>
                <a:lnTo>
                  <a:pt x="191" y="1727"/>
                </a:lnTo>
                <a:lnTo>
                  <a:pt x="232" y="1759"/>
                </a:lnTo>
                <a:lnTo>
                  <a:pt x="286" y="1779"/>
                </a:lnTo>
                <a:lnTo>
                  <a:pt x="430" y="1770"/>
                </a:lnTo>
                <a:lnTo>
                  <a:pt x="455" y="1621"/>
                </a:lnTo>
                <a:lnTo>
                  <a:pt x="647" y="1521"/>
                </a:lnTo>
                <a:lnTo>
                  <a:pt x="650" y="1459"/>
                </a:lnTo>
                <a:lnTo>
                  <a:pt x="622" y="1392"/>
                </a:lnTo>
                <a:lnTo>
                  <a:pt x="626" y="1319"/>
                </a:lnTo>
                <a:lnTo>
                  <a:pt x="652" y="1251"/>
                </a:lnTo>
                <a:lnTo>
                  <a:pt x="741" y="1165"/>
                </a:lnTo>
                <a:lnTo>
                  <a:pt x="709" y="1023"/>
                </a:lnTo>
                <a:lnTo>
                  <a:pt x="720" y="941"/>
                </a:lnTo>
                <a:lnTo>
                  <a:pt x="772" y="924"/>
                </a:lnTo>
                <a:lnTo>
                  <a:pt x="830" y="928"/>
                </a:lnTo>
                <a:lnTo>
                  <a:pt x="895" y="889"/>
                </a:lnTo>
                <a:lnTo>
                  <a:pt x="914" y="842"/>
                </a:lnTo>
                <a:lnTo>
                  <a:pt x="899" y="782"/>
                </a:lnTo>
                <a:lnTo>
                  <a:pt x="1042" y="509"/>
                </a:lnTo>
                <a:lnTo>
                  <a:pt x="1180" y="441"/>
                </a:lnTo>
                <a:lnTo>
                  <a:pt x="1239" y="388"/>
                </a:lnTo>
                <a:lnTo>
                  <a:pt x="1252" y="347"/>
                </a:lnTo>
                <a:lnTo>
                  <a:pt x="1220" y="237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6" name="Freeform 146" descr="Large grid">
            <a:extLst>
              <a:ext uri="{FF2B5EF4-FFF2-40B4-BE49-F238E27FC236}">
                <a16:creationId xmlns:a16="http://schemas.microsoft.com/office/drawing/2014/main" id="{6BE33C7B-ADA7-4268-ACBC-59D8C0E3DDE1}"/>
              </a:ext>
            </a:extLst>
          </p:cNvPr>
          <p:cNvSpPr>
            <a:spLocks/>
          </p:cNvSpPr>
          <p:nvPr/>
        </p:nvSpPr>
        <p:spPr bwMode="auto">
          <a:xfrm rot="21249101">
            <a:off x="7445235" y="2644640"/>
            <a:ext cx="35912" cy="58985"/>
          </a:xfrm>
          <a:custGeom>
            <a:avLst/>
            <a:gdLst>
              <a:gd name="T0" fmla="*/ 2147483647 w 84"/>
              <a:gd name="T1" fmla="*/ 2147483647 h 149"/>
              <a:gd name="T2" fmla="*/ 2147483647 w 84"/>
              <a:gd name="T3" fmla="*/ 2147483647 h 149"/>
              <a:gd name="T4" fmla="*/ 2147483647 w 84"/>
              <a:gd name="T5" fmla="*/ 0 h 149"/>
              <a:gd name="T6" fmla="*/ 2147483647 w 84"/>
              <a:gd name="T7" fmla="*/ 2147483647 h 149"/>
              <a:gd name="T8" fmla="*/ 2147483647 w 84"/>
              <a:gd name="T9" fmla="*/ 2147483647 h 149"/>
              <a:gd name="T10" fmla="*/ 2147483647 w 84"/>
              <a:gd name="T11" fmla="*/ 2147483647 h 149"/>
              <a:gd name="T12" fmla="*/ 2147483647 w 84"/>
              <a:gd name="T13" fmla="*/ 2147483647 h 149"/>
              <a:gd name="T14" fmla="*/ 0 w 84"/>
              <a:gd name="T15" fmla="*/ 2147483647 h 149"/>
              <a:gd name="T16" fmla="*/ 2147483647 w 84"/>
              <a:gd name="T17" fmla="*/ 2147483647 h 149"/>
              <a:gd name="T18" fmla="*/ 2147483647 w 84"/>
              <a:gd name="T19" fmla="*/ 2147483647 h 149"/>
              <a:gd name="T20" fmla="*/ 2147483647 w 84"/>
              <a:gd name="T21" fmla="*/ 2147483647 h 149"/>
              <a:gd name="T22" fmla="*/ 2147483647 w 84"/>
              <a:gd name="T23" fmla="*/ 2147483647 h 149"/>
              <a:gd name="T24" fmla="*/ 2147483647 w 84"/>
              <a:gd name="T25" fmla="*/ 2147483647 h 149"/>
              <a:gd name="T26" fmla="*/ 2147483647 w 84"/>
              <a:gd name="T27" fmla="*/ 2147483647 h 149"/>
              <a:gd name="T28" fmla="*/ 2147483647 w 84"/>
              <a:gd name="T29" fmla="*/ 2147483647 h 149"/>
              <a:gd name="T30" fmla="*/ 2147483647 w 84"/>
              <a:gd name="T31" fmla="*/ 2147483647 h 149"/>
              <a:gd name="T32" fmla="*/ 2147483647 w 84"/>
              <a:gd name="T33" fmla="*/ 2147483647 h 149"/>
              <a:gd name="T34" fmla="*/ 2147483647 w 84"/>
              <a:gd name="T35" fmla="*/ 2147483647 h 14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84"/>
              <a:gd name="T55" fmla="*/ 0 h 149"/>
              <a:gd name="T56" fmla="*/ 84 w 84"/>
              <a:gd name="T57" fmla="*/ 149 h 14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84" h="149">
                <a:moveTo>
                  <a:pt x="68" y="16"/>
                </a:moveTo>
                <a:lnTo>
                  <a:pt x="44" y="10"/>
                </a:lnTo>
                <a:lnTo>
                  <a:pt x="34" y="0"/>
                </a:lnTo>
                <a:lnTo>
                  <a:pt x="14" y="16"/>
                </a:lnTo>
                <a:lnTo>
                  <a:pt x="26" y="31"/>
                </a:lnTo>
                <a:lnTo>
                  <a:pt x="24" y="53"/>
                </a:lnTo>
                <a:lnTo>
                  <a:pt x="4" y="48"/>
                </a:lnTo>
                <a:lnTo>
                  <a:pt x="0" y="78"/>
                </a:lnTo>
                <a:lnTo>
                  <a:pt x="3" y="108"/>
                </a:lnTo>
                <a:lnTo>
                  <a:pt x="48" y="122"/>
                </a:lnTo>
                <a:lnTo>
                  <a:pt x="72" y="149"/>
                </a:lnTo>
                <a:lnTo>
                  <a:pt x="84" y="126"/>
                </a:lnTo>
                <a:lnTo>
                  <a:pt x="62" y="113"/>
                </a:lnTo>
                <a:lnTo>
                  <a:pt x="54" y="85"/>
                </a:lnTo>
                <a:lnTo>
                  <a:pt x="72" y="78"/>
                </a:lnTo>
                <a:lnTo>
                  <a:pt x="82" y="56"/>
                </a:lnTo>
                <a:lnTo>
                  <a:pt x="84" y="40"/>
                </a:lnTo>
                <a:lnTo>
                  <a:pt x="68" y="16"/>
                </a:lnTo>
                <a:close/>
              </a:path>
            </a:pathLst>
          </a:custGeom>
          <a:solidFill>
            <a:srgbClr val="FFD85B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7" name="Freeform 147" descr="Large grid">
            <a:extLst>
              <a:ext uri="{FF2B5EF4-FFF2-40B4-BE49-F238E27FC236}">
                <a16:creationId xmlns:a16="http://schemas.microsoft.com/office/drawing/2014/main" id="{1F6BE259-A585-4C06-AA81-7964B59FD257}"/>
              </a:ext>
            </a:extLst>
          </p:cNvPr>
          <p:cNvSpPr>
            <a:spLocks/>
          </p:cNvSpPr>
          <p:nvPr/>
        </p:nvSpPr>
        <p:spPr bwMode="auto">
          <a:xfrm rot="21249101">
            <a:off x="7445235" y="2644640"/>
            <a:ext cx="35912" cy="58985"/>
          </a:xfrm>
          <a:custGeom>
            <a:avLst/>
            <a:gdLst>
              <a:gd name="T0" fmla="*/ 2147483647 w 84"/>
              <a:gd name="T1" fmla="*/ 2147483647 h 149"/>
              <a:gd name="T2" fmla="*/ 2147483647 w 84"/>
              <a:gd name="T3" fmla="*/ 2147483647 h 149"/>
              <a:gd name="T4" fmla="*/ 2147483647 w 84"/>
              <a:gd name="T5" fmla="*/ 0 h 149"/>
              <a:gd name="T6" fmla="*/ 2147483647 w 84"/>
              <a:gd name="T7" fmla="*/ 2147483647 h 149"/>
              <a:gd name="T8" fmla="*/ 2147483647 w 84"/>
              <a:gd name="T9" fmla="*/ 2147483647 h 149"/>
              <a:gd name="T10" fmla="*/ 2147483647 w 84"/>
              <a:gd name="T11" fmla="*/ 2147483647 h 149"/>
              <a:gd name="T12" fmla="*/ 2147483647 w 84"/>
              <a:gd name="T13" fmla="*/ 2147483647 h 149"/>
              <a:gd name="T14" fmla="*/ 0 w 84"/>
              <a:gd name="T15" fmla="*/ 2147483647 h 149"/>
              <a:gd name="T16" fmla="*/ 2147483647 w 84"/>
              <a:gd name="T17" fmla="*/ 2147483647 h 149"/>
              <a:gd name="T18" fmla="*/ 2147483647 w 84"/>
              <a:gd name="T19" fmla="*/ 2147483647 h 149"/>
              <a:gd name="T20" fmla="*/ 2147483647 w 84"/>
              <a:gd name="T21" fmla="*/ 2147483647 h 149"/>
              <a:gd name="T22" fmla="*/ 2147483647 w 84"/>
              <a:gd name="T23" fmla="*/ 2147483647 h 149"/>
              <a:gd name="T24" fmla="*/ 2147483647 w 84"/>
              <a:gd name="T25" fmla="*/ 2147483647 h 149"/>
              <a:gd name="T26" fmla="*/ 2147483647 w 84"/>
              <a:gd name="T27" fmla="*/ 2147483647 h 149"/>
              <a:gd name="T28" fmla="*/ 2147483647 w 84"/>
              <a:gd name="T29" fmla="*/ 2147483647 h 149"/>
              <a:gd name="T30" fmla="*/ 2147483647 w 84"/>
              <a:gd name="T31" fmla="*/ 2147483647 h 149"/>
              <a:gd name="T32" fmla="*/ 2147483647 w 84"/>
              <a:gd name="T33" fmla="*/ 2147483647 h 149"/>
              <a:gd name="T34" fmla="*/ 2147483647 w 84"/>
              <a:gd name="T35" fmla="*/ 2147483647 h 14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84"/>
              <a:gd name="T55" fmla="*/ 0 h 149"/>
              <a:gd name="T56" fmla="*/ 84 w 84"/>
              <a:gd name="T57" fmla="*/ 149 h 14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84" h="149">
                <a:moveTo>
                  <a:pt x="68" y="16"/>
                </a:moveTo>
                <a:lnTo>
                  <a:pt x="44" y="10"/>
                </a:lnTo>
                <a:lnTo>
                  <a:pt x="34" y="0"/>
                </a:lnTo>
                <a:lnTo>
                  <a:pt x="14" y="16"/>
                </a:lnTo>
                <a:lnTo>
                  <a:pt x="26" y="31"/>
                </a:lnTo>
                <a:lnTo>
                  <a:pt x="24" y="53"/>
                </a:lnTo>
                <a:lnTo>
                  <a:pt x="4" y="48"/>
                </a:lnTo>
                <a:lnTo>
                  <a:pt x="0" y="78"/>
                </a:lnTo>
                <a:lnTo>
                  <a:pt x="3" y="108"/>
                </a:lnTo>
                <a:lnTo>
                  <a:pt x="48" y="122"/>
                </a:lnTo>
                <a:lnTo>
                  <a:pt x="72" y="149"/>
                </a:lnTo>
                <a:lnTo>
                  <a:pt x="84" y="126"/>
                </a:lnTo>
                <a:lnTo>
                  <a:pt x="62" y="113"/>
                </a:lnTo>
                <a:lnTo>
                  <a:pt x="54" y="85"/>
                </a:lnTo>
                <a:lnTo>
                  <a:pt x="72" y="78"/>
                </a:lnTo>
                <a:lnTo>
                  <a:pt x="82" y="56"/>
                </a:lnTo>
                <a:lnTo>
                  <a:pt x="84" y="40"/>
                </a:lnTo>
                <a:lnTo>
                  <a:pt x="68" y="16"/>
                </a:lnTo>
              </a:path>
            </a:pathLst>
          </a:custGeom>
          <a:solidFill>
            <a:srgbClr val="FFD85B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8" name="Freeform 148" descr="Large grid">
            <a:extLst>
              <a:ext uri="{FF2B5EF4-FFF2-40B4-BE49-F238E27FC236}">
                <a16:creationId xmlns:a16="http://schemas.microsoft.com/office/drawing/2014/main" id="{4E0693C3-A0B7-46C9-99B2-2CC0C148A2CA}"/>
              </a:ext>
            </a:extLst>
          </p:cNvPr>
          <p:cNvSpPr>
            <a:spLocks/>
          </p:cNvSpPr>
          <p:nvPr/>
        </p:nvSpPr>
        <p:spPr bwMode="auto">
          <a:xfrm rot="21249101">
            <a:off x="7596065" y="2656109"/>
            <a:ext cx="16160" cy="13107"/>
          </a:xfrm>
          <a:custGeom>
            <a:avLst/>
            <a:gdLst>
              <a:gd name="T0" fmla="*/ 2147483647 w 34"/>
              <a:gd name="T1" fmla="*/ 2147483647 h 41"/>
              <a:gd name="T2" fmla="*/ 2147483647 w 34"/>
              <a:gd name="T3" fmla="*/ 0 h 41"/>
              <a:gd name="T4" fmla="*/ 2147483647 w 34"/>
              <a:gd name="T5" fmla="*/ 2147483647 h 41"/>
              <a:gd name="T6" fmla="*/ 0 w 34"/>
              <a:gd name="T7" fmla="*/ 2147483647 h 41"/>
              <a:gd name="T8" fmla="*/ 2147483647 w 34"/>
              <a:gd name="T9" fmla="*/ 2147483647 h 41"/>
              <a:gd name="T10" fmla="*/ 2147483647 w 34"/>
              <a:gd name="T11" fmla="*/ 2147483647 h 41"/>
              <a:gd name="T12" fmla="*/ 2147483647 w 34"/>
              <a:gd name="T13" fmla="*/ 2147483647 h 4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41"/>
              <a:gd name="T23" fmla="*/ 34 w 34"/>
              <a:gd name="T24" fmla="*/ 41 h 4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41">
                <a:moveTo>
                  <a:pt x="34" y="15"/>
                </a:moveTo>
                <a:lnTo>
                  <a:pt x="26" y="0"/>
                </a:lnTo>
                <a:lnTo>
                  <a:pt x="6" y="4"/>
                </a:lnTo>
                <a:lnTo>
                  <a:pt x="0" y="27"/>
                </a:lnTo>
                <a:lnTo>
                  <a:pt x="15" y="41"/>
                </a:lnTo>
                <a:lnTo>
                  <a:pt x="33" y="41"/>
                </a:lnTo>
                <a:lnTo>
                  <a:pt x="34" y="15"/>
                </a:lnTo>
                <a:close/>
              </a:path>
            </a:pathLst>
          </a:custGeom>
          <a:solidFill>
            <a:srgbClr val="FFD85B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39" name="Freeform 149" descr="Large grid">
            <a:extLst>
              <a:ext uri="{FF2B5EF4-FFF2-40B4-BE49-F238E27FC236}">
                <a16:creationId xmlns:a16="http://schemas.microsoft.com/office/drawing/2014/main" id="{574B621B-3698-4713-A1B0-EFD8845EFD6C}"/>
              </a:ext>
            </a:extLst>
          </p:cNvPr>
          <p:cNvSpPr>
            <a:spLocks/>
          </p:cNvSpPr>
          <p:nvPr/>
        </p:nvSpPr>
        <p:spPr bwMode="auto">
          <a:xfrm rot="21249101">
            <a:off x="7596065" y="2656109"/>
            <a:ext cx="16160" cy="13107"/>
          </a:xfrm>
          <a:custGeom>
            <a:avLst/>
            <a:gdLst>
              <a:gd name="T0" fmla="*/ 2147483647 w 34"/>
              <a:gd name="T1" fmla="*/ 2147483647 h 41"/>
              <a:gd name="T2" fmla="*/ 2147483647 w 34"/>
              <a:gd name="T3" fmla="*/ 0 h 41"/>
              <a:gd name="T4" fmla="*/ 2147483647 w 34"/>
              <a:gd name="T5" fmla="*/ 2147483647 h 41"/>
              <a:gd name="T6" fmla="*/ 0 w 34"/>
              <a:gd name="T7" fmla="*/ 2147483647 h 41"/>
              <a:gd name="T8" fmla="*/ 2147483647 w 34"/>
              <a:gd name="T9" fmla="*/ 2147483647 h 41"/>
              <a:gd name="T10" fmla="*/ 2147483647 w 34"/>
              <a:gd name="T11" fmla="*/ 2147483647 h 41"/>
              <a:gd name="T12" fmla="*/ 2147483647 w 34"/>
              <a:gd name="T13" fmla="*/ 2147483647 h 4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41"/>
              <a:gd name="T23" fmla="*/ 34 w 34"/>
              <a:gd name="T24" fmla="*/ 41 h 4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41">
                <a:moveTo>
                  <a:pt x="34" y="15"/>
                </a:moveTo>
                <a:lnTo>
                  <a:pt x="26" y="0"/>
                </a:lnTo>
                <a:lnTo>
                  <a:pt x="6" y="4"/>
                </a:lnTo>
                <a:lnTo>
                  <a:pt x="0" y="27"/>
                </a:lnTo>
                <a:lnTo>
                  <a:pt x="15" y="41"/>
                </a:lnTo>
                <a:lnTo>
                  <a:pt x="33" y="41"/>
                </a:lnTo>
                <a:lnTo>
                  <a:pt x="34" y="15"/>
                </a:lnTo>
              </a:path>
            </a:pathLst>
          </a:custGeom>
          <a:solidFill>
            <a:srgbClr val="FFD85B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0" name="Freeform 150" descr="Large grid">
            <a:extLst>
              <a:ext uri="{FF2B5EF4-FFF2-40B4-BE49-F238E27FC236}">
                <a16:creationId xmlns:a16="http://schemas.microsoft.com/office/drawing/2014/main" id="{724374AD-9DA2-4035-9953-26C58193FBA6}"/>
              </a:ext>
            </a:extLst>
          </p:cNvPr>
          <p:cNvSpPr>
            <a:spLocks/>
          </p:cNvSpPr>
          <p:nvPr/>
        </p:nvSpPr>
        <p:spPr bwMode="auto">
          <a:xfrm rot="21249101">
            <a:off x="7649932" y="2641362"/>
            <a:ext cx="30525" cy="36047"/>
          </a:xfrm>
          <a:custGeom>
            <a:avLst/>
            <a:gdLst>
              <a:gd name="T0" fmla="*/ 2147483647 w 79"/>
              <a:gd name="T1" fmla="*/ 2147483647 h 92"/>
              <a:gd name="T2" fmla="*/ 2147483647 w 79"/>
              <a:gd name="T3" fmla="*/ 2147483647 h 92"/>
              <a:gd name="T4" fmla="*/ 2147483647 w 79"/>
              <a:gd name="T5" fmla="*/ 0 h 92"/>
              <a:gd name="T6" fmla="*/ 2147483647 w 79"/>
              <a:gd name="T7" fmla="*/ 2147483647 h 92"/>
              <a:gd name="T8" fmla="*/ 2147483647 w 79"/>
              <a:gd name="T9" fmla="*/ 2147483647 h 92"/>
              <a:gd name="T10" fmla="*/ 2147483647 w 79"/>
              <a:gd name="T11" fmla="*/ 2147483647 h 92"/>
              <a:gd name="T12" fmla="*/ 2147483647 w 79"/>
              <a:gd name="T13" fmla="*/ 2147483647 h 92"/>
              <a:gd name="T14" fmla="*/ 0 w 79"/>
              <a:gd name="T15" fmla="*/ 2147483647 h 92"/>
              <a:gd name="T16" fmla="*/ 2147483647 w 79"/>
              <a:gd name="T17" fmla="*/ 2147483647 h 92"/>
              <a:gd name="T18" fmla="*/ 2147483647 w 79"/>
              <a:gd name="T19" fmla="*/ 2147483647 h 9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9"/>
              <a:gd name="T31" fmla="*/ 0 h 92"/>
              <a:gd name="T32" fmla="*/ 79 w 79"/>
              <a:gd name="T33" fmla="*/ 92 h 9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9" h="92">
                <a:moveTo>
                  <a:pt x="55" y="92"/>
                </a:moveTo>
                <a:lnTo>
                  <a:pt x="66" y="79"/>
                </a:lnTo>
                <a:lnTo>
                  <a:pt x="79" y="0"/>
                </a:lnTo>
                <a:lnTo>
                  <a:pt x="68" y="11"/>
                </a:lnTo>
                <a:lnTo>
                  <a:pt x="22" y="34"/>
                </a:lnTo>
                <a:lnTo>
                  <a:pt x="21" y="59"/>
                </a:lnTo>
                <a:lnTo>
                  <a:pt x="8" y="70"/>
                </a:lnTo>
                <a:lnTo>
                  <a:pt x="0" y="87"/>
                </a:lnTo>
                <a:lnTo>
                  <a:pt x="31" y="80"/>
                </a:lnTo>
                <a:lnTo>
                  <a:pt x="55" y="92"/>
                </a:lnTo>
                <a:close/>
              </a:path>
            </a:pathLst>
          </a:custGeom>
          <a:solidFill>
            <a:srgbClr val="FFD85B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1" name="Freeform 151" descr="Large grid">
            <a:extLst>
              <a:ext uri="{FF2B5EF4-FFF2-40B4-BE49-F238E27FC236}">
                <a16:creationId xmlns:a16="http://schemas.microsoft.com/office/drawing/2014/main" id="{909CDF6A-4669-4DFA-A4B5-A4104926D351}"/>
              </a:ext>
            </a:extLst>
          </p:cNvPr>
          <p:cNvSpPr>
            <a:spLocks/>
          </p:cNvSpPr>
          <p:nvPr/>
        </p:nvSpPr>
        <p:spPr bwMode="auto">
          <a:xfrm rot="21249101">
            <a:off x="7649932" y="2641362"/>
            <a:ext cx="30525" cy="36047"/>
          </a:xfrm>
          <a:custGeom>
            <a:avLst/>
            <a:gdLst>
              <a:gd name="T0" fmla="*/ 2147483647 w 79"/>
              <a:gd name="T1" fmla="*/ 2147483647 h 92"/>
              <a:gd name="T2" fmla="*/ 2147483647 w 79"/>
              <a:gd name="T3" fmla="*/ 2147483647 h 92"/>
              <a:gd name="T4" fmla="*/ 2147483647 w 79"/>
              <a:gd name="T5" fmla="*/ 0 h 92"/>
              <a:gd name="T6" fmla="*/ 2147483647 w 79"/>
              <a:gd name="T7" fmla="*/ 2147483647 h 92"/>
              <a:gd name="T8" fmla="*/ 2147483647 w 79"/>
              <a:gd name="T9" fmla="*/ 2147483647 h 92"/>
              <a:gd name="T10" fmla="*/ 2147483647 w 79"/>
              <a:gd name="T11" fmla="*/ 2147483647 h 92"/>
              <a:gd name="T12" fmla="*/ 2147483647 w 79"/>
              <a:gd name="T13" fmla="*/ 2147483647 h 92"/>
              <a:gd name="T14" fmla="*/ 0 w 79"/>
              <a:gd name="T15" fmla="*/ 2147483647 h 92"/>
              <a:gd name="T16" fmla="*/ 2147483647 w 79"/>
              <a:gd name="T17" fmla="*/ 2147483647 h 92"/>
              <a:gd name="T18" fmla="*/ 2147483647 w 79"/>
              <a:gd name="T19" fmla="*/ 2147483647 h 9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9"/>
              <a:gd name="T31" fmla="*/ 0 h 92"/>
              <a:gd name="T32" fmla="*/ 79 w 79"/>
              <a:gd name="T33" fmla="*/ 92 h 9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9" h="92">
                <a:moveTo>
                  <a:pt x="55" y="92"/>
                </a:moveTo>
                <a:lnTo>
                  <a:pt x="66" y="79"/>
                </a:lnTo>
                <a:lnTo>
                  <a:pt x="79" y="0"/>
                </a:lnTo>
                <a:lnTo>
                  <a:pt x="68" y="11"/>
                </a:lnTo>
                <a:lnTo>
                  <a:pt x="22" y="34"/>
                </a:lnTo>
                <a:lnTo>
                  <a:pt x="21" y="59"/>
                </a:lnTo>
                <a:lnTo>
                  <a:pt x="8" y="70"/>
                </a:lnTo>
                <a:lnTo>
                  <a:pt x="0" y="87"/>
                </a:lnTo>
                <a:lnTo>
                  <a:pt x="31" y="80"/>
                </a:lnTo>
                <a:lnTo>
                  <a:pt x="55" y="92"/>
                </a:lnTo>
              </a:path>
            </a:pathLst>
          </a:custGeom>
          <a:solidFill>
            <a:srgbClr val="FFD85B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2" name="Freeform 154">
            <a:extLst>
              <a:ext uri="{FF2B5EF4-FFF2-40B4-BE49-F238E27FC236}">
                <a16:creationId xmlns:a16="http://schemas.microsoft.com/office/drawing/2014/main" id="{2676E70F-CC4A-41A7-81BE-9677C56EED46}"/>
              </a:ext>
            </a:extLst>
          </p:cNvPr>
          <p:cNvSpPr>
            <a:spLocks/>
          </p:cNvSpPr>
          <p:nvPr/>
        </p:nvSpPr>
        <p:spPr bwMode="auto">
          <a:xfrm rot="21249101">
            <a:off x="6427139" y="5323550"/>
            <a:ext cx="168785" cy="327695"/>
          </a:xfrm>
          <a:custGeom>
            <a:avLst/>
            <a:gdLst>
              <a:gd name="T0" fmla="*/ 2147483647 w 409"/>
              <a:gd name="T1" fmla="*/ 0 h 855"/>
              <a:gd name="T2" fmla="*/ 2147483647 w 409"/>
              <a:gd name="T3" fmla="*/ 2147483647 h 855"/>
              <a:gd name="T4" fmla="*/ 2147483647 w 409"/>
              <a:gd name="T5" fmla="*/ 2147483647 h 855"/>
              <a:gd name="T6" fmla="*/ 2147483647 w 409"/>
              <a:gd name="T7" fmla="*/ 2147483647 h 855"/>
              <a:gd name="T8" fmla="*/ 2147483647 w 409"/>
              <a:gd name="T9" fmla="*/ 2147483647 h 855"/>
              <a:gd name="T10" fmla="*/ 2147483647 w 409"/>
              <a:gd name="T11" fmla="*/ 2147483647 h 855"/>
              <a:gd name="T12" fmla="*/ 2147483647 w 409"/>
              <a:gd name="T13" fmla="*/ 2147483647 h 855"/>
              <a:gd name="T14" fmla="*/ 2147483647 w 409"/>
              <a:gd name="T15" fmla="*/ 2147483647 h 855"/>
              <a:gd name="T16" fmla="*/ 2147483647 w 409"/>
              <a:gd name="T17" fmla="*/ 2147483647 h 855"/>
              <a:gd name="T18" fmla="*/ 2147483647 w 409"/>
              <a:gd name="T19" fmla="*/ 2147483647 h 855"/>
              <a:gd name="T20" fmla="*/ 2147483647 w 409"/>
              <a:gd name="T21" fmla="*/ 2147483647 h 855"/>
              <a:gd name="T22" fmla="*/ 2147483647 w 409"/>
              <a:gd name="T23" fmla="*/ 2147483647 h 855"/>
              <a:gd name="T24" fmla="*/ 2147483647 w 409"/>
              <a:gd name="T25" fmla="*/ 2147483647 h 855"/>
              <a:gd name="T26" fmla="*/ 2147483647 w 409"/>
              <a:gd name="T27" fmla="*/ 2147483647 h 855"/>
              <a:gd name="T28" fmla="*/ 2147483647 w 409"/>
              <a:gd name="T29" fmla="*/ 2147483647 h 855"/>
              <a:gd name="T30" fmla="*/ 2147483647 w 409"/>
              <a:gd name="T31" fmla="*/ 2147483647 h 855"/>
              <a:gd name="T32" fmla="*/ 2147483647 w 409"/>
              <a:gd name="T33" fmla="*/ 2147483647 h 855"/>
              <a:gd name="T34" fmla="*/ 0 w 409"/>
              <a:gd name="T35" fmla="*/ 2147483647 h 855"/>
              <a:gd name="T36" fmla="*/ 2147483647 w 409"/>
              <a:gd name="T37" fmla="*/ 2147483647 h 855"/>
              <a:gd name="T38" fmla="*/ 2147483647 w 409"/>
              <a:gd name="T39" fmla="*/ 2147483647 h 855"/>
              <a:gd name="T40" fmla="*/ 2147483647 w 409"/>
              <a:gd name="T41" fmla="*/ 2147483647 h 855"/>
              <a:gd name="T42" fmla="*/ 2147483647 w 409"/>
              <a:gd name="T43" fmla="*/ 2147483647 h 855"/>
              <a:gd name="T44" fmla="*/ 2147483647 w 409"/>
              <a:gd name="T45" fmla="*/ 2147483647 h 855"/>
              <a:gd name="T46" fmla="*/ 2147483647 w 409"/>
              <a:gd name="T47" fmla="*/ 2147483647 h 855"/>
              <a:gd name="T48" fmla="*/ 2147483647 w 409"/>
              <a:gd name="T49" fmla="*/ 2147483647 h 855"/>
              <a:gd name="T50" fmla="*/ 2147483647 w 409"/>
              <a:gd name="T51" fmla="*/ 2147483647 h 855"/>
              <a:gd name="T52" fmla="*/ 2147483647 w 409"/>
              <a:gd name="T53" fmla="*/ 2147483647 h 855"/>
              <a:gd name="T54" fmla="*/ 2147483647 w 409"/>
              <a:gd name="T55" fmla="*/ 2147483647 h 855"/>
              <a:gd name="T56" fmla="*/ 2147483647 w 409"/>
              <a:gd name="T57" fmla="*/ 2147483647 h 855"/>
              <a:gd name="T58" fmla="*/ 2147483647 w 409"/>
              <a:gd name="T59" fmla="*/ 2147483647 h 855"/>
              <a:gd name="T60" fmla="*/ 2147483647 w 409"/>
              <a:gd name="T61" fmla="*/ 2147483647 h 855"/>
              <a:gd name="T62" fmla="*/ 2147483647 w 409"/>
              <a:gd name="T63" fmla="*/ 2147483647 h 855"/>
              <a:gd name="T64" fmla="*/ 2147483647 w 409"/>
              <a:gd name="T65" fmla="*/ 0 h 85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09"/>
              <a:gd name="T100" fmla="*/ 0 h 855"/>
              <a:gd name="T101" fmla="*/ 409 w 409"/>
              <a:gd name="T102" fmla="*/ 855 h 85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09" h="855">
                <a:moveTo>
                  <a:pt x="289" y="0"/>
                </a:moveTo>
                <a:lnTo>
                  <a:pt x="343" y="30"/>
                </a:lnTo>
                <a:lnTo>
                  <a:pt x="351" y="46"/>
                </a:lnTo>
                <a:lnTo>
                  <a:pt x="374" y="70"/>
                </a:lnTo>
                <a:lnTo>
                  <a:pt x="409" y="234"/>
                </a:lnTo>
                <a:lnTo>
                  <a:pt x="343" y="708"/>
                </a:lnTo>
                <a:lnTo>
                  <a:pt x="323" y="739"/>
                </a:lnTo>
                <a:lnTo>
                  <a:pt x="318" y="764"/>
                </a:lnTo>
                <a:lnTo>
                  <a:pt x="286" y="785"/>
                </a:lnTo>
                <a:lnTo>
                  <a:pt x="221" y="756"/>
                </a:lnTo>
                <a:lnTo>
                  <a:pt x="190" y="778"/>
                </a:lnTo>
                <a:lnTo>
                  <a:pt x="161" y="823"/>
                </a:lnTo>
                <a:lnTo>
                  <a:pt x="124" y="848"/>
                </a:lnTo>
                <a:lnTo>
                  <a:pt x="73" y="855"/>
                </a:lnTo>
                <a:lnTo>
                  <a:pt x="5" y="738"/>
                </a:lnTo>
                <a:lnTo>
                  <a:pt x="2" y="694"/>
                </a:lnTo>
                <a:lnTo>
                  <a:pt x="9" y="665"/>
                </a:lnTo>
                <a:lnTo>
                  <a:pt x="0" y="622"/>
                </a:lnTo>
                <a:lnTo>
                  <a:pt x="29" y="520"/>
                </a:lnTo>
                <a:lnTo>
                  <a:pt x="50" y="504"/>
                </a:lnTo>
                <a:lnTo>
                  <a:pt x="58" y="475"/>
                </a:lnTo>
                <a:lnTo>
                  <a:pt x="48" y="457"/>
                </a:lnTo>
                <a:lnTo>
                  <a:pt x="48" y="238"/>
                </a:lnTo>
                <a:lnTo>
                  <a:pt x="38" y="230"/>
                </a:lnTo>
                <a:lnTo>
                  <a:pt x="15" y="227"/>
                </a:lnTo>
                <a:lnTo>
                  <a:pt x="3" y="195"/>
                </a:lnTo>
                <a:lnTo>
                  <a:pt x="19" y="89"/>
                </a:lnTo>
                <a:lnTo>
                  <a:pt x="24" y="82"/>
                </a:lnTo>
                <a:lnTo>
                  <a:pt x="62" y="133"/>
                </a:lnTo>
                <a:lnTo>
                  <a:pt x="112" y="131"/>
                </a:lnTo>
                <a:lnTo>
                  <a:pt x="224" y="49"/>
                </a:lnTo>
                <a:lnTo>
                  <a:pt x="256" y="42"/>
                </a:lnTo>
                <a:lnTo>
                  <a:pt x="289" y="0"/>
                </a:lnTo>
                <a:close/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3" name="Freeform 156">
            <a:extLst>
              <a:ext uri="{FF2B5EF4-FFF2-40B4-BE49-F238E27FC236}">
                <a16:creationId xmlns:a16="http://schemas.microsoft.com/office/drawing/2014/main" id="{2F8AE9DD-263C-4FDD-AEF8-B2C730A908A3}"/>
              </a:ext>
            </a:extLst>
          </p:cNvPr>
          <p:cNvSpPr>
            <a:spLocks/>
          </p:cNvSpPr>
          <p:nvPr/>
        </p:nvSpPr>
        <p:spPr bwMode="auto">
          <a:xfrm rot="21249101">
            <a:off x="8294546" y="5287503"/>
            <a:ext cx="35912" cy="32769"/>
          </a:xfrm>
          <a:custGeom>
            <a:avLst/>
            <a:gdLst>
              <a:gd name="T0" fmla="*/ 2147483647 w 84"/>
              <a:gd name="T1" fmla="*/ 2147483647 h 78"/>
              <a:gd name="T2" fmla="*/ 2147483647 w 84"/>
              <a:gd name="T3" fmla="*/ 2147483647 h 78"/>
              <a:gd name="T4" fmla="*/ 2147483647 w 84"/>
              <a:gd name="T5" fmla="*/ 2147483647 h 78"/>
              <a:gd name="T6" fmla="*/ 2147483647 w 84"/>
              <a:gd name="T7" fmla="*/ 2147483647 h 78"/>
              <a:gd name="T8" fmla="*/ 2147483647 w 84"/>
              <a:gd name="T9" fmla="*/ 0 h 78"/>
              <a:gd name="T10" fmla="*/ 0 w 84"/>
              <a:gd name="T11" fmla="*/ 2147483647 h 78"/>
              <a:gd name="T12" fmla="*/ 2147483647 w 84"/>
              <a:gd name="T13" fmla="*/ 2147483647 h 78"/>
              <a:gd name="T14" fmla="*/ 2147483647 w 84"/>
              <a:gd name="T15" fmla="*/ 2147483647 h 78"/>
              <a:gd name="T16" fmla="*/ 2147483647 w 84"/>
              <a:gd name="T17" fmla="*/ 2147483647 h 7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4"/>
              <a:gd name="T28" fmla="*/ 0 h 78"/>
              <a:gd name="T29" fmla="*/ 84 w 84"/>
              <a:gd name="T30" fmla="*/ 78 h 7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4" h="78">
                <a:moveTo>
                  <a:pt x="58" y="68"/>
                </a:moveTo>
                <a:lnTo>
                  <a:pt x="84" y="54"/>
                </a:lnTo>
                <a:lnTo>
                  <a:pt x="70" y="42"/>
                </a:lnTo>
                <a:lnTo>
                  <a:pt x="66" y="6"/>
                </a:lnTo>
                <a:lnTo>
                  <a:pt x="42" y="0"/>
                </a:lnTo>
                <a:lnTo>
                  <a:pt x="0" y="42"/>
                </a:lnTo>
                <a:lnTo>
                  <a:pt x="5" y="64"/>
                </a:lnTo>
                <a:lnTo>
                  <a:pt x="35" y="78"/>
                </a:lnTo>
                <a:lnTo>
                  <a:pt x="58" y="68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4" name="Freeform 157">
            <a:extLst>
              <a:ext uri="{FF2B5EF4-FFF2-40B4-BE49-F238E27FC236}">
                <a16:creationId xmlns:a16="http://schemas.microsoft.com/office/drawing/2014/main" id="{C5310CFF-F7E4-4ACC-B12C-61037C8132B2}"/>
              </a:ext>
            </a:extLst>
          </p:cNvPr>
          <p:cNvSpPr>
            <a:spLocks/>
          </p:cNvSpPr>
          <p:nvPr/>
        </p:nvSpPr>
        <p:spPr bwMode="auto">
          <a:xfrm rot="21249101">
            <a:off x="8294546" y="5287503"/>
            <a:ext cx="35912" cy="32769"/>
          </a:xfrm>
          <a:custGeom>
            <a:avLst/>
            <a:gdLst>
              <a:gd name="T0" fmla="*/ 2147483647 w 84"/>
              <a:gd name="T1" fmla="*/ 2147483647 h 78"/>
              <a:gd name="T2" fmla="*/ 2147483647 w 84"/>
              <a:gd name="T3" fmla="*/ 2147483647 h 78"/>
              <a:gd name="T4" fmla="*/ 2147483647 w 84"/>
              <a:gd name="T5" fmla="*/ 2147483647 h 78"/>
              <a:gd name="T6" fmla="*/ 2147483647 w 84"/>
              <a:gd name="T7" fmla="*/ 2147483647 h 78"/>
              <a:gd name="T8" fmla="*/ 2147483647 w 84"/>
              <a:gd name="T9" fmla="*/ 0 h 78"/>
              <a:gd name="T10" fmla="*/ 0 w 84"/>
              <a:gd name="T11" fmla="*/ 2147483647 h 78"/>
              <a:gd name="T12" fmla="*/ 2147483647 w 84"/>
              <a:gd name="T13" fmla="*/ 2147483647 h 78"/>
              <a:gd name="T14" fmla="*/ 2147483647 w 84"/>
              <a:gd name="T15" fmla="*/ 2147483647 h 78"/>
              <a:gd name="T16" fmla="*/ 2147483647 w 84"/>
              <a:gd name="T17" fmla="*/ 2147483647 h 7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4"/>
              <a:gd name="T28" fmla="*/ 0 h 78"/>
              <a:gd name="T29" fmla="*/ 84 w 84"/>
              <a:gd name="T30" fmla="*/ 78 h 7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4" h="78">
                <a:moveTo>
                  <a:pt x="58" y="68"/>
                </a:moveTo>
                <a:lnTo>
                  <a:pt x="84" y="54"/>
                </a:lnTo>
                <a:lnTo>
                  <a:pt x="70" y="42"/>
                </a:lnTo>
                <a:lnTo>
                  <a:pt x="66" y="6"/>
                </a:lnTo>
                <a:lnTo>
                  <a:pt x="42" y="0"/>
                </a:lnTo>
                <a:lnTo>
                  <a:pt x="0" y="42"/>
                </a:lnTo>
                <a:lnTo>
                  <a:pt x="5" y="64"/>
                </a:lnTo>
                <a:lnTo>
                  <a:pt x="35" y="78"/>
                </a:lnTo>
                <a:lnTo>
                  <a:pt x="58" y="68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5" name="Freeform 158">
            <a:extLst>
              <a:ext uri="{FF2B5EF4-FFF2-40B4-BE49-F238E27FC236}">
                <a16:creationId xmlns:a16="http://schemas.microsoft.com/office/drawing/2014/main" id="{FC07332B-AA0F-48CF-A8F3-ED3AD87501B5}"/>
              </a:ext>
            </a:extLst>
          </p:cNvPr>
          <p:cNvSpPr>
            <a:spLocks/>
          </p:cNvSpPr>
          <p:nvPr/>
        </p:nvSpPr>
        <p:spPr bwMode="auto">
          <a:xfrm rot="21249101">
            <a:off x="8303524" y="6000240"/>
            <a:ext cx="344753" cy="95032"/>
          </a:xfrm>
          <a:custGeom>
            <a:avLst/>
            <a:gdLst>
              <a:gd name="T0" fmla="*/ 2147483647 w 833"/>
              <a:gd name="T1" fmla="*/ 2147483647 h 243"/>
              <a:gd name="T2" fmla="*/ 2147483647 w 833"/>
              <a:gd name="T3" fmla="*/ 2147483647 h 243"/>
              <a:gd name="T4" fmla="*/ 2147483647 w 833"/>
              <a:gd name="T5" fmla="*/ 2147483647 h 243"/>
              <a:gd name="T6" fmla="*/ 2147483647 w 833"/>
              <a:gd name="T7" fmla="*/ 2147483647 h 243"/>
              <a:gd name="T8" fmla="*/ 2147483647 w 833"/>
              <a:gd name="T9" fmla="*/ 2147483647 h 243"/>
              <a:gd name="T10" fmla="*/ 2147483647 w 833"/>
              <a:gd name="T11" fmla="*/ 2147483647 h 243"/>
              <a:gd name="T12" fmla="*/ 2147483647 w 833"/>
              <a:gd name="T13" fmla="*/ 2147483647 h 243"/>
              <a:gd name="T14" fmla="*/ 2147483647 w 833"/>
              <a:gd name="T15" fmla="*/ 2147483647 h 243"/>
              <a:gd name="T16" fmla="*/ 2147483647 w 833"/>
              <a:gd name="T17" fmla="*/ 2147483647 h 243"/>
              <a:gd name="T18" fmla="*/ 2147483647 w 833"/>
              <a:gd name="T19" fmla="*/ 0 h 243"/>
              <a:gd name="T20" fmla="*/ 2147483647 w 833"/>
              <a:gd name="T21" fmla="*/ 2147483647 h 243"/>
              <a:gd name="T22" fmla="*/ 2147483647 w 833"/>
              <a:gd name="T23" fmla="*/ 2147483647 h 243"/>
              <a:gd name="T24" fmla="*/ 0 w 833"/>
              <a:gd name="T25" fmla="*/ 2147483647 h 243"/>
              <a:gd name="T26" fmla="*/ 2147483647 w 833"/>
              <a:gd name="T27" fmla="*/ 2147483647 h 243"/>
              <a:gd name="T28" fmla="*/ 2147483647 w 833"/>
              <a:gd name="T29" fmla="*/ 2147483647 h 243"/>
              <a:gd name="T30" fmla="*/ 2147483647 w 833"/>
              <a:gd name="T31" fmla="*/ 2147483647 h 243"/>
              <a:gd name="T32" fmla="*/ 2147483647 w 833"/>
              <a:gd name="T33" fmla="*/ 2147483647 h 243"/>
              <a:gd name="T34" fmla="*/ 2147483647 w 833"/>
              <a:gd name="T35" fmla="*/ 2147483647 h 243"/>
              <a:gd name="T36" fmla="*/ 2147483647 w 833"/>
              <a:gd name="T37" fmla="*/ 2147483647 h 243"/>
              <a:gd name="T38" fmla="*/ 2147483647 w 833"/>
              <a:gd name="T39" fmla="*/ 2147483647 h 243"/>
              <a:gd name="T40" fmla="*/ 2147483647 w 833"/>
              <a:gd name="T41" fmla="*/ 2147483647 h 243"/>
              <a:gd name="T42" fmla="*/ 2147483647 w 833"/>
              <a:gd name="T43" fmla="*/ 2147483647 h 243"/>
              <a:gd name="T44" fmla="*/ 2147483647 w 833"/>
              <a:gd name="T45" fmla="*/ 2147483647 h 243"/>
              <a:gd name="T46" fmla="*/ 2147483647 w 833"/>
              <a:gd name="T47" fmla="*/ 2147483647 h 243"/>
              <a:gd name="T48" fmla="*/ 2147483647 w 833"/>
              <a:gd name="T49" fmla="*/ 2147483647 h 243"/>
              <a:gd name="T50" fmla="*/ 2147483647 w 833"/>
              <a:gd name="T51" fmla="*/ 2147483647 h 243"/>
              <a:gd name="T52" fmla="*/ 2147483647 w 833"/>
              <a:gd name="T53" fmla="*/ 2147483647 h 243"/>
              <a:gd name="T54" fmla="*/ 2147483647 w 833"/>
              <a:gd name="T55" fmla="*/ 2147483647 h 243"/>
              <a:gd name="T56" fmla="*/ 2147483647 w 833"/>
              <a:gd name="T57" fmla="*/ 2147483647 h 24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33"/>
              <a:gd name="T88" fmla="*/ 0 h 243"/>
              <a:gd name="T89" fmla="*/ 833 w 833"/>
              <a:gd name="T90" fmla="*/ 243 h 24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33" h="243">
                <a:moveTo>
                  <a:pt x="452" y="66"/>
                </a:moveTo>
                <a:lnTo>
                  <a:pt x="409" y="52"/>
                </a:lnTo>
                <a:lnTo>
                  <a:pt x="245" y="88"/>
                </a:lnTo>
                <a:lnTo>
                  <a:pt x="207" y="60"/>
                </a:lnTo>
                <a:lnTo>
                  <a:pt x="177" y="58"/>
                </a:lnTo>
                <a:lnTo>
                  <a:pt x="189" y="25"/>
                </a:lnTo>
                <a:lnTo>
                  <a:pt x="165" y="1"/>
                </a:lnTo>
                <a:lnTo>
                  <a:pt x="133" y="31"/>
                </a:lnTo>
                <a:lnTo>
                  <a:pt x="73" y="2"/>
                </a:lnTo>
                <a:lnTo>
                  <a:pt x="53" y="0"/>
                </a:lnTo>
                <a:lnTo>
                  <a:pt x="41" y="43"/>
                </a:lnTo>
                <a:lnTo>
                  <a:pt x="11" y="34"/>
                </a:lnTo>
                <a:lnTo>
                  <a:pt x="0" y="155"/>
                </a:lnTo>
                <a:lnTo>
                  <a:pt x="278" y="155"/>
                </a:lnTo>
                <a:lnTo>
                  <a:pt x="310" y="176"/>
                </a:lnTo>
                <a:lnTo>
                  <a:pt x="357" y="190"/>
                </a:lnTo>
                <a:lnTo>
                  <a:pt x="386" y="243"/>
                </a:lnTo>
                <a:lnTo>
                  <a:pt x="731" y="170"/>
                </a:lnTo>
                <a:lnTo>
                  <a:pt x="789" y="192"/>
                </a:lnTo>
                <a:lnTo>
                  <a:pt x="833" y="107"/>
                </a:lnTo>
                <a:lnTo>
                  <a:pt x="821" y="82"/>
                </a:lnTo>
                <a:lnTo>
                  <a:pt x="786" y="104"/>
                </a:lnTo>
                <a:lnTo>
                  <a:pt x="756" y="110"/>
                </a:lnTo>
                <a:lnTo>
                  <a:pt x="718" y="128"/>
                </a:lnTo>
                <a:lnTo>
                  <a:pt x="671" y="117"/>
                </a:lnTo>
                <a:lnTo>
                  <a:pt x="642" y="76"/>
                </a:lnTo>
                <a:lnTo>
                  <a:pt x="490" y="89"/>
                </a:lnTo>
                <a:lnTo>
                  <a:pt x="453" y="82"/>
                </a:lnTo>
                <a:lnTo>
                  <a:pt x="452" y="66"/>
                </a:lnTo>
                <a:close/>
              </a:path>
            </a:pathLst>
          </a:custGeom>
          <a:solidFill>
            <a:srgbClr val="4BB2FF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6" name="Freeform 159">
            <a:extLst>
              <a:ext uri="{FF2B5EF4-FFF2-40B4-BE49-F238E27FC236}">
                <a16:creationId xmlns:a16="http://schemas.microsoft.com/office/drawing/2014/main" id="{5353AACC-2EB6-449D-BB8C-BA80B57526E8}"/>
              </a:ext>
            </a:extLst>
          </p:cNvPr>
          <p:cNvSpPr>
            <a:spLocks/>
          </p:cNvSpPr>
          <p:nvPr/>
        </p:nvSpPr>
        <p:spPr bwMode="auto">
          <a:xfrm rot="21249101">
            <a:off x="8303524" y="6000240"/>
            <a:ext cx="344753" cy="95032"/>
          </a:xfrm>
          <a:custGeom>
            <a:avLst/>
            <a:gdLst>
              <a:gd name="T0" fmla="*/ 2147483647 w 833"/>
              <a:gd name="T1" fmla="*/ 2147483647 h 243"/>
              <a:gd name="T2" fmla="*/ 2147483647 w 833"/>
              <a:gd name="T3" fmla="*/ 2147483647 h 243"/>
              <a:gd name="T4" fmla="*/ 2147483647 w 833"/>
              <a:gd name="T5" fmla="*/ 2147483647 h 243"/>
              <a:gd name="T6" fmla="*/ 2147483647 w 833"/>
              <a:gd name="T7" fmla="*/ 2147483647 h 243"/>
              <a:gd name="T8" fmla="*/ 2147483647 w 833"/>
              <a:gd name="T9" fmla="*/ 2147483647 h 243"/>
              <a:gd name="T10" fmla="*/ 2147483647 w 833"/>
              <a:gd name="T11" fmla="*/ 2147483647 h 243"/>
              <a:gd name="T12" fmla="*/ 2147483647 w 833"/>
              <a:gd name="T13" fmla="*/ 2147483647 h 243"/>
              <a:gd name="T14" fmla="*/ 2147483647 w 833"/>
              <a:gd name="T15" fmla="*/ 2147483647 h 243"/>
              <a:gd name="T16" fmla="*/ 2147483647 w 833"/>
              <a:gd name="T17" fmla="*/ 2147483647 h 243"/>
              <a:gd name="T18" fmla="*/ 2147483647 w 833"/>
              <a:gd name="T19" fmla="*/ 0 h 243"/>
              <a:gd name="T20" fmla="*/ 2147483647 w 833"/>
              <a:gd name="T21" fmla="*/ 2147483647 h 243"/>
              <a:gd name="T22" fmla="*/ 2147483647 w 833"/>
              <a:gd name="T23" fmla="*/ 2147483647 h 243"/>
              <a:gd name="T24" fmla="*/ 0 w 833"/>
              <a:gd name="T25" fmla="*/ 2147483647 h 243"/>
              <a:gd name="T26" fmla="*/ 2147483647 w 833"/>
              <a:gd name="T27" fmla="*/ 2147483647 h 243"/>
              <a:gd name="T28" fmla="*/ 2147483647 w 833"/>
              <a:gd name="T29" fmla="*/ 2147483647 h 243"/>
              <a:gd name="T30" fmla="*/ 2147483647 w 833"/>
              <a:gd name="T31" fmla="*/ 2147483647 h 243"/>
              <a:gd name="T32" fmla="*/ 2147483647 w 833"/>
              <a:gd name="T33" fmla="*/ 2147483647 h 243"/>
              <a:gd name="T34" fmla="*/ 2147483647 w 833"/>
              <a:gd name="T35" fmla="*/ 2147483647 h 243"/>
              <a:gd name="T36" fmla="*/ 2147483647 w 833"/>
              <a:gd name="T37" fmla="*/ 2147483647 h 243"/>
              <a:gd name="T38" fmla="*/ 2147483647 w 833"/>
              <a:gd name="T39" fmla="*/ 2147483647 h 243"/>
              <a:gd name="T40" fmla="*/ 2147483647 w 833"/>
              <a:gd name="T41" fmla="*/ 2147483647 h 243"/>
              <a:gd name="T42" fmla="*/ 2147483647 w 833"/>
              <a:gd name="T43" fmla="*/ 2147483647 h 243"/>
              <a:gd name="T44" fmla="*/ 2147483647 w 833"/>
              <a:gd name="T45" fmla="*/ 2147483647 h 243"/>
              <a:gd name="T46" fmla="*/ 2147483647 w 833"/>
              <a:gd name="T47" fmla="*/ 2147483647 h 243"/>
              <a:gd name="T48" fmla="*/ 2147483647 w 833"/>
              <a:gd name="T49" fmla="*/ 2147483647 h 243"/>
              <a:gd name="T50" fmla="*/ 2147483647 w 833"/>
              <a:gd name="T51" fmla="*/ 2147483647 h 243"/>
              <a:gd name="T52" fmla="*/ 2147483647 w 833"/>
              <a:gd name="T53" fmla="*/ 2147483647 h 243"/>
              <a:gd name="T54" fmla="*/ 2147483647 w 833"/>
              <a:gd name="T55" fmla="*/ 2147483647 h 243"/>
              <a:gd name="T56" fmla="*/ 2147483647 w 833"/>
              <a:gd name="T57" fmla="*/ 2147483647 h 24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33"/>
              <a:gd name="T88" fmla="*/ 0 h 243"/>
              <a:gd name="T89" fmla="*/ 833 w 833"/>
              <a:gd name="T90" fmla="*/ 243 h 24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33" h="243">
                <a:moveTo>
                  <a:pt x="452" y="66"/>
                </a:moveTo>
                <a:lnTo>
                  <a:pt x="409" y="52"/>
                </a:lnTo>
                <a:lnTo>
                  <a:pt x="245" y="88"/>
                </a:lnTo>
                <a:lnTo>
                  <a:pt x="207" y="60"/>
                </a:lnTo>
                <a:lnTo>
                  <a:pt x="177" y="58"/>
                </a:lnTo>
                <a:lnTo>
                  <a:pt x="189" y="25"/>
                </a:lnTo>
                <a:lnTo>
                  <a:pt x="165" y="1"/>
                </a:lnTo>
                <a:lnTo>
                  <a:pt x="133" y="31"/>
                </a:lnTo>
                <a:lnTo>
                  <a:pt x="73" y="2"/>
                </a:lnTo>
                <a:lnTo>
                  <a:pt x="53" y="0"/>
                </a:lnTo>
                <a:lnTo>
                  <a:pt x="41" y="43"/>
                </a:lnTo>
                <a:lnTo>
                  <a:pt x="11" y="34"/>
                </a:lnTo>
                <a:lnTo>
                  <a:pt x="0" y="155"/>
                </a:lnTo>
                <a:lnTo>
                  <a:pt x="278" y="155"/>
                </a:lnTo>
                <a:lnTo>
                  <a:pt x="310" y="176"/>
                </a:lnTo>
                <a:lnTo>
                  <a:pt x="357" y="190"/>
                </a:lnTo>
                <a:lnTo>
                  <a:pt x="386" y="243"/>
                </a:lnTo>
                <a:lnTo>
                  <a:pt x="731" y="170"/>
                </a:lnTo>
                <a:lnTo>
                  <a:pt x="789" y="192"/>
                </a:lnTo>
                <a:lnTo>
                  <a:pt x="833" y="107"/>
                </a:lnTo>
                <a:lnTo>
                  <a:pt x="821" y="82"/>
                </a:lnTo>
                <a:lnTo>
                  <a:pt x="786" y="104"/>
                </a:lnTo>
                <a:lnTo>
                  <a:pt x="756" y="110"/>
                </a:lnTo>
                <a:lnTo>
                  <a:pt x="718" y="128"/>
                </a:lnTo>
                <a:lnTo>
                  <a:pt x="671" y="117"/>
                </a:lnTo>
                <a:lnTo>
                  <a:pt x="642" y="76"/>
                </a:lnTo>
                <a:lnTo>
                  <a:pt x="490" y="89"/>
                </a:lnTo>
                <a:lnTo>
                  <a:pt x="453" y="82"/>
                </a:lnTo>
                <a:lnTo>
                  <a:pt x="452" y="66"/>
                </a:lnTo>
              </a:path>
            </a:pathLst>
          </a:custGeom>
          <a:solidFill>
            <a:srgbClr val="4BB2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7" name="Freeform 160">
            <a:extLst>
              <a:ext uri="{FF2B5EF4-FFF2-40B4-BE49-F238E27FC236}">
                <a16:creationId xmlns:a16="http://schemas.microsoft.com/office/drawing/2014/main" id="{F7015599-7D58-4542-BA0B-C978266115D1}"/>
              </a:ext>
            </a:extLst>
          </p:cNvPr>
          <p:cNvSpPr>
            <a:spLocks/>
          </p:cNvSpPr>
          <p:nvPr/>
        </p:nvSpPr>
        <p:spPr bwMode="auto">
          <a:xfrm rot="21249101">
            <a:off x="7965954" y="5669268"/>
            <a:ext cx="281906" cy="262156"/>
          </a:xfrm>
          <a:custGeom>
            <a:avLst/>
            <a:gdLst>
              <a:gd name="T0" fmla="*/ 2147483647 w 681"/>
              <a:gd name="T1" fmla="*/ 0 h 683"/>
              <a:gd name="T2" fmla="*/ 2147483647 w 681"/>
              <a:gd name="T3" fmla="*/ 2147483647 h 683"/>
              <a:gd name="T4" fmla="*/ 2147483647 w 681"/>
              <a:gd name="T5" fmla="*/ 2147483647 h 683"/>
              <a:gd name="T6" fmla="*/ 2147483647 w 681"/>
              <a:gd name="T7" fmla="*/ 2147483647 h 683"/>
              <a:gd name="T8" fmla="*/ 2147483647 w 681"/>
              <a:gd name="T9" fmla="*/ 2147483647 h 683"/>
              <a:gd name="T10" fmla="*/ 0 w 681"/>
              <a:gd name="T11" fmla="*/ 2147483647 h 683"/>
              <a:gd name="T12" fmla="*/ 2147483647 w 681"/>
              <a:gd name="T13" fmla="*/ 2147483647 h 683"/>
              <a:gd name="T14" fmla="*/ 2147483647 w 681"/>
              <a:gd name="T15" fmla="*/ 2147483647 h 683"/>
              <a:gd name="T16" fmla="*/ 2147483647 w 681"/>
              <a:gd name="T17" fmla="*/ 2147483647 h 683"/>
              <a:gd name="T18" fmla="*/ 2147483647 w 681"/>
              <a:gd name="T19" fmla="*/ 2147483647 h 683"/>
              <a:gd name="T20" fmla="*/ 2147483647 w 681"/>
              <a:gd name="T21" fmla="*/ 2147483647 h 683"/>
              <a:gd name="T22" fmla="*/ 2147483647 w 681"/>
              <a:gd name="T23" fmla="*/ 2147483647 h 683"/>
              <a:gd name="T24" fmla="*/ 2147483647 w 681"/>
              <a:gd name="T25" fmla="*/ 2147483647 h 683"/>
              <a:gd name="T26" fmla="*/ 2147483647 w 681"/>
              <a:gd name="T27" fmla="*/ 2147483647 h 683"/>
              <a:gd name="T28" fmla="*/ 2147483647 w 681"/>
              <a:gd name="T29" fmla="*/ 2147483647 h 683"/>
              <a:gd name="T30" fmla="*/ 2147483647 w 681"/>
              <a:gd name="T31" fmla="*/ 2147483647 h 683"/>
              <a:gd name="T32" fmla="*/ 2147483647 w 681"/>
              <a:gd name="T33" fmla="*/ 2147483647 h 683"/>
              <a:gd name="T34" fmla="*/ 2147483647 w 681"/>
              <a:gd name="T35" fmla="*/ 2147483647 h 683"/>
              <a:gd name="T36" fmla="*/ 2147483647 w 681"/>
              <a:gd name="T37" fmla="*/ 2147483647 h 683"/>
              <a:gd name="T38" fmla="*/ 2147483647 w 681"/>
              <a:gd name="T39" fmla="*/ 2147483647 h 683"/>
              <a:gd name="T40" fmla="*/ 2147483647 w 681"/>
              <a:gd name="T41" fmla="*/ 2147483647 h 683"/>
              <a:gd name="T42" fmla="*/ 2147483647 w 681"/>
              <a:gd name="T43" fmla="*/ 2147483647 h 683"/>
              <a:gd name="T44" fmla="*/ 2147483647 w 681"/>
              <a:gd name="T45" fmla="*/ 2147483647 h 683"/>
              <a:gd name="T46" fmla="*/ 2147483647 w 681"/>
              <a:gd name="T47" fmla="*/ 2147483647 h 683"/>
              <a:gd name="T48" fmla="*/ 2147483647 w 681"/>
              <a:gd name="T49" fmla="*/ 2147483647 h 683"/>
              <a:gd name="T50" fmla="*/ 2147483647 w 681"/>
              <a:gd name="T51" fmla="*/ 2147483647 h 683"/>
              <a:gd name="T52" fmla="*/ 2147483647 w 681"/>
              <a:gd name="T53" fmla="*/ 2147483647 h 683"/>
              <a:gd name="T54" fmla="*/ 2147483647 w 681"/>
              <a:gd name="T55" fmla="*/ 2147483647 h 683"/>
              <a:gd name="T56" fmla="*/ 2147483647 w 681"/>
              <a:gd name="T57" fmla="*/ 2147483647 h 683"/>
              <a:gd name="T58" fmla="*/ 2147483647 w 681"/>
              <a:gd name="T59" fmla="*/ 2147483647 h 683"/>
              <a:gd name="T60" fmla="*/ 2147483647 w 681"/>
              <a:gd name="T61" fmla="*/ 2147483647 h 683"/>
              <a:gd name="T62" fmla="*/ 2147483647 w 681"/>
              <a:gd name="T63" fmla="*/ 2147483647 h 683"/>
              <a:gd name="T64" fmla="*/ 2147483647 w 681"/>
              <a:gd name="T65" fmla="*/ 2147483647 h 683"/>
              <a:gd name="T66" fmla="*/ 2147483647 w 681"/>
              <a:gd name="T67" fmla="*/ 2147483647 h 683"/>
              <a:gd name="T68" fmla="*/ 2147483647 w 681"/>
              <a:gd name="T69" fmla="*/ 2147483647 h 683"/>
              <a:gd name="T70" fmla="*/ 2147483647 w 681"/>
              <a:gd name="T71" fmla="*/ 2147483647 h 683"/>
              <a:gd name="T72" fmla="*/ 2147483647 w 681"/>
              <a:gd name="T73" fmla="*/ 2147483647 h 683"/>
              <a:gd name="T74" fmla="*/ 2147483647 w 681"/>
              <a:gd name="T75" fmla="*/ 0 h 68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81"/>
              <a:gd name="T115" fmla="*/ 0 h 683"/>
              <a:gd name="T116" fmla="*/ 681 w 681"/>
              <a:gd name="T117" fmla="*/ 683 h 68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81" h="683">
                <a:moveTo>
                  <a:pt x="256" y="0"/>
                </a:moveTo>
                <a:lnTo>
                  <a:pt x="187" y="11"/>
                </a:lnTo>
                <a:lnTo>
                  <a:pt x="112" y="62"/>
                </a:lnTo>
                <a:lnTo>
                  <a:pt x="70" y="48"/>
                </a:lnTo>
                <a:lnTo>
                  <a:pt x="12" y="147"/>
                </a:lnTo>
                <a:lnTo>
                  <a:pt x="0" y="194"/>
                </a:lnTo>
                <a:lnTo>
                  <a:pt x="36" y="264"/>
                </a:lnTo>
                <a:lnTo>
                  <a:pt x="116" y="300"/>
                </a:lnTo>
                <a:lnTo>
                  <a:pt x="156" y="366"/>
                </a:lnTo>
                <a:lnTo>
                  <a:pt x="132" y="452"/>
                </a:lnTo>
                <a:lnTo>
                  <a:pt x="147" y="522"/>
                </a:lnTo>
                <a:lnTo>
                  <a:pt x="176" y="553"/>
                </a:lnTo>
                <a:lnTo>
                  <a:pt x="219" y="569"/>
                </a:lnTo>
                <a:lnTo>
                  <a:pt x="231" y="511"/>
                </a:lnTo>
                <a:lnTo>
                  <a:pt x="265" y="466"/>
                </a:lnTo>
                <a:lnTo>
                  <a:pt x="288" y="503"/>
                </a:lnTo>
                <a:lnTo>
                  <a:pt x="331" y="537"/>
                </a:lnTo>
                <a:lnTo>
                  <a:pt x="367" y="681"/>
                </a:lnTo>
                <a:lnTo>
                  <a:pt x="394" y="683"/>
                </a:lnTo>
                <a:lnTo>
                  <a:pt x="413" y="575"/>
                </a:lnTo>
                <a:lnTo>
                  <a:pt x="461" y="552"/>
                </a:lnTo>
                <a:lnTo>
                  <a:pt x="495" y="605"/>
                </a:lnTo>
                <a:lnTo>
                  <a:pt x="586" y="666"/>
                </a:lnTo>
                <a:lnTo>
                  <a:pt x="527" y="393"/>
                </a:lnTo>
                <a:lnTo>
                  <a:pt x="487" y="337"/>
                </a:lnTo>
                <a:lnTo>
                  <a:pt x="468" y="274"/>
                </a:lnTo>
                <a:lnTo>
                  <a:pt x="566" y="332"/>
                </a:lnTo>
                <a:lnTo>
                  <a:pt x="577" y="363"/>
                </a:lnTo>
                <a:lnTo>
                  <a:pt x="603" y="355"/>
                </a:lnTo>
                <a:lnTo>
                  <a:pt x="637" y="322"/>
                </a:lnTo>
                <a:lnTo>
                  <a:pt x="681" y="315"/>
                </a:lnTo>
                <a:lnTo>
                  <a:pt x="671" y="276"/>
                </a:lnTo>
                <a:lnTo>
                  <a:pt x="605" y="237"/>
                </a:lnTo>
                <a:lnTo>
                  <a:pt x="563" y="160"/>
                </a:lnTo>
                <a:lnTo>
                  <a:pt x="565" y="120"/>
                </a:lnTo>
                <a:lnTo>
                  <a:pt x="321" y="39"/>
                </a:lnTo>
                <a:lnTo>
                  <a:pt x="293" y="40"/>
                </a:lnTo>
                <a:lnTo>
                  <a:pt x="256" y="0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8" name="Freeform 161">
            <a:extLst>
              <a:ext uri="{FF2B5EF4-FFF2-40B4-BE49-F238E27FC236}">
                <a16:creationId xmlns:a16="http://schemas.microsoft.com/office/drawing/2014/main" id="{81C0E98A-7546-45C1-BA24-39ABEFBA8170}"/>
              </a:ext>
            </a:extLst>
          </p:cNvPr>
          <p:cNvSpPr>
            <a:spLocks/>
          </p:cNvSpPr>
          <p:nvPr/>
        </p:nvSpPr>
        <p:spPr bwMode="auto">
          <a:xfrm rot="21249101">
            <a:off x="7965954" y="5669268"/>
            <a:ext cx="281906" cy="262156"/>
          </a:xfrm>
          <a:custGeom>
            <a:avLst/>
            <a:gdLst>
              <a:gd name="T0" fmla="*/ 2147483647 w 681"/>
              <a:gd name="T1" fmla="*/ 0 h 683"/>
              <a:gd name="T2" fmla="*/ 2147483647 w 681"/>
              <a:gd name="T3" fmla="*/ 2147483647 h 683"/>
              <a:gd name="T4" fmla="*/ 2147483647 w 681"/>
              <a:gd name="T5" fmla="*/ 2147483647 h 683"/>
              <a:gd name="T6" fmla="*/ 2147483647 w 681"/>
              <a:gd name="T7" fmla="*/ 2147483647 h 683"/>
              <a:gd name="T8" fmla="*/ 2147483647 w 681"/>
              <a:gd name="T9" fmla="*/ 2147483647 h 683"/>
              <a:gd name="T10" fmla="*/ 0 w 681"/>
              <a:gd name="T11" fmla="*/ 2147483647 h 683"/>
              <a:gd name="T12" fmla="*/ 2147483647 w 681"/>
              <a:gd name="T13" fmla="*/ 2147483647 h 683"/>
              <a:gd name="T14" fmla="*/ 2147483647 w 681"/>
              <a:gd name="T15" fmla="*/ 2147483647 h 683"/>
              <a:gd name="T16" fmla="*/ 2147483647 w 681"/>
              <a:gd name="T17" fmla="*/ 2147483647 h 683"/>
              <a:gd name="T18" fmla="*/ 2147483647 w 681"/>
              <a:gd name="T19" fmla="*/ 2147483647 h 683"/>
              <a:gd name="T20" fmla="*/ 2147483647 w 681"/>
              <a:gd name="T21" fmla="*/ 2147483647 h 683"/>
              <a:gd name="T22" fmla="*/ 2147483647 w 681"/>
              <a:gd name="T23" fmla="*/ 2147483647 h 683"/>
              <a:gd name="T24" fmla="*/ 2147483647 w 681"/>
              <a:gd name="T25" fmla="*/ 2147483647 h 683"/>
              <a:gd name="T26" fmla="*/ 2147483647 w 681"/>
              <a:gd name="T27" fmla="*/ 2147483647 h 683"/>
              <a:gd name="T28" fmla="*/ 2147483647 w 681"/>
              <a:gd name="T29" fmla="*/ 2147483647 h 683"/>
              <a:gd name="T30" fmla="*/ 2147483647 w 681"/>
              <a:gd name="T31" fmla="*/ 2147483647 h 683"/>
              <a:gd name="T32" fmla="*/ 2147483647 w 681"/>
              <a:gd name="T33" fmla="*/ 2147483647 h 683"/>
              <a:gd name="T34" fmla="*/ 2147483647 w 681"/>
              <a:gd name="T35" fmla="*/ 2147483647 h 683"/>
              <a:gd name="T36" fmla="*/ 2147483647 w 681"/>
              <a:gd name="T37" fmla="*/ 2147483647 h 683"/>
              <a:gd name="T38" fmla="*/ 2147483647 w 681"/>
              <a:gd name="T39" fmla="*/ 2147483647 h 683"/>
              <a:gd name="T40" fmla="*/ 2147483647 w 681"/>
              <a:gd name="T41" fmla="*/ 2147483647 h 683"/>
              <a:gd name="T42" fmla="*/ 2147483647 w 681"/>
              <a:gd name="T43" fmla="*/ 2147483647 h 683"/>
              <a:gd name="T44" fmla="*/ 2147483647 w 681"/>
              <a:gd name="T45" fmla="*/ 2147483647 h 683"/>
              <a:gd name="T46" fmla="*/ 2147483647 w 681"/>
              <a:gd name="T47" fmla="*/ 2147483647 h 683"/>
              <a:gd name="T48" fmla="*/ 2147483647 w 681"/>
              <a:gd name="T49" fmla="*/ 2147483647 h 683"/>
              <a:gd name="T50" fmla="*/ 2147483647 w 681"/>
              <a:gd name="T51" fmla="*/ 2147483647 h 683"/>
              <a:gd name="T52" fmla="*/ 2147483647 w 681"/>
              <a:gd name="T53" fmla="*/ 2147483647 h 683"/>
              <a:gd name="T54" fmla="*/ 2147483647 w 681"/>
              <a:gd name="T55" fmla="*/ 2147483647 h 683"/>
              <a:gd name="T56" fmla="*/ 2147483647 w 681"/>
              <a:gd name="T57" fmla="*/ 2147483647 h 683"/>
              <a:gd name="T58" fmla="*/ 2147483647 w 681"/>
              <a:gd name="T59" fmla="*/ 2147483647 h 683"/>
              <a:gd name="T60" fmla="*/ 2147483647 w 681"/>
              <a:gd name="T61" fmla="*/ 2147483647 h 683"/>
              <a:gd name="T62" fmla="*/ 2147483647 w 681"/>
              <a:gd name="T63" fmla="*/ 2147483647 h 683"/>
              <a:gd name="T64" fmla="*/ 2147483647 w 681"/>
              <a:gd name="T65" fmla="*/ 2147483647 h 683"/>
              <a:gd name="T66" fmla="*/ 2147483647 w 681"/>
              <a:gd name="T67" fmla="*/ 2147483647 h 683"/>
              <a:gd name="T68" fmla="*/ 2147483647 w 681"/>
              <a:gd name="T69" fmla="*/ 2147483647 h 683"/>
              <a:gd name="T70" fmla="*/ 2147483647 w 681"/>
              <a:gd name="T71" fmla="*/ 2147483647 h 683"/>
              <a:gd name="T72" fmla="*/ 2147483647 w 681"/>
              <a:gd name="T73" fmla="*/ 2147483647 h 683"/>
              <a:gd name="T74" fmla="*/ 2147483647 w 681"/>
              <a:gd name="T75" fmla="*/ 0 h 68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81"/>
              <a:gd name="T115" fmla="*/ 0 h 683"/>
              <a:gd name="T116" fmla="*/ 681 w 681"/>
              <a:gd name="T117" fmla="*/ 683 h 68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81" h="683">
                <a:moveTo>
                  <a:pt x="256" y="0"/>
                </a:moveTo>
                <a:lnTo>
                  <a:pt x="187" y="11"/>
                </a:lnTo>
                <a:lnTo>
                  <a:pt x="112" y="62"/>
                </a:lnTo>
                <a:lnTo>
                  <a:pt x="70" y="48"/>
                </a:lnTo>
                <a:lnTo>
                  <a:pt x="12" y="147"/>
                </a:lnTo>
                <a:lnTo>
                  <a:pt x="0" y="194"/>
                </a:lnTo>
                <a:lnTo>
                  <a:pt x="36" y="264"/>
                </a:lnTo>
                <a:lnTo>
                  <a:pt x="116" y="300"/>
                </a:lnTo>
                <a:lnTo>
                  <a:pt x="156" y="366"/>
                </a:lnTo>
                <a:lnTo>
                  <a:pt x="132" y="452"/>
                </a:lnTo>
                <a:lnTo>
                  <a:pt x="147" y="522"/>
                </a:lnTo>
                <a:lnTo>
                  <a:pt x="176" y="553"/>
                </a:lnTo>
                <a:lnTo>
                  <a:pt x="219" y="569"/>
                </a:lnTo>
                <a:lnTo>
                  <a:pt x="231" y="511"/>
                </a:lnTo>
                <a:lnTo>
                  <a:pt x="265" y="466"/>
                </a:lnTo>
                <a:lnTo>
                  <a:pt x="288" y="503"/>
                </a:lnTo>
                <a:lnTo>
                  <a:pt x="331" y="537"/>
                </a:lnTo>
                <a:lnTo>
                  <a:pt x="367" y="681"/>
                </a:lnTo>
                <a:lnTo>
                  <a:pt x="394" y="683"/>
                </a:lnTo>
                <a:lnTo>
                  <a:pt x="413" y="575"/>
                </a:lnTo>
                <a:lnTo>
                  <a:pt x="461" y="552"/>
                </a:lnTo>
                <a:lnTo>
                  <a:pt x="495" y="605"/>
                </a:lnTo>
                <a:lnTo>
                  <a:pt x="586" y="666"/>
                </a:lnTo>
                <a:lnTo>
                  <a:pt x="527" y="393"/>
                </a:lnTo>
                <a:lnTo>
                  <a:pt x="487" y="337"/>
                </a:lnTo>
                <a:lnTo>
                  <a:pt x="468" y="274"/>
                </a:lnTo>
                <a:lnTo>
                  <a:pt x="566" y="332"/>
                </a:lnTo>
                <a:lnTo>
                  <a:pt x="577" y="363"/>
                </a:lnTo>
                <a:lnTo>
                  <a:pt x="603" y="355"/>
                </a:lnTo>
                <a:lnTo>
                  <a:pt x="637" y="322"/>
                </a:lnTo>
                <a:lnTo>
                  <a:pt x="681" y="315"/>
                </a:lnTo>
                <a:lnTo>
                  <a:pt x="671" y="276"/>
                </a:lnTo>
                <a:lnTo>
                  <a:pt x="605" y="237"/>
                </a:lnTo>
                <a:lnTo>
                  <a:pt x="563" y="160"/>
                </a:lnTo>
                <a:lnTo>
                  <a:pt x="565" y="120"/>
                </a:lnTo>
                <a:lnTo>
                  <a:pt x="321" y="39"/>
                </a:lnTo>
                <a:lnTo>
                  <a:pt x="293" y="40"/>
                </a:lnTo>
                <a:lnTo>
                  <a:pt x="256" y="0"/>
                </a:lnTo>
              </a:path>
            </a:pathLst>
          </a:custGeom>
          <a:solidFill>
            <a:srgbClr val="4BB2FF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9" name="Freeform 162">
            <a:extLst>
              <a:ext uri="{FF2B5EF4-FFF2-40B4-BE49-F238E27FC236}">
                <a16:creationId xmlns:a16="http://schemas.microsoft.com/office/drawing/2014/main" id="{CB680774-0FF0-43C0-A65C-8D996A725B42}"/>
              </a:ext>
            </a:extLst>
          </p:cNvPr>
          <p:cNvSpPr>
            <a:spLocks/>
          </p:cNvSpPr>
          <p:nvPr/>
        </p:nvSpPr>
        <p:spPr bwMode="auto">
          <a:xfrm rot="21249101">
            <a:off x="7856423" y="5675822"/>
            <a:ext cx="52072" cy="49154"/>
          </a:xfrm>
          <a:custGeom>
            <a:avLst/>
            <a:gdLst>
              <a:gd name="T0" fmla="*/ 2147483647 w 120"/>
              <a:gd name="T1" fmla="*/ 2147483647 h 122"/>
              <a:gd name="T2" fmla="*/ 2147483647 w 120"/>
              <a:gd name="T3" fmla="*/ 2147483647 h 122"/>
              <a:gd name="T4" fmla="*/ 2147483647 w 120"/>
              <a:gd name="T5" fmla="*/ 2147483647 h 122"/>
              <a:gd name="T6" fmla="*/ 2147483647 w 120"/>
              <a:gd name="T7" fmla="*/ 0 h 122"/>
              <a:gd name="T8" fmla="*/ 2147483647 w 120"/>
              <a:gd name="T9" fmla="*/ 2147483647 h 122"/>
              <a:gd name="T10" fmla="*/ 0 w 120"/>
              <a:gd name="T11" fmla="*/ 2147483647 h 122"/>
              <a:gd name="T12" fmla="*/ 2147483647 w 120"/>
              <a:gd name="T13" fmla="*/ 2147483647 h 122"/>
              <a:gd name="T14" fmla="*/ 2147483647 w 120"/>
              <a:gd name="T15" fmla="*/ 2147483647 h 122"/>
              <a:gd name="T16" fmla="*/ 2147483647 w 120"/>
              <a:gd name="T17" fmla="*/ 2147483647 h 12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0"/>
              <a:gd name="T28" fmla="*/ 0 h 122"/>
              <a:gd name="T29" fmla="*/ 120 w 120"/>
              <a:gd name="T30" fmla="*/ 122 h 12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0" h="122">
                <a:moveTo>
                  <a:pt x="108" y="122"/>
                </a:moveTo>
                <a:lnTo>
                  <a:pt x="120" y="79"/>
                </a:lnTo>
                <a:lnTo>
                  <a:pt x="82" y="51"/>
                </a:lnTo>
                <a:lnTo>
                  <a:pt x="69" y="0"/>
                </a:lnTo>
                <a:lnTo>
                  <a:pt x="41" y="17"/>
                </a:lnTo>
                <a:lnTo>
                  <a:pt x="0" y="58"/>
                </a:lnTo>
                <a:lnTo>
                  <a:pt x="42" y="101"/>
                </a:lnTo>
                <a:lnTo>
                  <a:pt x="80" y="106"/>
                </a:lnTo>
                <a:lnTo>
                  <a:pt x="108" y="122"/>
                </a:lnTo>
                <a:close/>
              </a:path>
            </a:pathLst>
          </a:custGeom>
          <a:solidFill>
            <a:srgbClr val="4BB2FF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0" name="Freeform 163">
            <a:extLst>
              <a:ext uri="{FF2B5EF4-FFF2-40B4-BE49-F238E27FC236}">
                <a16:creationId xmlns:a16="http://schemas.microsoft.com/office/drawing/2014/main" id="{71E5F82A-AB78-4338-84FC-8F02EF622E20}"/>
              </a:ext>
            </a:extLst>
          </p:cNvPr>
          <p:cNvSpPr>
            <a:spLocks/>
          </p:cNvSpPr>
          <p:nvPr/>
        </p:nvSpPr>
        <p:spPr bwMode="auto">
          <a:xfrm rot="21249101">
            <a:off x="7856423" y="5675822"/>
            <a:ext cx="52072" cy="49154"/>
          </a:xfrm>
          <a:custGeom>
            <a:avLst/>
            <a:gdLst>
              <a:gd name="T0" fmla="*/ 2147483647 w 120"/>
              <a:gd name="T1" fmla="*/ 2147483647 h 122"/>
              <a:gd name="T2" fmla="*/ 2147483647 w 120"/>
              <a:gd name="T3" fmla="*/ 2147483647 h 122"/>
              <a:gd name="T4" fmla="*/ 2147483647 w 120"/>
              <a:gd name="T5" fmla="*/ 2147483647 h 122"/>
              <a:gd name="T6" fmla="*/ 2147483647 w 120"/>
              <a:gd name="T7" fmla="*/ 0 h 122"/>
              <a:gd name="T8" fmla="*/ 2147483647 w 120"/>
              <a:gd name="T9" fmla="*/ 2147483647 h 122"/>
              <a:gd name="T10" fmla="*/ 0 w 120"/>
              <a:gd name="T11" fmla="*/ 2147483647 h 122"/>
              <a:gd name="T12" fmla="*/ 2147483647 w 120"/>
              <a:gd name="T13" fmla="*/ 2147483647 h 122"/>
              <a:gd name="T14" fmla="*/ 2147483647 w 120"/>
              <a:gd name="T15" fmla="*/ 2147483647 h 122"/>
              <a:gd name="T16" fmla="*/ 2147483647 w 120"/>
              <a:gd name="T17" fmla="*/ 2147483647 h 12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0"/>
              <a:gd name="T28" fmla="*/ 0 h 122"/>
              <a:gd name="T29" fmla="*/ 120 w 120"/>
              <a:gd name="T30" fmla="*/ 122 h 12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0" h="122">
                <a:moveTo>
                  <a:pt x="108" y="122"/>
                </a:moveTo>
                <a:lnTo>
                  <a:pt x="120" y="79"/>
                </a:lnTo>
                <a:lnTo>
                  <a:pt x="82" y="51"/>
                </a:lnTo>
                <a:lnTo>
                  <a:pt x="69" y="0"/>
                </a:lnTo>
                <a:lnTo>
                  <a:pt x="41" y="17"/>
                </a:lnTo>
                <a:lnTo>
                  <a:pt x="0" y="58"/>
                </a:lnTo>
                <a:lnTo>
                  <a:pt x="42" y="101"/>
                </a:lnTo>
                <a:lnTo>
                  <a:pt x="80" y="106"/>
                </a:lnTo>
                <a:lnTo>
                  <a:pt x="108" y="122"/>
                </a:lnTo>
              </a:path>
            </a:pathLst>
          </a:custGeom>
          <a:solidFill>
            <a:srgbClr val="4BB2FF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1" name="Freeform 164">
            <a:extLst>
              <a:ext uri="{FF2B5EF4-FFF2-40B4-BE49-F238E27FC236}">
                <a16:creationId xmlns:a16="http://schemas.microsoft.com/office/drawing/2014/main" id="{4F876459-CDEB-45EF-8F2C-66EB1FBEC844}"/>
              </a:ext>
            </a:extLst>
          </p:cNvPr>
          <p:cNvSpPr>
            <a:spLocks/>
          </p:cNvSpPr>
          <p:nvPr/>
        </p:nvSpPr>
        <p:spPr bwMode="auto">
          <a:xfrm rot="21249101">
            <a:off x="8159877" y="5549659"/>
            <a:ext cx="206492" cy="142547"/>
          </a:xfrm>
          <a:custGeom>
            <a:avLst/>
            <a:gdLst>
              <a:gd name="T0" fmla="*/ 2147483647 w 487"/>
              <a:gd name="T1" fmla="*/ 2147483647 h 373"/>
              <a:gd name="T2" fmla="*/ 2147483647 w 487"/>
              <a:gd name="T3" fmla="*/ 2147483647 h 373"/>
              <a:gd name="T4" fmla="*/ 2147483647 w 487"/>
              <a:gd name="T5" fmla="*/ 2147483647 h 373"/>
              <a:gd name="T6" fmla="*/ 2147483647 w 487"/>
              <a:gd name="T7" fmla="*/ 2147483647 h 373"/>
              <a:gd name="T8" fmla="*/ 2147483647 w 487"/>
              <a:gd name="T9" fmla="*/ 2147483647 h 373"/>
              <a:gd name="T10" fmla="*/ 2147483647 w 487"/>
              <a:gd name="T11" fmla="*/ 2147483647 h 373"/>
              <a:gd name="T12" fmla="*/ 2147483647 w 487"/>
              <a:gd name="T13" fmla="*/ 2147483647 h 373"/>
              <a:gd name="T14" fmla="*/ 2147483647 w 487"/>
              <a:gd name="T15" fmla="*/ 2147483647 h 373"/>
              <a:gd name="T16" fmla="*/ 2147483647 w 487"/>
              <a:gd name="T17" fmla="*/ 2147483647 h 373"/>
              <a:gd name="T18" fmla="*/ 2147483647 w 487"/>
              <a:gd name="T19" fmla="*/ 0 h 373"/>
              <a:gd name="T20" fmla="*/ 2147483647 w 487"/>
              <a:gd name="T21" fmla="*/ 2147483647 h 373"/>
              <a:gd name="T22" fmla="*/ 0 w 487"/>
              <a:gd name="T23" fmla="*/ 2147483647 h 373"/>
              <a:gd name="T24" fmla="*/ 2147483647 w 487"/>
              <a:gd name="T25" fmla="*/ 2147483647 h 373"/>
              <a:gd name="T26" fmla="*/ 2147483647 w 487"/>
              <a:gd name="T27" fmla="*/ 2147483647 h 373"/>
              <a:gd name="T28" fmla="*/ 2147483647 w 487"/>
              <a:gd name="T29" fmla="*/ 2147483647 h 373"/>
              <a:gd name="T30" fmla="*/ 2147483647 w 487"/>
              <a:gd name="T31" fmla="*/ 2147483647 h 373"/>
              <a:gd name="T32" fmla="*/ 2147483647 w 487"/>
              <a:gd name="T33" fmla="*/ 2147483647 h 373"/>
              <a:gd name="T34" fmla="*/ 2147483647 w 487"/>
              <a:gd name="T35" fmla="*/ 2147483647 h 373"/>
              <a:gd name="T36" fmla="*/ 2147483647 w 487"/>
              <a:gd name="T37" fmla="*/ 2147483647 h 373"/>
              <a:gd name="T38" fmla="*/ 2147483647 w 487"/>
              <a:gd name="T39" fmla="*/ 2147483647 h 373"/>
              <a:gd name="T40" fmla="*/ 2147483647 w 487"/>
              <a:gd name="T41" fmla="*/ 2147483647 h 373"/>
              <a:gd name="T42" fmla="*/ 2147483647 w 487"/>
              <a:gd name="T43" fmla="*/ 2147483647 h 373"/>
              <a:gd name="T44" fmla="*/ 2147483647 w 487"/>
              <a:gd name="T45" fmla="*/ 2147483647 h 37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87"/>
              <a:gd name="T70" fmla="*/ 0 h 373"/>
              <a:gd name="T71" fmla="*/ 487 w 487"/>
              <a:gd name="T72" fmla="*/ 373 h 373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87" h="373">
                <a:moveTo>
                  <a:pt x="474" y="325"/>
                </a:moveTo>
                <a:lnTo>
                  <a:pt x="487" y="341"/>
                </a:lnTo>
                <a:lnTo>
                  <a:pt x="482" y="297"/>
                </a:lnTo>
                <a:lnTo>
                  <a:pt x="399" y="277"/>
                </a:lnTo>
                <a:lnTo>
                  <a:pt x="362" y="202"/>
                </a:lnTo>
                <a:lnTo>
                  <a:pt x="360" y="159"/>
                </a:lnTo>
                <a:lnTo>
                  <a:pt x="330" y="130"/>
                </a:lnTo>
                <a:lnTo>
                  <a:pt x="197" y="95"/>
                </a:lnTo>
                <a:lnTo>
                  <a:pt x="112" y="21"/>
                </a:lnTo>
                <a:lnTo>
                  <a:pt x="101" y="0"/>
                </a:lnTo>
                <a:lnTo>
                  <a:pt x="71" y="1"/>
                </a:lnTo>
                <a:lnTo>
                  <a:pt x="0" y="71"/>
                </a:lnTo>
                <a:lnTo>
                  <a:pt x="54" y="70"/>
                </a:lnTo>
                <a:lnTo>
                  <a:pt x="169" y="159"/>
                </a:lnTo>
                <a:lnTo>
                  <a:pt x="179" y="199"/>
                </a:lnTo>
                <a:lnTo>
                  <a:pt x="225" y="222"/>
                </a:lnTo>
                <a:lnTo>
                  <a:pt x="285" y="226"/>
                </a:lnTo>
                <a:lnTo>
                  <a:pt x="344" y="266"/>
                </a:lnTo>
                <a:lnTo>
                  <a:pt x="363" y="297"/>
                </a:lnTo>
                <a:lnTo>
                  <a:pt x="379" y="343"/>
                </a:lnTo>
                <a:lnTo>
                  <a:pt x="409" y="366"/>
                </a:lnTo>
                <a:lnTo>
                  <a:pt x="476" y="373"/>
                </a:lnTo>
                <a:lnTo>
                  <a:pt x="474" y="325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2" name="Freeform 165">
            <a:extLst>
              <a:ext uri="{FF2B5EF4-FFF2-40B4-BE49-F238E27FC236}">
                <a16:creationId xmlns:a16="http://schemas.microsoft.com/office/drawing/2014/main" id="{FBDBCA62-1187-486B-98AC-AF6C16755961}"/>
              </a:ext>
            </a:extLst>
          </p:cNvPr>
          <p:cNvSpPr>
            <a:spLocks/>
          </p:cNvSpPr>
          <p:nvPr/>
        </p:nvSpPr>
        <p:spPr bwMode="auto">
          <a:xfrm rot="21249101">
            <a:off x="8159877" y="5549659"/>
            <a:ext cx="206492" cy="142547"/>
          </a:xfrm>
          <a:custGeom>
            <a:avLst/>
            <a:gdLst>
              <a:gd name="T0" fmla="*/ 2147483647 w 487"/>
              <a:gd name="T1" fmla="*/ 2147483647 h 373"/>
              <a:gd name="T2" fmla="*/ 2147483647 w 487"/>
              <a:gd name="T3" fmla="*/ 2147483647 h 373"/>
              <a:gd name="T4" fmla="*/ 2147483647 w 487"/>
              <a:gd name="T5" fmla="*/ 2147483647 h 373"/>
              <a:gd name="T6" fmla="*/ 2147483647 w 487"/>
              <a:gd name="T7" fmla="*/ 2147483647 h 373"/>
              <a:gd name="T8" fmla="*/ 2147483647 w 487"/>
              <a:gd name="T9" fmla="*/ 2147483647 h 373"/>
              <a:gd name="T10" fmla="*/ 2147483647 w 487"/>
              <a:gd name="T11" fmla="*/ 2147483647 h 373"/>
              <a:gd name="T12" fmla="*/ 2147483647 w 487"/>
              <a:gd name="T13" fmla="*/ 2147483647 h 373"/>
              <a:gd name="T14" fmla="*/ 2147483647 w 487"/>
              <a:gd name="T15" fmla="*/ 2147483647 h 373"/>
              <a:gd name="T16" fmla="*/ 2147483647 w 487"/>
              <a:gd name="T17" fmla="*/ 2147483647 h 373"/>
              <a:gd name="T18" fmla="*/ 2147483647 w 487"/>
              <a:gd name="T19" fmla="*/ 0 h 373"/>
              <a:gd name="T20" fmla="*/ 2147483647 w 487"/>
              <a:gd name="T21" fmla="*/ 2147483647 h 373"/>
              <a:gd name="T22" fmla="*/ 0 w 487"/>
              <a:gd name="T23" fmla="*/ 2147483647 h 373"/>
              <a:gd name="T24" fmla="*/ 2147483647 w 487"/>
              <a:gd name="T25" fmla="*/ 2147483647 h 373"/>
              <a:gd name="T26" fmla="*/ 2147483647 w 487"/>
              <a:gd name="T27" fmla="*/ 2147483647 h 373"/>
              <a:gd name="T28" fmla="*/ 2147483647 w 487"/>
              <a:gd name="T29" fmla="*/ 2147483647 h 373"/>
              <a:gd name="T30" fmla="*/ 2147483647 w 487"/>
              <a:gd name="T31" fmla="*/ 2147483647 h 373"/>
              <a:gd name="T32" fmla="*/ 2147483647 w 487"/>
              <a:gd name="T33" fmla="*/ 2147483647 h 373"/>
              <a:gd name="T34" fmla="*/ 2147483647 w 487"/>
              <a:gd name="T35" fmla="*/ 2147483647 h 373"/>
              <a:gd name="T36" fmla="*/ 2147483647 w 487"/>
              <a:gd name="T37" fmla="*/ 2147483647 h 373"/>
              <a:gd name="T38" fmla="*/ 2147483647 w 487"/>
              <a:gd name="T39" fmla="*/ 2147483647 h 373"/>
              <a:gd name="T40" fmla="*/ 2147483647 w 487"/>
              <a:gd name="T41" fmla="*/ 2147483647 h 373"/>
              <a:gd name="T42" fmla="*/ 2147483647 w 487"/>
              <a:gd name="T43" fmla="*/ 2147483647 h 373"/>
              <a:gd name="T44" fmla="*/ 2147483647 w 487"/>
              <a:gd name="T45" fmla="*/ 2147483647 h 37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87"/>
              <a:gd name="T70" fmla="*/ 0 h 373"/>
              <a:gd name="T71" fmla="*/ 487 w 487"/>
              <a:gd name="T72" fmla="*/ 373 h 373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87" h="373">
                <a:moveTo>
                  <a:pt x="474" y="325"/>
                </a:moveTo>
                <a:lnTo>
                  <a:pt x="487" y="341"/>
                </a:lnTo>
                <a:lnTo>
                  <a:pt x="482" y="297"/>
                </a:lnTo>
                <a:lnTo>
                  <a:pt x="399" y="277"/>
                </a:lnTo>
                <a:lnTo>
                  <a:pt x="362" y="202"/>
                </a:lnTo>
                <a:lnTo>
                  <a:pt x="360" y="159"/>
                </a:lnTo>
                <a:lnTo>
                  <a:pt x="330" y="130"/>
                </a:lnTo>
                <a:lnTo>
                  <a:pt x="197" y="95"/>
                </a:lnTo>
                <a:lnTo>
                  <a:pt x="112" y="21"/>
                </a:lnTo>
                <a:lnTo>
                  <a:pt x="101" y="0"/>
                </a:lnTo>
                <a:lnTo>
                  <a:pt x="71" y="1"/>
                </a:lnTo>
                <a:lnTo>
                  <a:pt x="0" y="71"/>
                </a:lnTo>
                <a:lnTo>
                  <a:pt x="54" y="70"/>
                </a:lnTo>
                <a:lnTo>
                  <a:pt x="169" y="159"/>
                </a:lnTo>
                <a:lnTo>
                  <a:pt x="179" y="199"/>
                </a:lnTo>
                <a:lnTo>
                  <a:pt x="225" y="222"/>
                </a:lnTo>
                <a:lnTo>
                  <a:pt x="285" y="226"/>
                </a:lnTo>
                <a:lnTo>
                  <a:pt x="344" y="266"/>
                </a:lnTo>
                <a:lnTo>
                  <a:pt x="363" y="297"/>
                </a:lnTo>
                <a:lnTo>
                  <a:pt x="379" y="343"/>
                </a:lnTo>
                <a:lnTo>
                  <a:pt x="409" y="366"/>
                </a:lnTo>
                <a:lnTo>
                  <a:pt x="476" y="373"/>
                </a:lnTo>
                <a:lnTo>
                  <a:pt x="474" y="325"/>
                </a:lnTo>
              </a:path>
            </a:pathLst>
          </a:custGeom>
          <a:solidFill>
            <a:srgbClr val="4BB2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3" name="Freeform 166">
            <a:extLst>
              <a:ext uri="{FF2B5EF4-FFF2-40B4-BE49-F238E27FC236}">
                <a16:creationId xmlns:a16="http://schemas.microsoft.com/office/drawing/2014/main" id="{02D7D26C-5484-4FA5-8B17-44D193DE1C45}"/>
              </a:ext>
            </a:extLst>
          </p:cNvPr>
          <p:cNvSpPr>
            <a:spLocks/>
          </p:cNvSpPr>
          <p:nvPr/>
        </p:nvSpPr>
        <p:spPr bwMode="auto">
          <a:xfrm rot="21249101">
            <a:off x="7754075" y="5497229"/>
            <a:ext cx="50276" cy="57346"/>
          </a:xfrm>
          <a:custGeom>
            <a:avLst/>
            <a:gdLst>
              <a:gd name="T0" fmla="*/ 2147483647 w 114"/>
              <a:gd name="T1" fmla="*/ 2147483647 h 141"/>
              <a:gd name="T2" fmla="*/ 2147483647 w 114"/>
              <a:gd name="T3" fmla="*/ 2147483647 h 141"/>
              <a:gd name="T4" fmla="*/ 2147483647 w 114"/>
              <a:gd name="T5" fmla="*/ 2147483647 h 141"/>
              <a:gd name="T6" fmla="*/ 2147483647 w 114"/>
              <a:gd name="T7" fmla="*/ 0 h 141"/>
              <a:gd name="T8" fmla="*/ 0 w 114"/>
              <a:gd name="T9" fmla="*/ 2147483647 h 141"/>
              <a:gd name="T10" fmla="*/ 2147483647 w 114"/>
              <a:gd name="T11" fmla="*/ 2147483647 h 141"/>
              <a:gd name="T12" fmla="*/ 2147483647 w 114"/>
              <a:gd name="T13" fmla="*/ 2147483647 h 141"/>
              <a:gd name="T14" fmla="*/ 2147483647 w 114"/>
              <a:gd name="T15" fmla="*/ 2147483647 h 1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4"/>
              <a:gd name="T25" fmla="*/ 0 h 141"/>
              <a:gd name="T26" fmla="*/ 114 w 114"/>
              <a:gd name="T27" fmla="*/ 141 h 14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4" h="141">
                <a:moveTo>
                  <a:pt x="111" y="139"/>
                </a:moveTo>
                <a:lnTo>
                  <a:pt x="114" y="117"/>
                </a:lnTo>
                <a:lnTo>
                  <a:pt x="67" y="24"/>
                </a:lnTo>
                <a:lnTo>
                  <a:pt x="36" y="0"/>
                </a:lnTo>
                <a:lnTo>
                  <a:pt x="0" y="11"/>
                </a:lnTo>
                <a:lnTo>
                  <a:pt x="46" y="104"/>
                </a:lnTo>
                <a:lnTo>
                  <a:pt x="80" y="141"/>
                </a:lnTo>
                <a:lnTo>
                  <a:pt x="111" y="139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4" name="Freeform 167">
            <a:extLst>
              <a:ext uri="{FF2B5EF4-FFF2-40B4-BE49-F238E27FC236}">
                <a16:creationId xmlns:a16="http://schemas.microsoft.com/office/drawing/2014/main" id="{3C7314D4-B9E6-4E5D-BE99-4070EA9EB66B}"/>
              </a:ext>
            </a:extLst>
          </p:cNvPr>
          <p:cNvSpPr>
            <a:spLocks/>
          </p:cNvSpPr>
          <p:nvPr/>
        </p:nvSpPr>
        <p:spPr bwMode="auto">
          <a:xfrm rot="21249101">
            <a:off x="7754075" y="5497229"/>
            <a:ext cx="50276" cy="57346"/>
          </a:xfrm>
          <a:custGeom>
            <a:avLst/>
            <a:gdLst>
              <a:gd name="T0" fmla="*/ 2147483647 w 114"/>
              <a:gd name="T1" fmla="*/ 2147483647 h 141"/>
              <a:gd name="T2" fmla="*/ 2147483647 w 114"/>
              <a:gd name="T3" fmla="*/ 2147483647 h 141"/>
              <a:gd name="T4" fmla="*/ 2147483647 w 114"/>
              <a:gd name="T5" fmla="*/ 2147483647 h 141"/>
              <a:gd name="T6" fmla="*/ 2147483647 w 114"/>
              <a:gd name="T7" fmla="*/ 0 h 141"/>
              <a:gd name="T8" fmla="*/ 0 w 114"/>
              <a:gd name="T9" fmla="*/ 2147483647 h 141"/>
              <a:gd name="T10" fmla="*/ 2147483647 w 114"/>
              <a:gd name="T11" fmla="*/ 2147483647 h 141"/>
              <a:gd name="T12" fmla="*/ 2147483647 w 114"/>
              <a:gd name="T13" fmla="*/ 2147483647 h 141"/>
              <a:gd name="T14" fmla="*/ 2147483647 w 114"/>
              <a:gd name="T15" fmla="*/ 2147483647 h 1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4"/>
              <a:gd name="T25" fmla="*/ 0 h 141"/>
              <a:gd name="T26" fmla="*/ 114 w 114"/>
              <a:gd name="T27" fmla="*/ 141 h 14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4" h="141">
                <a:moveTo>
                  <a:pt x="111" y="139"/>
                </a:moveTo>
                <a:lnTo>
                  <a:pt x="114" y="117"/>
                </a:lnTo>
                <a:lnTo>
                  <a:pt x="67" y="24"/>
                </a:lnTo>
                <a:lnTo>
                  <a:pt x="36" y="0"/>
                </a:lnTo>
                <a:lnTo>
                  <a:pt x="0" y="11"/>
                </a:lnTo>
                <a:lnTo>
                  <a:pt x="46" y="104"/>
                </a:lnTo>
                <a:lnTo>
                  <a:pt x="80" y="141"/>
                </a:lnTo>
                <a:lnTo>
                  <a:pt x="111" y="139"/>
                </a:lnTo>
              </a:path>
            </a:pathLst>
          </a:custGeom>
          <a:solidFill>
            <a:srgbClr val="4BB2FF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AT" kern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55" name="Freeform 168" descr="Large grid">
            <a:extLst>
              <a:ext uri="{FF2B5EF4-FFF2-40B4-BE49-F238E27FC236}">
                <a16:creationId xmlns:a16="http://schemas.microsoft.com/office/drawing/2014/main" id="{2B6A0C78-10DA-4524-9D65-A667E4E0D282}"/>
              </a:ext>
            </a:extLst>
          </p:cNvPr>
          <p:cNvSpPr>
            <a:spLocks/>
          </p:cNvSpPr>
          <p:nvPr/>
        </p:nvSpPr>
        <p:spPr bwMode="auto">
          <a:xfrm rot="21249101">
            <a:off x="7430870" y="1245380"/>
            <a:ext cx="764918" cy="1440222"/>
          </a:xfrm>
          <a:custGeom>
            <a:avLst/>
            <a:gdLst>
              <a:gd name="T0" fmla="*/ 2147483647 w 1830"/>
              <a:gd name="T1" fmla="*/ 2147483647 h 3757"/>
              <a:gd name="T2" fmla="*/ 2147483647 w 1830"/>
              <a:gd name="T3" fmla="*/ 2147483647 h 3757"/>
              <a:gd name="T4" fmla="*/ 2147483647 w 1830"/>
              <a:gd name="T5" fmla="*/ 2147483647 h 3757"/>
              <a:gd name="T6" fmla="*/ 2147483647 w 1830"/>
              <a:gd name="T7" fmla="*/ 2147483647 h 3757"/>
              <a:gd name="T8" fmla="*/ 2147483647 w 1830"/>
              <a:gd name="T9" fmla="*/ 2147483647 h 3757"/>
              <a:gd name="T10" fmla="*/ 2147483647 w 1830"/>
              <a:gd name="T11" fmla="*/ 2147483647 h 3757"/>
              <a:gd name="T12" fmla="*/ 2147483647 w 1830"/>
              <a:gd name="T13" fmla="*/ 2147483647 h 3757"/>
              <a:gd name="T14" fmla="*/ 2147483647 w 1830"/>
              <a:gd name="T15" fmla="*/ 2147483647 h 3757"/>
              <a:gd name="T16" fmla="*/ 2147483647 w 1830"/>
              <a:gd name="T17" fmla="*/ 2147483647 h 3757"/>
              <a:gd name="T18" fmla="*/ 2147483647 w 1830"/>
              <a:gd name="T19" fmla="*/ 2147483647 h 3757"/>
              <a:gd name="T20" fmla="*/ 2147483647 w 1830"/>
              <a:gd name="T21" fmla="*/ 2147483647 h 3757"/>
              <a:gd name="T22" fmla="*/ 2147483647 w 1830"/>
              <a:gd name="T23" fmla="*/ 2147483647 h 3757"/>
              <a:gd name="T24" fmla="*/ 2147483647 w 1830"/>
              <a:gd name="T25" fmla="*/ 2147483647 h 3757"/>
              <a:gd name="T26" fmla="*/ 2147483647 w 1830"/>
              <a:gd name="T27" fmla="*/ 2147483647 h 3757"/>
              <a:gd name="T28" fmla="*/ 2147483647 w 1830"/>
              <a:gd name="T29" fmla="*/ 2147483647 h 3757"/>
              <a:gd name="T30" fmla="*/ 2147483647 w 1830"/>
              <a:gd name="T31" fmla="*/ 2147483647 h 3757"/>
              <a:gd name="T32" fmla="*/ 2147483647 w 1830"/>
              <a:gd name="T33" fmla="*/ 2147483647 h 3757"/>
              <a:gd name="T34" fmla="*/ 2147483647 w 1830"/>
              <a:gd name="T35" fmla="*/ 2147483647 h 3757"/>
              <a:gd name="T36" fmla="*/ 2147483647 w 1830"/>
              <a:gd name="T37" fmla="*/ 2147483647 h 3757"/>
              <a:gd name="T38" fmla="*/ 2147483647 w 1830"/>
              <a:gd name="T39" fmla="*/ 2147483647 h 3757"/>
              <a:gd name="T40" fmla="*/ 2147483647 w 1830"/>
              <a:gd name="T41" fmla="*/ 2147483647 h 3757"/>
              <a:gd name="T42" fmla="*/ 2147483647 w 1830"/>
              <a:gd name="T43" fmla="*/ 2147483647 h 3757"/>
              <a:gd name="T44" fmla="*/ 2147483647 w 1830"/>
              <a:gd name="T45" fmla="*/ 2147483647 h 3757"/>
              <a:gd name="T46" fmla="*/ 2147483647 w 1830"/>
              <a:gd name="T47" fmla="*/ 2147483647 h 3757"/>
              <a:gd name="T48" fmla="*/ 2147483647 w 1830"/>
              <a:gd name="T49" fmla="*/ 2147483647 h 3757"/>
              <a:gd name="T50" fmla="*/ 2147483647 w 1830"/>
              <a:gd name="T51" fmla="*/ 2147483647 h 3757"/>
              <a:gd name="T52" fmla="*/ 2147483647 w 1830"/>
              <a:gd name="T53" fmla="*/ 2147483647 h 3757"/>
              <a:gd name="T54" fmla="*/ 2147483647 w 1830"/>
              <a:gd name="T55" fmla="*/ 2147483647 h 3757"/>
              <a:gd name="T56" fmla="*/ 2147483647 w 1830"/>
              <a:gd name="T57" fmla="*/ 2147483647 h 3757"/>
              <a:gd name="T58" fmla="*/ 2147483647 w 1830"/>
              <a:gd name="T59" fmla="*/ 2147483647 h 3757"/>
              <a:gd name="T60" fmla="*/ 2147483647 w 1830"/>
              <a:gd name="T61" fmla="*/ 2147483647 h 3757"/>
              <a:gd name="T62" fmla="*/ 2147483647 w 1830"/>
              <a:gd name="T63" fmla="*/ 2147483647 h 3757"/>
              <a:gd name="T64" fmla="*/ 2147483647 w 1830"/>
              <a:gd name="T65" fmla="*/ 2147483647 h 3757"/>
              <a:gd name="T66" fmla="*/ 2147483647 w 1830"/>
              <a:gd name="T67" fmla="*/ 2147483647 h 3757"/>
              <a:gd name="T68" fmla="*/ 2147483647 w 1830"/>
              <a:gd name="T69" fmla="*/ 2147483647 h 3757"/>
              <a:gd name="T70" fmla="*/ 2147483647 w 1830"/>
              <a:gd name="T71" fmla="*/ 2147483647 h 3757"/>
              <a:gd name="T72" fmla="*/ 2147483647 w 1830"/>
              <a:gd name="T73" fmla="*/ 2147483647 h 3757"/>
              <a:gd name="T74" fmla="*/ 2147483647 w 1830"/>
              <a:gd name="T75" fmla="*/ 2147483647 h 3757"/>
              <a:gd name="T76" fmla="*/ 2147483647 w 1830"/>
              <a:gd name="T77" fmla="*/ 2147483647 h 3757"/>
              <a:gd name="T78" fmla="*/ 2147483647 w 1830"/>
              <a:gd name="T79" fmla="*/ 2147483647 h 3757"/>
              <a:gd name="T80" fmla="*/ 2147483647 w 1830"/>
              <a:gd name="T81" fmla="*/ 2147483647 h 3757"/>
              <a:gd name="T82" fmla="*/ 2147483647 w 1830"/>
              <a:gd name="T83" fmla="*/ 2147483647 h 3757"/>
              <a:gd name="T84" fmla="*/ 2147483647 w 1830"/>
              <a:gd name="T85" fmla="*/ 2147483647 h 3757"/>
              <a:gd name="T86" fmla="*/ 2147483647 w 1830"/>
              <a:gd name="T87" fmla="*/ 2147483647 h 3757"/>
              <a:gd name="T88" fmla="*/ 2147483647 w 1830"/>
              <a:gd name="T89" fmla="*/ 2147483647 h 3757"/>
              <a:gd name="T90" fmla="*/ 2147483647 w 1830"/>
              <a:gd name="T91" fmla="*/ 2147483647 h 3757"/>
              <a:gd name="T92" fmla="*/ 2147483647 w 1830"/>
              <a:gd name="T93" fmla="*/ 2147483647 h 3757"/>
              <a:gd name="T94" fmla="*/ 2147483647 w 1830"/>
              <a:gd name="T95" fmla="*/ 2147483647 h 3757"/>
              <a:gd name="T96" fmla="*/ 2147483647 w 1830"/>
              <a:gd name="T97" fmla="*/ 2147483647 h 3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830"/>
              <a:gd name="T148" fmla="*/ 0 h 3757"/>
              <a:gd name="T149" fmla="*/ 1830 w 1830"/>
              <a:gd name="T150" fmla="*/ 3757 h 37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830" h="3757">
                <a:moveTo>
                  <a:pt x="0" y="423"/>
                </a:moveTo>
                <a:lnTo>
                  <a:pt x="6" y="423"/>
                </a:lnTo>
                <a:lnTo>
                  <a:pt x="12" y="435"/>
                </a:lnTo>
                <a:lnTo>
                  <a:pt x="192" y="613"/>
                </a:lnTo>
                <a:lnTo>
                  <a:pt x="279" y="638"/>
                </a:lnTo>
                <a:lnTo>
                  <a:pt x="326" y="676"/>
                </a:lnTo>
                <a:lnTo>
                  <a:pt x="422" y="830"/>
                </a:lnTo>
                <a:lnTo>
                  <a:pt x="409" y="902"/>
                </a:lnTo>
                <a:lnTo>
                  <a:pt x="420" y="991"/>
                </a:lnTo>
                <a:lnTo>
                  <a:pt x="433" y="1008"/>
                </a:lnTo>
                <a:lnTo>
                  <a:pt x="440" y="1046"/>
                </a:lnTo>
                <a:lnTo>
                  <a:pt x="426" y="1099"/>
                </a:lnTo>
                <a:lnTo>
                  <a:pt x="436" y="1141"/>
                </a:lnTo>
                <a:lnTo>
                  <a:pt x="499" y="1256"/>
                </a:lnTo>
                <a:lnTo>
                  <a:pt x="499" y="1315"/>
                </a:lnTo>
                <a:lnTo>
                  <a:pt x="479" y="1353"/>
                </a:lnTo>
                <a:lnTo>
                  <a:pt x="470" y="1400"/>
                </a:lnTo>
                <a:lnTo>
                  <a:pt x="529" y="1542"/>
                </a:lnTo>
                <a:lnTo>
                  <a:pt x="552" y="1562"/>
                </a:lnTo>
                <a:lnTo>
                  <a:pt x="566" y="1566"/>
                </a:lnTo>
                <a:lnTo>
                  <a:pt x="575" y="1584"/>
                </a:lnTo>
                <a:lnTo>
                  <a:pt x="595" y="1592"/>
                </a:lnTo>
                <a:lnTo>
                  <a:pt x="608" y="1576"/>
                </a:lnTo>
                <a:lnTo>
                  <a:pt x="618" y="1583"/>
                </a:lnTo>
                <a:lnTo>
                  <a:pt x="630" y="1621"/>
                </a:lnTo>
                <a:lnTo>
                  <a:pt x="676" y="1648"/>
                </a:lnTo>
                <a:lnTo>
                  <a:pt x="729" y="1709"/>
                </a:lnTo>
                <a:lnTo>
                  <a:pt x="746" y="1745"/>
                </a:lnTo>
                <a:lnTo>
                  <a:pt x="746" y="1828"/>
                </a:lnTo>
                <a:lnTo>
                  <a:pt x="779" y="1879"/>
                </a:lnTo>
                <a:lnTo>
                  <a:pt x="756" y="1878"/>
                </a:lnTo>
                <a:lnTo>
                  <a:pt x="748" y="1901"/>
                </a:lnTo>
                <a:lnTo>
                  <a:pt x="759" y="1927"/>
                </a:lnTo>
                <a:lnTo>
                  <a:pt x="729" y="1912"/>
                </a:lnTo>
                <a:lnTo>
                  <a:pt x="699" y="1918"/>
                </a:lnTo>
                <a:lnTo>
                  <a:pt x="651" y="1943"/>
                </a:lnTo>
                <a:lnTo>
                  <a:pt x="631" y="2044"/>
                </a:lnTo>
                <a:lnTo>
                  <a:pt x="371" y="2437"/>
                </a:lnTo>
                <a:lnTo>
                  <a:pt x="343" y="2457"/>
                </a:lnTo>
                <a:lnTo>
                  <a:pt x="324" y="2490"/>
                </a:lnTo>
                <a:lnTo>
                  <a:pt x="310" y="2502"/>
                </a:lnTo>
                <a:lnTo>
                  <a:pt x="291" y="2532"/>
                </a:lnTo>
                <a:lnTo>
                  <a:pt x="231" y="2541"/>
                </a:lnTo>
                <a:lnTo>
                  <a:pt x="206" y="2531"/>
                </a:lnTo>
                <a:lnTo>
                  <a:pt x="187" y="2576"/>
                </a:lnTo>
                <a:lnTo>
                  <a:pt x="212" y="2601"/>
                </a:lnTo>
                <a:lnTo>
                  <a:pt x="201" y="2610"/>
                </a:lnTo>
                <a:lnTo>
                  <a:pt x="148" y="2616"/>
                </a:lnTo>
                <a:lnTo>
                  <a:pt x="150" y="2633"/>
                </a:lnTo>
                <a:lnTo>
                  <a:pt x="142" y="2658"/>
                </a:lnTo>
                <a:lnTo>
                  <a:pt x="122" y="2661"/>
                </a:lnTo>
                <a:lnTo>
                  <a:pt x="112" y="2668"/>
                </a:lnTo>
                <a:lnTo>
                  <a:pt x="86" y="2748"/>
                </a:lnTo>
                <a:lnTo>
                  <a:pt x="102" y="2831"/>
                </a:lnTo>
                <a:lnTo>
                  <a:pt x="115" y="2850"/>
                </a:lnTo>
                <a:lnTo>
                  <a:pt x="127" y="2887"/>
                </a:lnTo>
                <a:lnTo>
                  <a:pt x="117" y="2967"/>
                </a:lnTo>
                <a:lnTo>
                  <a:pt x="131" y="2999"/>
                </a:lnTo>
                <a:lnTo>
                  <a:pt x="157" y="3028"/>
                </a:lnTo>
                <a:lnTo>
                  <a:pt x="172" y="3108"/>
                </a:lnTo>
                <a:lnTo>
                  <a:pt x="186" y="3134"/>
                </a:lnTo>
                <a:lnTo>
                  <a:pt x="203" y="3151"/>
                </a:lnTo>
                <a:lnTo>
                  <a:pt x="206" y="3161"/>
                </a:lnTo>
                <a:lnTo>
                  <a:pt x="190" y="3144"/>
                </a:lnTo>
                <a:lnTo>
                  <a:pt x="173" y="3146"/>
                </a:lnTo>
                <a:lnTo>
                  <a:pt x="163" y="3160"/>
                </a:lnTo>
                <a:lnTo>
                  <a:pt x="168" y="3273"/>
                </a:lnTo>
                <a:lnTo>
                  <a:pt x="153" y="3318"/>
                </a:lnTo>
                <a:lnTo>
                  <a:pt x="143" y="3319"/>
                </a:lnTo>
                <a:lnTo>
                  <a:pt x="133" y="3351"/>
                </a:lnTo>
                <a:lnTo>
                  <a:pt x="146" y="3369"/>
                </a:lnTo>
                <a:lnTo>
                  <a:pt x="147" y="3387"/>
                </a:lnTo>
                <a:lnTo>
                  <a:pt x="142" y="3404"/>
                </a:lnTo>
                <a:lnTo>
                  <a:pt x="148" y="3421"/>
                </a:lnTo>
                <a:lnTo>
                  <a:pt x="173" y="3430"/>
                </a:lnTo>
                <a:lnTo>
                  <a:pt x="169" y="3445"/>
                </a:lnTo>
                <a:lnTo>
                  <a:pt x="152" y="3449"/>
                </a:lnTo>
                <a:lnTo>
                  <a:pt x="156" y="3471"/>
                </a:lnTo>
                <a:lnTo>
                  <a:pt x="202" y="3473"/>
                </a:lnTo>
                <a:lnTo>
                  <a:pt x="256" y="3516"/>
                </a:lnTo>
                <a:lnTo>
                  <a:pt x="350" y="3545"/>
                </a:lnTo>
                <a:lnTo>
                  <a:pt x="358" y="3560"/>
                </a:lnTo>
                <a:lnTo>
                  <a:pt x="352" y="3585"/>
                </a:lnTo>
                <a:lnTo>
                  <a:pt x="378" y="3602"/>
                </a:lnTo>
                <a:lnTo>
                  <a:pt x="426" y="3570"/>
                </a:lnTo>
                <a:lnTo>
                  <a:pt x="432" y="3588"/>
                </a:lnTo>
                <a:lnTo>
                  <a:pt x="432" y="3628"/>
                </a:lnTo>
                <a:lnTo>
                  <a:pt x="464" y="3674"/>
                </a:lnTo>
                <a:lnTo>
                  <a:pt x="461" y="3696"/>
                </a:lnTo>
                <a:lnTo>
                  <a:pt x="487" y="3707"/>
                </a:lnTo>
                <a:lnTo>
                  <a:pt x="477" y="3727"/>
                </a:lnTo>
                <a:lnTo>
                  <a:pt x="447" y="3753"/>
                </a:lnTo>
                <a:lnTo>
                  <a:pt x="463" y="3757"/>
                </a:lnTo>
                <a:lnTo>
                  <a:pt x="497" y="3737"/>
                </a:lnTo>
                <a:lnTo>
                  <a:pt x="530" y="3670"/>
                </a:lnTo>
                <a:lnTo>
                  <a:pt x="537" y="3676"/>
                </a:lnTo>
                <a:lnTo>
                  <a:pt x="537" y="3708"/>
                </a:lnTo>
                <a:lnTo>
                  <a:pt x="556" y="3714"/>
                </a:lnTo>
                <a:lnTo>
                  <a:pt x="632" y="3668"/>
                </a:lnTo>
                <a:lnTo>
                  <a:pt x="658" y="3667"/>
                </a:lnTo>
                <a:lnTo>
                  <a:pt x="681" y="3655"/>
                </a:lnTo>
                <a:lnTo>
                  <a:pt x="697" y="3668"/>
                </a:lnTo>
                <a:lnTo>
                  <a:pt x="706" y="3670"/>
                </a:lnTo>
                <a:lnTo>
                  <a:pt x="761" y="3611"/>
                </a:lnTo>
                <a:lnTo>
                  <a:pt x="786" y="3604"/>
                </a:lnTo>
                <a:lnTo>
                  <a:pt x="810" y="3614"/>
                </a:lnTo>
                <a:lnTo>
                  <a:pt x="859" y="3577"/>
                </a:lnTo>
                <a:lnTo>
                  <a:pt x="889" y="3572"/>
                </a:lnTo>
                <a:lnTo>
                  <a:pt x="911" y="3524"/>
                </a:lnTo>
                <a:lnTo>
                  <a:pt x="927" y="3555"/>
                </a:lnTo>
                <a:lnTo>
                  <a:pt x="987" y="3526"/>
                </a:lnTo>
                <a:lnTo>
                  <a:pt x="975" y="3495"/>
                </a:lnTo>
                <a:lnTo>
                  <a:pt x="983" y="3504"/>
                </a:lnTo>
                <a:lnTo>
                  <a:pt x="1011" y="3512"/>
                </a:lnTo>
                <a:lnTo>
                  <a:pt x="1029" y="3508"/>
                </a:lnTo>
                <a:lnTo>
                  <a:pt x="1049" y="3489"/>
                </a:lnTo>
                <a:lnTo>
                  <a:pt x="1108" y="3479"/>
                </a:lnTo>
                <a:lnTo>
                  <a:pt x="1176" y="3439"/>
                </a:lnTo>
                <a:lnTo>
                  <a:pt x="1206" y="3455"/>
                </a:lnTo>
                <a:lnTo>
                  <a:pt x="1266" y="3456"/>
                </a:lnTo>
                <a:lnTo>
                  <a:pt x="1280" y="3442"/>
                </a:lnTo>
                <a:lnTo>
                  <a:pt x="1290" y="3424"/>
                </a:lnTo>
                <a:lnTo>
                  <a:pt x="1292" y="3429"/>
                </a:lnTo>
                <a:lnTo>
                  <a:pt x="1768" y="2762"/>
                </a:lnTo>
                <a:lnTo>
                  <a:pt x="1830" y="2573"/>
                </a:lnTo>
                <a:lnTo>
                  <a:pt x="1812" y="2457"/>
                </a:lnTo>
                <a:lnTo>
                  <a:pt x="1800" y="2474"/>
                </a:lnTo>
                <a:lnTo>
                  <a:pt x="1761" y="2429"/>
                </a:lnTo>
                <a:lnTo>
                  <a:pt x="1741" y="2381"/>
                </a:lnTo>
                <a:lnTo>
                  <a:pt x="1641" y="2326"/>
                </a:lnTo>
                <a:lnTo>
                  <a:pt x="1611" y="2296"/>
                </a:lnTo>
                <a:lnTo>
                  <a:pt x="1583" y="2243"/>
                </a:lnTo>
                <a:lnTo>
                  <a:pt x="1589" y="2195"/>
                </a:lnTo>
                <a:lnTo>
                  <a:pt x="1612" y="2146"/>
                </a:lnTo>
                <a:lnTo>
                  <a:pt x="1621" y="2091"/>
                </a:lnTo>
                <a:lnTo>
                  <a:pt x="1608" y="2039"/>
                </a:lnTo>
                <a:lnTo>
                  <a:pt x="1555" y="2004"/>
                </a:lnTo>
                <a:lnTo>
                  <a:pt x="1528" y="1958"/>
                </a:lnTo>
                <a:lnTo>
                  <a:pt x="1524" y="1902"/>
                </a:lnTo>
                <a:lnTo>
                  <a:pt x="1493" y="1856"/>
                </a:lnTo>
                <a:lnTo>
                  <a:pt x="1447" y="1852"/>
                </a:lnTo>
                <a:lnTo>
                  <a:pt x="1436" y="1794"/>
                </a:lnTo>
                <a:lnTo>
                  <a:pt x="1448" y="1760"/>
                </a:lnTo>
                <a:lnTo>
                  <a:pt x="1436" y="1710"/>
                </a:lnTo>
                <a:lnTo>
                  <a:pt x="1423" y="1685"/>
                </a:lnTo>
                <a:lnTo>
                  <a:pt x="1424" y="1578"/>
                </a:lnTo>
                <a:lnTo>
                  <a:pt x="1459" y="1538"/>
                </a:lnTo>
                <a:lnTo>
                  <a:pt x="1266" y="1164"/>
                </a:lnTo>
                <a:lnTo>
                  <a:pt x="1254" y="1110"/>
                </a:lnTo>
                <a:lnTo>
                  <a:pt x="1328" y="858"/>
                </a:lnTo>
                <a:lnTo>
                  <a:pt x="1312" y="804"/>
                </a:lnTo>
                <a:lnTo>
                  <a:pt x="1219" y="686"/>
                </a:lnTo>
                <a:lnTo>
                  <a:pt x="1179" y="671"/>
                </a:lnTo>
                <a:lnTo>
                  <a:pt x="1143" y="671"/>
                </a:lnTo>
                <a:lnTo>
                  <a:pt x="1118" y="657"/>
                </a:lnTo>
                <a:lnTo>
                  <a:pt x="1102" y="640"/>
                </a:lnTo>
                <a:lnTo>
                  <a:pt x="1069" y="534"/>
                </a:lnTo>
                <a:lnTo>
                  <a:pt x="1088" y="438"/>
                </a:lnTo>
                <a:lnTo>
                  <a:pt x="1084" y="428"/>
                </a:lnTo>
                <a:lnTo>
                  <a:pt x="1061" y="419"/>
                </a:lnTo>
                <a:lnTo>
                  <a:pt x="1123" y="344"/>
                </a:lnTo>
                <a:lnTo>
                  <a:pt x="1097" y="330"/>
                </a:lnTo>
                <a:lnTo>
                  <a:pt x="1092" y="304"/>
                </a:lnTo>
                <a:lnTo>
                  <a:pt x="1096" y="274"/>
                </a:lnTo>
                <a:lnTo>
                  <a:pt x="1136" y="212"/>
                </a:lnTo>
                <a:lnTo>
                  <a:pt x="1100" y="114"/>
                </a:lnTo>
                <a:lnTo>
                  <a:pt x="1053" y="80"/>
                </a:lnTo>
                <a:lnTo>
                  <a:pt x="1010" y="69"/>
                </a:lnTo>
                <a:lnTo>
                  <a:pt x="982" y="53"/>
                </a:lnTo>
                <a:lnTo>
                  <a:pt x="954" y="10"/>
                </a:lnTo>
                <a:lnTo>
                  <a:pt x="940" y="0"/>
                </a:lnTo>
                <a:lnTo>
                  <a:pt x="804" y="66"/>
                </a:lnTo>
                <a:lnTo>
                  <a:pt x="747" y="77"/>
                </a:lnTo>
                <a:lnTo>
                  <a:pt x="719" y="97"/>
                </a:lnTo>
                <a:lnTo>
                  <a:pt x="697" y="128"/>
                </a:lnTo>
                <a:lnTo>
                  <a:pt x="674" y="204"/>
                </a:lnTo>
                <a:lnTo>
                  <a:pt x="684" y="418"/>
                </a:lnTo>
                <a:lnTo>
                  <a:pt x="627" y="468"/>
                </a:lnTo>
                <a:lnTo>
                  <a:pt x="608" y="502"/>
                </a:lnTo>
                <a:lnTo>
                  <a:pt x="543" y="547"/>
                </a:lnTo>
                <a:lnTo>
                  <a:pt x="517" y="542"/>
                </a:lnTo>
                <a:lnTo>
                  <a:pt x="483" y="492"/>
                </a:lnTo>
                <a:lnTo>
                  <a:pt x="460" y="477"/>
                </a:lnTo>
                <a:lnTo>
                  <a:pt x="419" y="527"/>
                </a:lnTo>
                <a:lnTo>
                  <a:pt x="385" y="550"/>
                </a:lnTo>
                <a:lnTo>
                  <a:pt x="355" y="555"/>
                </a:lnTo>
                <a:lnTo>
                  <a:pt x="317" y="537"/>
                </a:lnTo>
                <a:lnTo>
                  <a:pt x="255" y="530"/>
                </a:lnTo>
                <a:lnTo>
                  <a:pt x="240" y="511"/>
                </a:lnTo>
                <a:lnTo>
                  <a:pt x="227" y="466"/>
                </a:lnTo>
                <a:lnTo>
                  <a:pt x="123" y="338"/>
                </a:lnTo>
                <a:lnTo>
                  <a:pt x="89" y="325"/>
                </a:lnTo>
                <a:lnTo>
                  <a:pt x="59" y="341"/>
                </a:lnTo>
                <a:lnTo>
                  <a:pt x="70" y="397"/>
                </a:lnTo>
                <a:lnTo>
                  <a:pt x="47" y="406"/>
                </a:lnTo>
                <a:lnTo>
                  <a:pt x="28" y="397"/>
                </a:lnTo>
                <a:lnTo>
                  <a:pt x="8" y="404"/>
                </a:lnTo>
                <a:lnTo>
                  <a:pt x="0" y="423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6" name="Freeform 169" descr="Large grid">
            <a:extLst>
              <a:ext uri="{FF2B5EF4-FFF2-40B4-BE49-F238E27FC236}">
                <a16:creationId xmlns:a16="http://schemas.microsoft.com/office/drawing/2014/main" id="{0EA2A1F7-C25C-4AFA-A77E-EC5CD8D6D247}"/>
              </a:ext>
            </a:extLst>
          </p:cNvPr>
          <p:cNvSpPr>
            <a:spLocks/>
          </p:cNvSpPr>
          <p:nvPr/>
        </p:nvSpPr>
        <p:spPr bwMode="auto">
          <a:xfrm rot="21249101">
            <a:off x="7430870" y="1245380"/>
            <a:ext cx="764918" cy="1440222"/>
          </a:xfrm>
          <a:custGeom>
            <a:avLst/>
            <a:gdLst>
              <a:gd name="T0" fmla="*/ 2147483647 w 1830"/>
              <a:gd name="T1" fmla="*/ 2147483647 h 3757"/>
              <a:gd name="T2" fmla="*/ 2147483647 w 1830"/>
              <a:gd name="T3" fmla="*/ 2147483647 h 3757"/>
              <a:gd name="T4" fmla="*/ 2147483647 w 1830"/>
              <a:gd name="T5" fmla="*/ 2147483647 h 3757"/>
              <a:gd name="T6" fmla="*/ 2147483647 w 1830"/>
              <a:gd name="T7" fmla="*/ 2147483647 h 3757"/>
              <a:gd name="T8" fmla="*/ 2147483647 w 1830"/>
              <a:gd name="T9" fmla="*/ 2147483647 h 3757"/>
              <a:gd name="T10" fmla="*/ 2147483647 w 1830"/>
              <a:gd name="T11" fmla="*/ 2147483647 h 3757"/>
              <a:gd name="T12" fmla="*/ 2147483647 w 1830"/>
              <a:gd name="T13" fmla="*/ 2147483647 h 3757"/>
              <a:gd name="T14" fmla="*/ 2147483647 w 1830"/>
              <a:gd name="T15" fmla="*/ 2147483647 h 3757"/>
              <a:gd name="T16" fmla="*/ 2147483647 w 1830"/>
              <a:gd name="T17" fmla="*/ 2147483647 h 3757"/>
              <a:gd name="T18" fmla="*/ 2147483647 w 1830"/>
              <a:gd name="T19" fmla="*/ 2147483647 h 3757"/>
              <a:gd name="T20" fmla="*/ 2147483647 w 1830"/>
              <a:gd name="T21" fmla="*/ 2147483647 h 3757"/>
              <a:gd name="T22" fmla="*/ 2147483647 w 1830"/>
              <a:gd name="T23" fmla="*/ 2147483647 h 3757"/>
              <a:gd name="T24" fmla="*/ 2147483647 w 1830"/>
              <a:gd name="T25" fmla="*/ 2147483647 h 3757"/>
              <a:gd name="T26" fmla="*/ 2147483647 w 1830"/>
              <a:gd name="T27" fmla="*/ 2147483647 h 3757"/>
              <a:gd name="T28" fmla="*/ 2147483647 w 1830"/>
              <a:gd name="T29" fmla="*/ 2147483647 h 3757"/>
              <a:gd name="T30" fmla="*/ 2147483647 w 1830"/>
              <a:gd name="T31" fmla="*/ 2147483647 h 3757"/>
              <a:gd name="T32" fmla="*/ 2147483647 w 1830"/>
              <a:gd name="T33" fmla="*/ 2147483647 h 3757"/>
              <a:gd name="T34" fmla="*/ 2147483647 w 1830"/>
              <a:gd name="T35" fmla="*/ 2147483647 h 3757"/>
              <a:gd name="T36" fmla="*/ 2147483647 w 1830"/>
              <a:gd name="T37" fmla="*/ 2147483647 h 3757"/>
              <a:gd name="T38" fmla="*/ 2147483647 w 1830"/>
              <a:gd name="T39" fmla="*/ 2147483647 h 3757"/>
              <a:gd name="T40" fmla="*/ 2147483647 w 1830"/>
              <a:gd name="T41" fmla="*/ 2147483647 h 3757"/>
              <a:gd name="T42" fmla="*/ 2147483647 w 1830"/>
              <a:gd name="T43" fmla="*/ 2147483647 h 3757"/>
              <a:gd name="T44" fmla="*/ 2147483647 w 1830"/>
              <a:gd name="T45" fmla="*/ 2147483647 h 3757"/>
              <a:gd name="T46" fmla="*/ 2147483647 w 1830"/>
              <a:gd name="T47" fmla="*/ 2147483647 h 3757"/>
              <a:gd name="T48" fmla="*/ 2147483647 w 1830"/>
              <a:gd name="T49" fmla="*/ 2147483647 h 3757"/>
              <a:gd name="T50" fmla="*/ 2147483647 w 1830"/>
              <a:gd name="T51" fmla="*/ 2147483647 h 3757"/>
              <a:gd name="T52" fmla="*/ 2147483647 w 1830"/>
              <a:gd name="T53" fmla="*/ 2147483647 h 3757"/>
              <a:gd name="T54" fmla="*/ 2147483647 w 1830"/>
              <a:gd name="T55" fmla="*/ 2147483647 h 3757"/>
              <a:gd name="T56" fmla="*/ 2147483647 w 1830"/>
              <a:gd name="T57" fmla="*/ 2147483647 h 3757"/>
              <a:gd name="T58" fmla="*/ 2147483647 w 1830"/>
              <a:gd name="T59" fmla="*/ 2147483647 h 3757"/>
              <a:gd name="T60" fmla="*/ 2147483647 w 1830"/>
              <a:gd name="T61" fmla="*/ 2147483647 h 3757"/>
              <a:gd name="T62" fmla="*/ 2147483647 w 1830"/>
              <a:gd name="T63" fmla="*/ 2147483647 h 3757"/>
              <a:gd name="T64" fmla="*/ 2147483647 w 1830"/>
              <a:gd name="T65" fmla="*/ 2147483647 h 3757"/>
              <a:gd name="T66" fmla="*/ 2147483647 w 1830"/>
              <a:gd name="T67" fmla="*/ 2147483647 h 3757"/>
              <a:gd name="T68" fmla="*/ 2147483647 w 1830"/>
              <a:gd name="T69" fmla="*/ 2147483647 h 3757"/>
              <a:gd name="T70" fmla="*/ 2147483647 w 1830"/>
              <a:gd name="T71" fmla="*/ 2147483647 h 3757"/>
              <a:gd name="T72" fmla="*/ 2147483647 w 1830"/>
              <a:gd name="T73" fmla="*/ 2147483647 h 3757"/>
              <a:gd name="T74" fmla="*/ 2147483647 w 1830"/>
              <a:gd name="T75" fmla="*/ 2147483647 h 3757"/>
              <a:gd name="T76" fmla="*/ 2147483647 w 1830"/>
              <a:gd name="T77" fmla="*/ 2147483647 h 3757"/>
              <a:gd name="T78" fmla="*/ 2147483647 w 1830"/>
              <a:gd name="T79" fmla="*/ 2147483647 h 3757"/>
              <a:gd name="T80" fmla="*/ 2147483647 w 1830"/>
              <a:gd name="T81" fmla="*/ 2147483647 h 3757"/>
              <a:gd name="T82" fmla="*/ 2147483647 w 1830"/>
              <a:gd name="T83" fmla="*/ 2147483647 h 3757"/>
              <a:gd name="T84" fmla="*/ 2147483647 w 1830"/>
              <a:gd name="T85" fmla="*/ 2147483647 h 3757"/>
              <a:gd name="T86" fmla="*/ 2147483647 w 1830"/>
              <a:gd name="T87" fmla="*/ 2147483647 h 3757"/>
              <a:gd name="T88" fmla="*/ 2147483647 w 1830"/>
              <a:gd name="T89" fmla="*/ 2147483647 h 3757"/>
              <a:gd name="T90" fmla="*/ 2147483647 w 1830"/>
              <a:gd name="T91" fmla="*/ 2147483647 h 3757"/>
              <a:gd name="T92" fmla="*/ 2147483647 w 1830"/>
              <a:gd name="T93" fmla="*/ 2147483647 h 3757"/>
              <a:gd name="T94" fmla="*/ 2147483647 w 1830"/>
              <a:gd name="T95" fmla="*/ 2147483647 h 3757"/>
              <a:gd name="T96" fmla="*/ 2147483647 w 1830"/>
              <a:gd name="T97" fmla="*/ 2147483647 h 3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830"/>
              <a:gd name="T148" fmla="*/ 0 h 3757"/>
              <a:gd name="T149" fmla="*/ 1830 w 1830"/>
              <a:gd name="T150" fmla="*/ 3757 h 37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830" h="3757">
                <a:moveTo>
                  <a:pt x="0" y="423"/>
                </a:moveTo>
                <a:lnTo>
                  <a:pt x="6" y="423"/>
                </a:lnTo>
                <a:lnTo>
                  <a:pt x="12" y="435"/>
                </a:lnTo>
                <a:lnTo>
                  <a:pt x="192" y="613"/>
                </a:lnTo>
                <a:lnTo>
                  <a:pt x="279" y="638"/>
                </a:lnTo>
                <a:lnTo>
                  <a:pt x="326" y="676"/>
                </a:lnTo>
                <a:lnTo>
                  <a:pt x="422" y="830"/>
                </a:lnTo>
                <a:lnTo>
                  <a:pt x="409" y="902"/>
                </a:lnTo>
                <a:lnTo>
                  <a:pt x="420" y="991"/>
                </a:lnTo>
                <a:lnTo>
                  <a:pt x="433" y="1008"/>
                </a:lnTo>
                <a:lnTo>
                  <a:pt x="440" y="1046"/>
                </a:lnTo>
                <a:lnTo>
                  <a:pt x="426" y="1099"/>
                </a:lnTo>
                <a:lnTo>
                  <a:pt x="436" y="1141"/>
                </a:lnTo>
                <a:lnTo>
                  <a:pt x="499" y="1256"/>
                </a:lnTo>
                <a:lnTo>
                  <a:pt x="499" y="1315"/>
                </a:lnTo>
                <a:lnTo>
                  <a:pt x="479" y="1353"/>
                </a:lnTo>
                <a:lnTo>
                  <a:pt x="470" y="1400"/>
                </a:lnTo>
                <a:lnTo>
                  <a:pt x="529" y="1542"/>
                </a:lnTo>
                <a:lnTo>
                  <a:pt x="552" y="1562"/>
                </a:lnTo>
                <a:lnTo>
                  <a:pt x="566" y="1566"/>
                </a:lnTo>
                <a:lnTo>
                  <a:pt x="575" y="1584"/>
                </a:lnTo>
                <a:lnTo>
                  <a:pt x="595" y="1592"/>
                </a:lnTo>
                <a:lnTo>
                  <a:pt x="608" y="1576"/>
                </a:lnTo>
                <a:lnTo>
                  <a:pt x="618" y="1583"/>
                </a:lnTo>
                <a:lnTo>
                  <a:pt x="630" y="1621"/>
                </a:lnTo>
                <a:lnTo>
                  <a:pt x="676" y="1648"/>
                </a:lnTo>
                <a:lnTo>
                  <a:pt x="729" y="1709"/>
                </a:lnTo>
                <a:lnTo>
                  <a:pt x="746" y="1745"/>
                </a:lnTo>
                <a:lnTo>
                  <a:pt x="746" y="1828"/>
                </a:lnTo>
                <a:lnTo>
                  <a:pt x="779" y="1879"/>
                </a:lnTo>
                <a:lnTo>
                  <a:pt x="756" y="1878"/>
                </a:lnTo>
                <a:lnTo>
                  <a:pt x="748" y="1901"/>
                </a:lnTo>
                <a:lnTo>
                  <a:pt x="759" y="1927"/>
                </a:lnTo>
                <a:lnTo>
                  <a:pt x="729" y="1912"/>
                </a:lnTo>
                <a:lnTo>
                  <a:pt x="699" y="1918"/>
                </a:lnTo>
                <a:lnTo>
                  <a:pt x="651" y="1943"/>
                </a:lnTo>
                <a:lnTo>
                  <a:pt x="631" y="2044"/>
                </a:lnTo>
                <a:lnTo>
                  <a:pt x="371" y="2437"/>
                </a:lnTo>
                <a:lnTo>
                  <a:pt x="343" y="2457"/>
                </a:lnTo>
                <a:lnTo>
                  <a:pt x="324" y="2490"/>
                </a:lnTo>
                <a:lnTo>
                  <a:pt x="310" y="2502"/>
                </a:lnTo>
                <a:lnTo>
                  <a:pt x="291" y="2532"/>
                </a:lnTo>
                <a:lnTo>
                  <a:pt x="231" y="2541"/>
                </a:lnTo>
                <a:lnTo>
                  <a:pt x="206" y="2531"/>
                </a:lnTo>
                <a:lnTo>
                  <a:pt x="187" y="2576"/>
                </a:lnTo>
                <a:lnTo>
                  <a:pt x="212" y="2601"/>
                </a:lnTo>
                <a:lnTo>
                  <a:pt x="201" y="2610"/>
                </a:lnTo>
                <a:lnTo>
                  <a:pt x="148" y="2616"/>
                </a:lnTo>
                <a:lnTo>
                  <a:pt x="150" y="2633"/>
                </a:lnTo>
                <a:lnTo>
                  <a:pt x="142" y="2658"/>
                </a:lnTo>
                <a:lnTo>
                  <a:pt x="122" y="2661"/>
                </a:lnTo>
                <a:lnTo>
                  <a:pt x="112" y="2668"/>
                </a:lnTo>
                <a:lnTo>
                  <a:pt x="86" y="2748"/>
                </a:lnTo>
                <a:lnTo>
                  <a:pt x="102" y="2831"/>
                </a:lnTo>
                <a:lnTo>
                  <a:pt x="115" y="2850"/>
                </a:lnTo>
                <a:lnTo>
                  <a:pt x="127" y="2887"/>
                </a:lnTo>
                <a:lnTo>
                  <a:pt x="117" y="2967"/>
                </a:lnTo>
                <a:lnTo>
                  <a:pt x="131" y="2999"/>
                </a:lnTo>
                <a:lnTo>
                  <a:pt x="157" y="3028"/>
                </a:lnTo>
                <a:lnTo>
                  <a:pt x="172" y="3108"/>
                </a:lnTo>
                <a:lnTo>
                  <a:pt x="186" y="3134"/>
                </a:lnTo>
                <a:lnTo>
                  <a:pt x="203" y="3151"/>
                </a:lnTo>
                <a:lnTo>
                  <a:pt x="206" y="3161"/>
                </a:lnTo>
                <a:lnTo>
                  <a:pt x="190" y="3144"/>
                </a:lnTo>
                <a:lnTo>
                  <a:pt x="173" y="3146"/>
                </a:lnTo>
                <a:lnTo>
                  <a:pt x="163" y="3160"/>
                </a:lnTo>
                <a:lnTo>
                  <a:pt x="168" y="3273"/>
                </a:lnTo>
                <a:lnTo>
                  <a:pt x="153" y="3318"/>
                </a:lnTo>
                <a:lnTo>
                  <a:pt x="143" y="3319"/>
                </a:lnTo>
                <a:lnTo>
                  <a:pt x="133" y="3351"/>
                </a:lnTo>
                <a:lnTo>
                  <a:pt x="146" y="3369"/>
                </a:lnTo>
                <a:lnTo>
                  <a:pt x="147" y="3387"/>
                </a:lnTo>
                <a:lnTo>
                  <a:pt x="142" y="3404"/>
                </a:lnTo>
                <a:lnTo>
                  <a:pt x="148" y="3421"/>
                </a:lnTo>
                <a:lnTo>
                  <a:pt x="173" y="3430"/>
                </a:lnTo>
                <a:lnTo>
                  <a:pt x="169" y="3445"/>
                </a:lnTo>
                <a:lnTo>
                  <a:pt x="152" y="3449"/>
                </a:lnTo>
                <a:lnTo>
                  <a:pt x="156" y="3471"/>
                </a:lnTo>
                <a:lnTo>
                  <a:pt x="202" y="3473"/>
                </a:lnTo>
                <a:lnTo>
                  <a:pt x="256" y="3516"/>
                </a:lnTo>
                <a:lnTo>
                  <a:pt x="350" y="3545"/>
                </a:lnTo>
                <a:lnTo>
                  <a:pt x="358" y="3560"/>
                </a:lnTo>
                <a:lnTo>
                  <a:pt x="352" y="3585"/>
                </a:lnTo>
                <a:lnTo>
                  <a:pt x="378" y="3602"/>
                </a:lnTo>
                <a:lnTo>
                  <a:pt x="426" y="3570"/>
                </a:lnTo>
                <a:lnTo>
                  <a:pt x="432" y="3588"/>
                </a:lnTo>
                <a:lnTo>
                  <a:pt x="432" y="3628"/>
                </a:lnTo>
                <a:lnTo>
                  <a:pt x="464" y="3674"/>
                </a:lnTo>
                <a:lnTo>
                  <a:pt x="461" y="3696"/>
                </a:lnTo>
                <a:lnTo>
                  <a:pt x="487" y="3707"/>
                </a:lnTo>
                <a:lnTo>
                  <a:pt x="477" y="3727"/>
                </a:lnTo>
                <a:lnTo>
                  <a:pt x="447" y="3753"/>
                </a:lnTo>
                <a:lnTo>
                  <a:pt x="463" y="3757"/>
                </a:lnTo>
                <a:lnTo>
                  <a:pt x="497" y="3737"/>
                </a:lnTo>
                <a:lnTo>
                  <a:pt x="530" y="3670"/>
                </a:lnTo>
                <a:lnTo>
                  <a:pt x="537" y="3676"/>
                </a:lnTo>
                <a:lnTo>
                  <a:pt x="537" y="3708"/>
                </a:lnTo>
                <a:lnTo>
                  <a:pt x="556" y="3714"/>
                </a:lnTo>
                <a:lnTo>
                  <a:pt x="632" y="3668"/>
                </a:lnTo>
                <a:lnTo>
                  <a:pt x="658" y="3667"/>
                </a:lnTo>
                <a:lnTo>
                  <a:pt x="681" y="3655"/>
                </a:lnTo>
                <a:lnTo>
                  <a:pt x="697" y="3668"/>
                </a:lnTo>
                <a:lnTo>
                  <a:pt x="706" y="3670"/>
                </a:lnTo>
                <a:lnTo>
                  <a:pt x="761" y="3611"/>
                </a:lnTo>
                <a:lnTo>
                  <a:pt x="786" y="3604"/>
                </a:lnTo>
                <a:lnTo>
                  <a:pt x="810" y="3614"/>
                </a:lnTo>
                <a:lnTo>
                  <a:pt x="859" y="3577"/>
                </a:lnTo>
                <a:lnTo>
                  <a:pt x="889" y="3572"/>
                </a:lnTo>
                <a:lnTo>
                  <a:pt x="911" y="3524"/>
                </a:lnTo>
                <a:lnTo>
                  <a:pt x="927" y="3555"/>
                </a:lnTo>
                <a:lnTo>
                  <a:pt x="987" y="3526"/>
                </a:lnTo>
                <a:lnTo>
                  <a:pt x="975" y="3495"/>
                </a:lnTo>
                <a:lnTo>
                  <a:pt x="983" y="3504"/>
                </a:lnTo>
                <a:lnTo>
                  <a:pt x="1011" y="3512"/>
                </a:lnTo>
                <a:lnTo>
                  <a:pt x="1029" y="3508"/>
                </a:lnTo>
                <a:lnTo>
                  <a:pt x="1049" y="3489"/>
                </a:lnTo>
                <a:lnTo>
                  <a:pt x="1108" y="3479"/>
                </a:lnTo>
                <a:lnTo>
                  <a:pt x="1176" y="3439"/>
                </a:lnTo>
                <a:lnTo>
                  <a:pt x="1206" y="3455"/>
                </a:lnTo>
                <a:lnTo>
                  <a:pt x="1266" y="3456"/>
                </a:lnTo>
                <a:lnTo>
                  <a:pt x="1280" y="3442"/>
                </a:lnTo>
                <a:lnTo>
                  <a:pt x="1290" y="3424"/>
                </a:lnTo>
                <a:lnTo>
                  <a:pt x="1292" y="3429"/>
                </a:lnTo>
                <a:lnTo>
                  <a:pt x="1768" y="2762"/>
                </a:lnTo>
                <a:lnTo>
                  <a:pt x="1830" y="2573"/>
                </a:lnTo>
                <a:lnTo>
                  <a:pt x="1812" y="2457"/>
                </a:lnTo>
                <a:lnTo>
                  <a:pt x="1800" y="2474"/>
                </a:lnTo>
                <a:lnTo>
                  <a:pt x="1761" y="2429"/>
                </a:lnTo>
                <a:lnTo>
                  <a:pt x="1741" y="2381"/>
                </a:lnTo>
                <a:lnTo>
                  <a:pt x="1641" y="2326"/>
                </a:lnTo>
                <a:lnTo>
                  <a:pt x="1611" y="2296"/>
                </a:lnTo>
                <a:lnTo>
                  <a:pt x="1583" y="2243"/>
                </a:lnTo>
                <a:lnTo>
                  <a:pt x="1589" y="2195"/>
                </a:lnTo>
                <a:lnTo>
                  <a:pt x="1612" y="2146"/>
                </a:lnTo>
                <a:lnTo>
                  <a:pt x="1621" y="2091"/>
                </a:lnTo>
                <a:lnTo>
                  <a:pt x="1608" y="2039"/>
                </a:lnTo>
                <a:lnTo>
                  <a:pt x="1555" y="2004"/>
                </a:lnTo>
                <a:lnTo>
                  <a:pt x="1528" y="1958"/>
                </a:lnTo>
                <a:lnTo>
                  <a:pt x="1524" y="1902"/>
                </a:lnTo>
                <a:lnTo>
                  <a:pt x="1493" y="1856"/>
                </a:lnTo>
                <a:lnTo>
                  <a:pt x="1447" y="1852"/>
                </a:lnTo>
                <a:lnTo>
                  <a:pt x="1436" y="1794"/>
                </a:lnTo>
                <a:lnTo>
                  <a:pt x="1448" y="1760"/>
                </a:lnTo>
                <a:lnTo>
                  <a:pt x="1436" y="1710"/>
                </a:lnTo>
                <a:lnTo>
                  <a:pt x="1423" y="1685"/>
                </a:lnTo>
                <a:lnTo>
                  <a:pt x="1424" y="1578"/>
                </a:lnTo>
                <a:lnTo>
                  <a:pt x="1459" y="1538"/>
                </a:lnTo>
                <a:lnTo>
                  <a:pt x="1266" y="1164"/>
                </a:lnTo>
                <a:lnTo>
                  <a:pt x="1254" y="1110"/>
                </a:lnTo>
                <a:lnTo>
                  <a:pt x="1328" y="858"/>
                </a:lnTo>
                <a:lnTo>
                  <a:pt x="1312" y="804"/>
                </a:lnTo>
                <a:lnTo>
                  <a:pt x="1219" y="686"/>
                </a:lnTo>
                <a:lnTo>
                  <a:pt x="1179" y="671"/>
                </a:lnTo>
                <a:lnTo>
                  <a:pt x="1143" y="671"/>
                </a:lnTo>
                <a:lnTo>
                  <a:pt x="1118" y="657"/>
                </a:lnTo>
                <a:lnTo>
                  <a:pt x="1102" y="640"/>
                </a:lnTo>
                <a:lnTo>
                  <a:pt x="1069" y="534"/>
                </a:lnTo>
                <a:lnTo>
                  <a:pt x="1088" y="438"/>
                </a:lnTo>
                <a:lnTo>
                  <a:pt x="1084" y="428"/>
                </a:lnTo>
                <a:lnTo>
                  <a:pt x="1061" y="419"/>
                </a:lnTo>
                <a:lnTo>
                  <a:pt x="1123" y="344"/>
                </a:lnTo>
                <a:lnTo>
                  <a:pt x="1097" y="330"/>
                </a:lnTo>
                <a:lnTo>
                  <a:pt x="1092" y="304"/>
                </a:lnTo>
                <a:lnTo>
                  <a:pt x="1096" y="274"/>
                </a:lnTo>
                <a:lnTo>
                  <a:pt x="1136" y="212"/>
                </a:lnTo>
                <a:lnTo>
                  <a:pt x="1100" y="114"/>
                </a:lnTo>
                <a:lnTo>
                  <a:pt x="1053" y="80"/>
                </a:lnTo>
                <a:lnTo>
                  <a:pt x="1010" y="69"/>
                </a:lnTo>
                <a:lnTo>
                  <a:pt x="982" y="53"/>
                </a:lnTo>
                <a:lnTo>
                  <a:pt x="954" y="10"/>
                </a:lnTo>
                <a:lnTo>
                  <a:pt x="940" y="0"/>
                </a:lnTo>
                <a:lnTo>
                  <a:pt x="804" y="66"/>
                </a:lnTo>
                <a:lnTo>
                  <a:pt x="747" y="77"/>
                </a:lnTo>
                <a:lnTo>
                  <a:pt x="719" y="97"/>
                </a:lnTo>
                <a:lnTo>
                  <a:pt x="697" y="128"/>
                </a:lnTo>
                <a:lnTo>
                  <a:pt x="674" y="204"/>
                </a:lnTo>
                <a:lnTo>
                  <a:pt x="684" y="418"/>
                </a:lnTo>
                <a:lnTo>
                  <a:pt x="627" y="468"/>
                </a:lnTo>
                <a:lnTo>
                  <a:pt x="608" y="502"/>
                </a:lnTo>
                <a:lnTo>
                  <a:pt x="543" y="547"/>
                </a:lnTo>
                <a:lnTo>
                  <a:pt x="517" y="542"/>
                </a:lnTo>
                <a:lnTo>
                  <a:pt x="483" y="492"/>
                </a:lnTo>
                <a:lnTo>
                  <a:pt x="460" y="477"/>
                </a:lnTo>
                <a:lnTo>
                  <a:pt x="419" y="527"/>
                </a:lnTo>
                <a:lnTo>
                  <a:pt x="385" y="550"/>
                </a:lnTo>
                <a:lnTo>
                  <a:pt x="355" y="555"/>
                </a:lnTo>
                <a:lnTo>
                  <a:pt x="317" y="537"/>
                </a:lnTo>
                <a:lnTo>
                  <a:pt x="255" y="530"/>
                </a:lnTo>
                <a:lnTo>
                  <a:pt x="240" y="511"/>
                </a:lnTo>
                <a:lnTo>
                  <a:pt x="227" y="466"/>
                </a:lnTo>
                <a:lnTo>
                  <a:pt x="123" y="338"/>
                </a:lnTo>
                <a:lnTo>
                  <a:pt x="89" y="325"/>
                </a:lnTo>
                <a:lnTo>
                  <a:pt x="59" y="341"/>
                </a:lnTo>
                <a:lnTo>
                  <a:pt x="70" y="397"/>
                </a:lnTo>
                <a:lnTo>
                  <a:pt x="47" y="406"/>
                </a:lnTo>
                <a:lnTo>
                  <a:pt x="28" y="397"/>
                </a:lnTo>
                <a:lnTo>
                  <a:pt x="8" y="404"/>
                </a:lnTo>
                <a:lnTo>
                  <a:pt x="0" y="423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7" name="Freeform 170">
            <a:extLst>
              <a:ext uri="{FF2B5EF4-FFF2-40B4-BE49-F238E27FC236}">
                <a16:creationId xmlns:a16="http://schemas.microsoft.com/office/drawing/2014/main" id="{5E6AB092-4A42-40AB-8188-CC8429AE3ECE}"/>
              </a:ext>
            </a:extLst>
          </p:cNvPr>
          <p:cNvSpPr>
            <a:spLocks/>
          </p:cNvSpPr>
          <p:nvPr/>
        </p:nvSpPr>
        <p:spPr bwMode="auto">
          <a:xfrm rot="21249101">
            <a:off x="6322980" y="4511154"/>
            <a:ext cx="1244340" cy="1296036"/>
          </a:xfrm>
          <a:custGeom>
            <a:avLst/>
            <a:gdLst>
              <a:gd name="T0" fmla="*/ 2147483647 w 2978"/>
              <a:gd name="T1" fmla="*/ 2147483647 h 3382"/>
              <a:gd name="T2" fmla="*/ 2147483647 w 2978"/>
              <a:gd name="T3" fmla="*/ 2147483647 h 3382"/>
              <a:gd name="T4" fmla="*/ 2147483647 w 2978"/>
              <a:gd name="T5" fmla="*/ 2147483647 h 3382"/>
              <a:gd name="T6" fmla="*/ 2147483647 w 2978"/>
              <a:gd name="T7" fmla="*/ 2147483647 h 3382"/>
              <a:gd name="T8" fmla="*/ 2147483647 w 2978"/>
              <a:gd name="T9" fmla="*/ 2147483647 h 3382"/>
              <a:gd name="T10" fmla="*/ 2147483647 w 2978"/>
              <a:gd name="T11" fmla="*/ 2147483647 h 3382"/>
              <a:gd name="T12" fmla="*/ 2147483647 w 2978"/>
              <a:gd name="T13" fmla="*/ 2147483647 h 3382"/>
              <a:gd name="T14" fmla="*/ 2147483647 w 2978"/>
              <a:gd name="T15" fmla="*/ 2147483647 h 3382"/>
              <a:gd name="T16" fmla="*/ 2147483647 w 2978"/>
              <a:gd name="T17" fmla="*/ 2147483647 h 3382"/>
              <a:gd name="T18" fmla="*/ 2147483647 w 2978"/>
              <a:gd name="T19" fmla="*/ 2147483647 h 3382"/>
              <a:gd name="T20" fmla="*/ 2147483647 w 2978"/>
              <a:gd name="T21" fmla="*/ 2147483647 h 3382"/>
              <a:gd name="T22" fmla="*/ 2147483647 w 2978"/>
              <a:gd name="T23" fmla="*/ 2147483647 h 3382"/>
              <a:gd name="T24" fmla="*/ 2147483647 w 2978"/>
              <a:gd name="T25" fmla="*/ 2147483647 h 3382"/>
              <a:gd name="T26" fmla="*/ 2147483647 w 2978"/>
              <a:gd name="T27" fmla="*/ 2147483647 h 3382"/>
              <a:gd name="T28" fmla="*/ 2147483647 w 2978"/>
              <a:gd name="T29" fmla="*/ 2147483647 h 3382"/>
              <a:gd name="T30" fmla="*/ 2147483647 w 2978"/>
              <a:gd name="T31" fmla="*/ 2147483647 h 3382"/>
              <a:gd name="T32" fmla="*/ 2147483647 w 2978"/>
              <a:gd name="T33" fmla="*/ 2147483647 h 3382"/>
              <a:gd name="T34" fmla="*/ 2147483647 w 2978"/>
              <a:gd name="T35" fmla="*/ 2147483647 h 3382"/>
              <a:gd name="T36" fmla="*/ 2147483647 w 2978"/>
              <a:gd name="T37" fmla="*/ 2147483647 h 3382"/>
              <a:gd name="T38" fmla="*/ 2147483647 w 2978"/>
              <a:gd name="T39" fmla="*/ 2147483647 h 3382"/>
              <a:gd name="T40" fmla="*/ 2147483647 w 2978"/>
              <a:gd name="T41" fmla="*/ 2147483647 h 3382"/>
              <a:gd name="T42" fmla="*/ 2147483647 w 2978"/>
              <a:gd name="T43" fmla="*/ 2147483647 h 3382"/>
              <a:gd name="T44" fmla="*/ 2147483647 w 2978"/>
              <a:gd name="T45" fmla="*/ 2147483647 h 3382"/>
              <a:gd name="T46" fmla="*/ 2147483647 w 2978"/>
              <a:gd name="T47" fmla="*/ 2147483647 h 3382"/>
              <a:gd name="T48" fmla="*/ 2147483647 w 2978"/>
              <a:gd name="T49" fmla="*/ 2147483647 h 3382"/>
              <a:gd name="T50" fmla="*/ 2147483647 w 2978"/>
              <a:gd name="T51" fmla="*/ 2147483647 h 3382"/>
              <a:gd name="T52" fmla="*/ 2147483647 w 2978"/>
              <a:gd name="T53" fmla="*/ 2147483647 h 3382"/>
              <a:gd name="T54" fmla="*/ 2147483647 w 2978"/>
              <a:gd name="T55" fmla="*/ 2147483647 h 3382"/>
              <a:gd name="T56" fmla="*/ 2147483647 w 2978"/>
              <a:gd name="T57" fmla="*/ 2147483647 h 3382"/>
              <a:gd name="T58" fmla="*/ 2147483647 w 2978"/>
              <a:gd name="T59" fmla="*/ 2147483647 h 3382"/>
              <a:gd name="T60" fmla="*/ 2147483647 w 2978"/>
              <a:gd name="T61" fmla="*/ 2147483647 h 3382"/>
              <a:gd name="T62" fmla="*/ 2147483647 w 2978"/>
              <a:gd name="T63" fmla="*/ 2147483647 h 3382"/>
              <a:gd name="T64" fmla="*/ 2147483647 w 2978"/>
              <a:gd name="T65" fmla="*/ 2147483647 h 3382"/>
              <a:gd name="T66" fmla="*/ 2147483647 w 2978"/>
              <a:gd name="T67" fmla="*/ 2147483647 h 3382"/>
              <a:gd name="T68" fmla="*/ 2147483647 w 2978"/>
              <a:gd name="T69" fmla="*/ 2147483647 h 3382"/>
              <a:gd name="T70" fmla="*/ 2147483647 w 2978"/>
              <a:gd name="T71" fmla="*/ 2147483647 h 3382"/>
              <a:gd name="T72" fmla="*/ 2147483647 w 2978"/>
              <a:gd name="T73" fmla="*/ 2147483647 h 3382"/>
              <a:gd name="T74" fmla="*/ 2147483647 w 2978"/>
              <a:gd name="T75" fmla="*/ 2147483647 h 3382"/>
              <a:gd name="T76" fmla="*/ 2147483647 w 2978"/>
              <a:gd name="T77" fmla="*/ 2147483647 h 3382"/>
              <a:gd name="T78" fmla="*/ 2147483647 w 2978"/>
              <a:gd name="T79" fmla="*/ 2147483647 h 3382"/>
              <a:gd name="T80" fmla="*/ 2147483647 w 2978"/>
              <a:gd name="T81" fmla="*/ 2147483647 h 3382"/>
              <a:gd name="T82" fmla="*/ 2147483647 w 2978"/>
              <a:gd name="T83" fmla="*/ 2147483647 h 3382"/>
              <a:gd name="T84" fmla="*/ 2147483647 w 2978"/>
              <a:gd name="T85" fmla="*/ 2147483647 h 3382"/>
              <a:gd name="T86" fmla="*/ 2147483647 w 2978"/>
              <a:gd name="T87" fmla="*/ 2147483647 h 3382"/>
              <a:gd name="T88" fmla="*/ 2147483647 w 2978"/>
              <a:gd name="T89" fmla="*/ 2147483647 h 3382"/>
              <a:gd name="T90" fmla="*/ 2147483647 w 2978"/>
              <a:gd name="T91" fmla="*/ 2147483647 h 3382"/>
              <a:gd name="T92" fmla="*/ 2147483647 w 2978"/>
              <a:gd name="T93" fmla="*/ 2147483647 h 3382"/>
              <a:gd name="T94" fmla="*/ 2147483647 w 2978"/>
              <a:gd name="T95" fmla="*/ 2147483647 h 3382"/>
              <a:gd name="T96" fmla="*/ 2147483647 w 2978"/>
              <a:gd name="T97" fmla="*/ 2147483647 h 3382"/>
              <a:gd name="T98" fmla="*/ 2147483647 w 2978"/>
              <a:gd name="T99" fmla="*/ 2147483647 h 3382"/>
              <a:gd name="T100" fmla="*/ 2147483647 w 2978"/>
              <a:gd name="T101" fmla="*/ 2147483647 h 3382"/>
              <a:gd name="T102" fmla="*/ 2147483647 w 2978"/>
              <a:gd name="T103" fmla="*/ 2147483647 h 3382"/>
              <a:gd name="T104" fmla="*/ 2147483647 w 2978"/>
              <a:gd name="T105" fmla="*/ 2147483647 h 3382"/>
              <a:gd name="T106" fmla="*/ 2147483647 w 2978"/>
              <a:gd name="T107" fmla="*/ 2147483647 h 3382"/>
              <a:gd name="T108" fmla="*/ 2147483647 w 2978"/>
              <a:gd name="T109" fmla="*/ 2147483647 h 3382"/>
              <a:gd name="T110" fmla="*/ 2147483647 w 2978"/>
              <a:gd name="T111" fmla="*/ 2147483647 h 3382"/>
              <a:gd name="T112" fmla="*/ 2147483647 w 2978"/>
              <a:gd name="T113" fmla="*/ 2147483647 h 3382"/>
              <a:gd name="T114" fmla="*/ 2147483647 w 2978"/>
              <a:gd name="T115" fmla="*/ 2147483647 h 3382"/>
              <a:gd name="T116" fmla="*/ 2147483647 w 2978"/>
              <a:gd name="T117" fmla="*/ 2147483647 h 3382"/>
              <a:gd name="T118" fmla="*/ 2147483647 w 2978"/>
              <a:gd name="T119" fmla="*/ 2147483647 h 3382"/>
              <a:gd name="T120" fmla="*/ 2147483647 w 2978"/>
              <a:gd name="T121" fmla="*/ 0 h 3382"/>
              <a:gd name="T122" fmla="*/ 2147483647 w 2978"/>
              <a:gd name="T123" fmla="*/ 2147483647 h 338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978"/>
              <a:gd name="T187" fmla="*/ 0 h 3382"/>
              <a:gd name="T188" fmla="*/ 2978 w 2978"/>
              <a:gd name="T189" fmla="*/ 3382 h 338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978" h="3382">
                <a:moveTo>
                  <a:pt x="1022" y="30"/>
                </a:moveTo>
                <a:lnTo>
                  <a:pt x="1001" y="77"/>
                </a:lnTo>
                <a:lnTo>
                  <a:pt x="1000" y="107"/>
                </a:lnTo>
                <a:lnTo>
                  <a:pt x="980" y="119"/>
                </a:lnTo>
                <a:lnTo>
                  <a:pt x="931" y="115"/>
                </a:lnTo>
                <a:lnTo>
                  <a:pt x="918" y="143"/>
                </a:lnTo>
                <a:lnTo>
                  <a:pt x="919" y="176"/>
                </a:lnTo>
                <a:lnTo>
                  <a:pt x="930" y="205"/>
                </a:lnTo>
                <a:lnTo>
                  <a:pt x="919" y="224"/>
                </a:lnTo>
                <a:lnTo>
                  <a:pt x="777" y="183"/>
                </a:lnTo>
                <a:lnTo>
                  <a:pt x="752" y="154"/>
                </a:lnTo>
                <a:lnTo>
                  <a:pt x="721" y="134"/>
                </a:lnTo>
                <a:lnTo>
                  <a:pt x="704" y="182"/>
                </a:lnTo>
                <a:lnTo>
                  <a:pt x="644" y="263"/>
                </a:lnTo>
                <a:lnTo>
                  <a:pt x="629" y="305"/>
                </a:lnTo>
                <a:lnTo>
                  <a:pt x="615" y="323"/>
                </a:lnTo>
                <a:lnTo>
                  <a:pt x="586" y="299"/>
                </a:lnTo>
                <a:lnTo>
                  <a:pt x="565" y="258"/>
                </a:lnTo>
                <a:lnTo>
                  <a:pt x="518" y="213"/>
                </a:lnTo>
                <a:lnTo>
                  <a:pt x="503" y="121"/>
                </a:lnTo>
                <a:lnTo>
                  <a:pt x="450" y="141"/>
                </a:lnTo>
                <a:lnTo>
                  <a:pt x="418" y="172"/>
                </a:lnTo>
                <a:lnTo>
                  <a:pt x="411" y="213"/>
                </a:lnTo>
                <a:lnTo>
                  <a:pt x="335" y="266"/>
                </a:lnTo>
                <a:lnTo>
                  <a:pt x="74" y="252"/>
                </a:lnTo>
                <a:lnTo>
                  <a:pt x="67" y="274"/>
                </a:lnTo>
                <a:lnTo>
                  <a:pt x="102" y="471"/>
                </a:lnTo>
                <a:lnTo>
                  <a:pt x="46" y="499"/>
                </a:lnTo>
                <a:lnTo>
                  <a:pt x="16" y="526"/>
                </a:lnTo>
                <a:lnTo>
                  <a:pt x="1" y="563"/>
                </a:lnTo>
                <a:lnTo>
                  <a:pt x="0" y="586"/>
                </a:lnTo>
                <a:lnTo>
                  <a:pt x="5" y="607"/>
                </a:lnTo>
                <a:lnTo>
                  <a:pt x="42" y="629"/>
                </a:lnTo>
                <a:lnTo>
                  <a:pt x="39" y="665"/>
                </a:lnTo>
                <a:lnTo>
                  <a:pt x="23" y="708"/>
                </a:lnTo>
                <a:lnTo>
                  <a:pt x="23" y="813"/>
                </a:lnTo>
                <a:lnTo>
                  <a:pt x="44" y="858"/>
                </a:lnTo>
                <a:lnTo>
                  <a:pt x="158" y="891"/>
                </a:lnTo>
                <a:lnTo>
                  <a:pt x="166" y="931"/>
                </a:lnTo>
                <a:lnTo>
                  <a:pt x="161" y="971"/>
                </a:lnTo>
                <a:lnTo>
                  <a:pt x="147" y="1001"/>
                </a:lnTo>
                <a:lnTo>
                  <a:pt x="147" y="1018"/>
                </a:lnTo>
                <a:lnTo>
                  <a:pt x="230" y="1029"/>
                </a:lnTo>
                <a:lnTo>
                  <a:pt x="310" y="1006"/>
                </a:lnTo>
                <a:lnTo>
                  <a:pt x="323" y="974"/>
                </a:lnTo>
                <a:lnTo>
                  <a:pt x="375" y="917"/>
                </a:lnTo>
                <a:lnTo>
                  <a:pt x="400" y="909"/>
                </a:lnTo>
                <a:lnTo>
                  <a:pt x="413" y="882"/>
                </a:lnTo>
                <a:lnTo>
                  <a:pt x="500" y="857"/>
                </a:lnTo>
                <a:lnTo>
                  <a:pt x="584" y="880"/>
                </a:lnTo>
                <a:lnTo>
                  <a:pt x="836" y="1063"/>
                </a:lnTo>
                <a:lnTo>
                  <a:pt x="901" y="1375"/>
                </a:lnTo>
                <a:lnTo>
                  <a:pt x="893" y="1410"/>
                </a:lnTo>
                <a:lnTo>
                  <a:pt x="1022" y="1585"/>
                </a:lnTo>
                <a:lnTo>
                  <a:pt x="1031" y="1661"/>
                </a:lnTo>
                <a:lnTo>
                  <a:pt x="1070" y="1650"/>
                </a:lnTo>
                <a:lnTo>
                  <a:pt x="1107" y="1654"/>
                </a:lnTo>
                <a:lnTo>
                  <a:pt x="1147" y="1695"/>
                </a:lnTo>
                <a:lnTo>
                  <a:pt x="1205" y="1801"/>
                </a:lnTo>
                <a:lnTo>
                  <a:pt x="1252" y="1813"/>
                </a:lnTo>
                <a:lnTo>
                  <a:pt x="1501" y="2122"/>
                </a:lnTo>
                <a:lnTo>
                  <a:pt x="1528" y="2115"/>
                </a:lnTo>
                <a:lnTo>
                  <a:pt x="1690" y="2144"/>
                </a:lnTo>
                <a:lnTo>
                  <a:pt x="1755" y="2233"/>
                </a:lnTo>
                <a:lnTo>
                  <a:pt x="1773" y="2286"/>
                </a:lnTo>
                <a:lnTo>
                  <a:pt x="1852" y="2325"/>
                </a:lnTo>
                <a:lnTo>
                  <a:pt x="1858" y="2341"/>
                </a:lnTo>
                <a:lnTo>
                  <a:pt x="1849" y="2380"/>
                </a:lnTo>
                <a:lnTo>
                  <a:pt x="1945" y="2371"/>
                </a:lnTo>
                <a:lnTo>
                  <a:pt x="1971" y="2379"/>
                </a:lnTo>
                <a:lnTo>
                  <a:pt x="1992" y="2411"/>
                </a:lnTo>
                <a:lnTo>
                  <a:pt x="2007" y="2467"/>
                </a:lnTo>
                <a:lnTo>
                  <a:pt x="1995" y="2503"/>
                </a:lnTo>
                <a:lnTo>
                  <a:pt x="2017" y="2541"/>
                </a:lnTo>
                <a:lnTo>
                  <a:pt x="2074" y="2569"/>
                </a:lnTo>
                <a:lnTo>
                  <a:pt x="2123" y="2633"/>
                </a:lnTo>
                <a:lnTo>
                  <a:pt x="2150" y="2588"/>
                </a:lnTo>
                <a:lnTo>
                  <a:pt x="2177" y="2590"/>
                </a:lnTo>
                <a:lnTo>
                  <a:pt x="2329" y="3058"/>
                </a:lnTo>
                <a:lnTo>
                  <a:pt x="2213" y="3115"/>
                </a:lnTo>
                <a:lnTo>
                  <a:pt x="2229" y="3172"/>
                </a:lnTo>
                <a:lnTo>
                  <a:pt x="2167" y="3276"/>
                </a:lnTo>
                <a:lnTo>
                  <a:pt x="2166" y="3338"/>
                </a:lnTo>
                <a:lnTo>
                  <a:pt x="2177" y="3378"/>
                </a:lnTo>
                <a:lnTo>
                  <a:pt x="2184" y="3368"/>
                </a:lnTo>
                <a:lnTo>
                  <a:pt x="2181" y="3381"/>
                </a:lnTo>
                <a:lnTo>
                  <a:pt x="2261" y="3382"/>
                </a:lnTo>
                <a:lnTo>
                  <a:pt x="2277" y="3369"/>
                </a:lnTo>
                <a:lnTo>
                  <a:pt x="2339" y="3263"/>
                </a:lnTo>
                <a:lnTo>
                  <a:pt x="2375" y="3233"/>
                </a:lnTo>
                <a:lnTo>
                  <a:pt x="2410" y="3225"/>
                </a:lnTo>
                <a:lnTo>
                  <a:pt x="2424" y="3194"/>
                </a:lnTo>
                <a:lnTo>
                  <a:pt x="2432" y="3079"/>
                </a:lnTo>
                <a:lnTo>
                  <a:pt x="2449" y="3055"/>
                </a:lnTo>
                <a:lnTo>
                  <a:pt x="2544" y="3017"/>
                </a:lnTo>
                <a:lnTo>
                  <a:pt x="2569" y="3018"/>
                </a:lnTo>
                <a:lnTo>
                  <a:pt x="2579" y="2998"/>
                </a:lnTo>
                <a:lnTo>
                  <a:pt x="2575" y="2849"/>
                </a:lnTo>
                <a:lnTo>
                  <a:pt x="2554" y="2823"/>
                </a:lnTo>
                <a:lnTo>
                  <a:pt x="2505" y="2793"/>
                </a:lnTo>
                <a:lnTo>
                  <a:pt x="2482" y="2758"/>
                </a:lnTo>
                <a:lnTo>
                  <a:pt x="2428" y="2732"/>
                </a:lnTo>
                <a:lnTo>
                  <a:pt x="2461" y="2584"/>
                </a:lnTo>
                <a:lnTo>
                  <a:pt x="2568" y="2462"/>
                </a:lnTo>
                <a:lnTo>
                  <a:pt x="2622" y="2455"/>
                </a:lnTo>
                <a:lnTo>
                  <a:pt x="2703" y="2519"/>
                </a:lnTo>
                <a:lnTo>
                  <a:pt x="2828" y="2571"/>
                </a:lnTo>
                <a:lnTo>
                  <a:pt x="2881" y="2676"/>
                </a:lnTo>
                <a:lnTo>
                  <a:pt x="2936" y="2708"/>
                </a:lnTo>
                <a:lnTo>
                  <a:pt x="2936" y="2695"/>
                </a:lnTo>
                <a:lnTo>
                  <a:pt x="2978" y="2618"/>
                </a:lnTo>
                <a:lnTo>
                  <a:pt x="2832" y="2386"/>
                </a:lnTo>
                <a:lnTo>
                  <a:pt x="2654" y="2314"/>
                </a:lnTo>
                <a:lnTo>
                  <a:pt x="2617" y="2266"/>
                </a:lnTo>
                <a:lnTo>
                  <a:pt x="2314" y="2110"/>
                </a:lnTo>
                <a:lnTo>
                  <a:pt x="2293" y="2109"/>
                </a:lnTo>
                <a:lnTo>
                  <a:pt x="2279" y="2086"/>
                </a:lnTo>
                <a:lnTo>
                  <a:pt x="2281" y="2060"/>
                </a:lnTo>
                <a:lnTo>
                  <a:pt x="2313" y="2028"/>
                </a:lnTo>
                <a:lnTo>
                  <a:pt x="2351" y="2007"/>
                </a:lnTo>
                <a:lnTo>
                  <a:pt x="2357" y="1962"/>
                </a:lnTo>
                <a:lnTo>
                  <a:pt x="2327" y="1918"/>
                </a:lnTo>
                <a:lnTo>
                  <a:pt x="2276" y="1921"/>
                </a:lnTo>
                <a:lnTo>
                  <a:pt x="2255" y="1933"/>
                </a:lnTo>
                <a:lnTo>
                  <a:pt x="2294" y="1922"/>
                </a:lnTo>
                <a:lnTo>
                  <a:pt x="2257" y="1933"/>
                </a:lnTo>
                <a:lnTo>
                  <a:pt x="2106" y="1925"/>
                </a:lnTo>
                <a:lnTo>
                  <a:pt x="2100" y="1963"/>
                </a:lnTo>
                <a:lnTo>
                  <a:pt x="1994" y="1855"/>
                </a:lnTo>
                <a:lnTo>
                  <a:pt x="1969" y="1850"/>
                </a:lnTo>
                <a:lnTo>
                  <a:pt x="1960" y="1810"/>
                </a:lnTo>
                <a:lnTo>
                  <a:pt x="1940" y="1809"/>
                </a:lnTo>
                <a:lnTo>
                  <a:pt x="1821" y="1662"/>
                </a:lnTo>
                <a:lnTo>
                  <a:pt x="1769" y="1501"/>
                </a:lnTo>
                <a:lnTo>
                  <a:pt x="1753" y="1476"/>
                </a:lnTo>
                <a:lnTo>
                  <a:pt x="1701" y="1286"/>
                </a:lnTo>
                <a:lnTo>
                  <a:pt x="1682" y="1269"/>
                </a:lnTo>
                <a:lnTo>
                  <a:pt x="1653" y="1267"/>
                </a:lnTo>
                <a:lnTo>
                  <a:pt x="1646" y="1249"/>
                </a:lnTo>
                <a:lnTo>
                  <a:pt x="1458" y="1105"/>
                </a:lnTo>
                <a:lnTo>
                  <a:pt x="1411" y="1021"/>
                </a:lnTo>
                <a:lnTo>
                  <a:pt x="1401" y="977"/>
                </a:lnTo>
                <a:lnTo>
                  <a:pt x="1425" y="813"/>
                </a:lnTo>
                <a:lnTo>
                  <a:pt x="1456" y="793"/>
                </a:lnTo>
                <a:lnTo>
                  <a:pt x="1465" y="763"/>
                </a:lnTo>
                <a:lnTo>
                  <a:pt x="1454" y="731"/>
                </a:lnTo>
                <a:lnTo>
                  <a:pt x="1421" y="716"/>
                </a:lnTo>
                <a:lnTo>
                  <a:pt x="1417" y="645"/>
                </a:lnTo>
                <a:lnTo>
                  <a:pt x="1428" y="613"/>
                </a:lnTo>
                <a:lnTo>
                  <a:pt x="1482" y="579"/>
                </a:lnTo>
                <a:lnTo>
                  <a:pt x="1499" y="580"/>
                </a:lnTo>
                <a:lnTo>
                  <a:pt x="1504" y="588"/>
                </a:lnTo>
                <a:lnTo>
                  <a:pt x="1685" y="518"/>
                </a:lnTo>
                <a:lnTo>
                  <a:pt x="1727" y="533"/>
                </a:lnTo>
                <a:lnTo>
                  <a:pt x="1769" y="515"/>
                </a:lnTo>
                <a:lnTo>
                  <a:pt x="1802" y="524"/>
                </a:lnTo>
                <a:lnTo>
                  <a:pt x="1803" y="551"/>
                </a:lnTo>
                <a:lnTo>
                  <a:pt x="1783" y="583"/>
                </a:lnTo>
                <a:lnTo>
                  <a:pt x="1783" y="591"/>
                </a:lnTo>
                <a:lnTo>
                  <a:pt x="1805" y="599"/>
                </a:lnTo>
                <a:lnTo>
                  <a:pt x="1830" y="595"/>
                </a:lnTo>
                <a:lnTo>
                  <a:pt x="1848" y="582"/>
                </a:lnTo>
                <a:lnTo>
                  <a:pt x="1855" y="563"/>
                </a:lnTo>
                <a:lnTo>
                  <a:pt x="1846" y="543"/>
                </a:lnTo>
                <a:lnTo>
                  <a:pt x="1830" y="534"/>
                </a:lnTo>
                <a:lnTo>
                  <a:pt x="1820" y="510"/>
                </a:lnTo>
                <a:lnTo>
                  <a:pt x="1785" y="491"/>
                </a:lnTo>
                <a:lnTo>
                  <a:pt x="1776" y="479"/>
                </a:lnTo>
                <a:lnTo>
                  <a:pt x="1778" y="443"/>
                </a:lnTo>
                <a:lnTo>
                  <a:pt x="1758" y="413"/>
                </a:lnTo>
                <a:lnTo>
                  <a:pt x="1781" y="345"/>
                </a:lnTo>
                <a:lnTo>
                  <a:pt x="1755" y="349"/>
                </a:lnTo>
                <a:lnTo>
                  <a:pt x="1745" y="339"/>
                </a:lnTo>
                <a:lnTo>
                  <a:pt x="1747" y="318"/>
                </a:lnTo>
                <a:lnTo>
                  <a:pt x="1764" y="286"/>
                </a:lnTo>
                <a:lnTo>
                  <a:pt x="1814" y="246"/>
                </a:lnTo>
                <a:lnTo>
                  <a:pt x="1578" y="183"/>
                </a:lnTo>
                <a:lnTo>
                  <a:pt x="1538" y="149"/>
                </a:lnTo>
                <a:lnTo>
                  <a:pt x="1519" y="143"/>
                </a:lnTo>
                <a:lnTo>
                  <a:pt x="1468" y="103"/>
                </a:lnTo>
                <a:lnTo>
                  <a:pt x="1451" y="31"/>
                </a:lnTo>
                <a:lnTo>
                  <a:pt x="1453" y="9"/>
                </a:lnTo>
                <a:lnTo>
                  <a:pt x="1443" y="0"/>
                </a:lnTo>
                <a:lnTo>
                  <a:pt x="1414" y="2"/>
                </a:lnTo>
                <a:lnTo>
                  <a:pt x="1391" y="16"/>
                </a:lnTo>
                <a:lnTo>
                  <a:pt x="1076" y="55"/>
                </a:lnTo>
                <a:lnTo>
                  <a:pt x="1022" y="30"/>
                </a:lnTo>
                <a:close/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8" name="Freeform 172">
            <a:extLst>
              <a:ext uri="{FF2B5EF4-FFF2-40B4-BE49-F238E27FC236}">
                <a16:creationId xmlns:a16="http://schemas.microsoft.com/office/drawing/2014/main" id="{C5F8D89D-AF1B-4C16-8F8F-906A5033CAD4}"/>
              </a:ext>
            </a:extLst>
          </p:cNvPr>
          <p:cNvSpPr>
            <a:spLocks/>
          </p:cNvSpPr>
          <p:nvPr/>
        </p:nvSpPr>
        <p:spPr bwMode="auto">
          <a:xfrm rot="21249101">
            <a:off x="7267472" y="4738614"/>
            <a:ext cx="423758" cy="403065"/>
          </a:xfrm>
          <a:custGeom>
            <a:avLst/>
            <a:gdLst>
              <a:gd name="T0" fmla="*/ 2147483647 w 1008"/>
              <a:gd name="T1" fmla="*/ 2147483647 h 1054"/>
              <a:gd name="T2" fmla="*/ 2147483647 w 1008"/>
              <a:gd name="T3" fmla="*/ 2147483647 h 1054"/>
              <a:gd name="T4" fmla="*/ 2147483647 w 1008"/>
              <a:gd name="T5" fmla="*/ 2147483647 h 1054"/>
              <a:gd name="T6" fmla="*/ 2147483647 w 1008"/>
              <a:gd name="T7" fmla="*/ 2147483647 h 1054"/>
              <a:gd name="T8" fmla="*/ 2147483647 w 1008"/>
              <a:gd name="T9" fmla="*/ 2147483647 h 1054"/>
              <a:gd name="T10" fmla="*/ 2147483647 w 1008"/>
              <a:gd name="T11" fmla="*/ 2147483647 h 1054"/>
              <a:gd name="T12" fmla="*/ 2147483647 w 1008"/>
              <a:gd name="T13" fmla="*/ 2147483647 h 1054"/>
              <a:gd name="T14" fmla="*/ 2147483647 w 1008"/>
              <a:gd name="T15" fmla="*/ 2147483647 h 1054"/>
              <a:gd name="T16" fmla="*/ 2147483647 w 1008"/>
              <a:gd name="T17" fmla="*/ 2147483647 h 1054"/>
              <a:gd name="T18" fmla="*/ 2147483647 w 1008"/>
              <a:gd name="T19" fmla="*/ 2147483647 h 1054"/>
              <a:gd name="T20" fmla="*/ 2147483647 w 1008"/>
              <a:gd name="T21" fmla="*/ 2147483647 h 1054"/>
              <a:gd name="T22" fmla="*/ 2147483647 w 1008"/>
              <a:gd name="T23" fmla="*/ 0 h 1054"/>
              <a:gd name="T24" fmla="*/ 2147483647 w 1008"/>
              <a:gd name="T25" fmla="*/ 2147483647 h 1054"/>
              <a:gd name="T26" fmla="*/ 2147483647 w 1008"/>
              <a:gd name="T27" fmla="*/ 2147483647 h 1054"/>
              <a:gd name="T28" fmla="*/ 2147483647 w 1008"/>
              <a:gd name="T29" fmla="*/ 2147483647 h 1054"/>
              <a:gd name="T30" fmla="*/ 2147483647 w 1008"/>
              <a:gd name="T31" fmla="*/ 2147483647 h 1054"/>
              <a:gd name="T32" fmla="*/ 2147483647 w 1008"/>
              <a:gd name="T33" fmla="*/ 2147483647 h 1054"/>
              <a:gd name="T34" fmla="*/ 2147483647 w 1008"/>
              <a:gd name="T35" fmla="*/ 2147483647 h 1054"/>
              <a:gd name="T36" fmla="*/ 2147483647 w 1008"/>
              <a:gd name="T37" fmla="*/ 2147483647 h 1054"/>
              <a:gd name="T38" fmla="*/ 2147483647 w 1008"/>
              <a:gd name="T39" fmla="*/ 2147483647 h 1054"/>
              <a:gd name="T40" fmla="*/ 2147483647 w 1008"/>
              <a:gd name="T41" fmla="*/ 2147483647 h 1054"/>
              <a:gd name="T42" fmla="*/ 2147483647 w 1008"/>
              <a:gd name="T43" fmla="*/ 2147483647 h 1054"/>
              <a:gd name="T44" fmla="*/ 2147483647 w 1008"/>
              <a:gd name="T45" fmla="*/ 2147483647 h 1054"/>
              <a:gd name="T46" fmla="*/ 2147483647 w 1008"/>
              <a:gd name="T47" fmla="*/ 2147483647 h 1054"/>
              <a:gd name="T48" fmla="*/ 2147483647 w 1008"/>
              <a:gd name="T49" fmla="*/ 2147483647 h 1054"/>
              <a:gd name="T50" fmla="*/ 2147483647 w 1008"/>
              <a:gd name="T51" fmla="*/ 2147483647 h 1054"/>
              <a:gd name="T52" fmla="*/ 2147483647 w 1008"/>
              <a:gd name="T53" fmla="*/ 2147483647 h 1054"/>
              <a:gd name="T54" fmla="*/ 2147483647 w 1008"/>
              <a:gd name="T55" fmla="*/ 2147483647 h 1054"/>
              <a:gd name="T56" fmla="*/ 2147483647 w 1008"/>
              <a:gd name="T57" fmla="*/ 2147483647 h 1054"/>
              <a:gd name="T58" fmla="*/ 2147483647 w 1008"/>
              <a:gd name="T59" fmla="*/ 2147483647 h 1054"/>
              <a:gd name="T60" fmla="*/ 2147483647 w 1008"/>
              <a:gd name="T61" fmla="*/ 2147483647 h 1054"/>
              <a:gd name="T62" fmla="*/ 2147483647 w 1008"/>
              <a:gd name="T63" fmla="*/ 2147483647 h 1054"/>
              <a:gd name="T64" fmla="*/ 2147483647 w 1008"/>
              <a:gd name="T65" fmla="*/ 2147483647 h 1054"/>
              <a:gd name="T66" fmla="*/ 2147483647 w 1008"/>
              <a:gd name="T67" fmla="*/ 2147483647 h 1054"/>
              <a:gd name="T68" fmla="*/ 2147483647 w 1008"/>
              <a:gd name="T69" fmla="*/ 2147483647 h 1054"/>
              <a:gd name="T70" fmla="*/ 2147483647 w 1008"/>
              <a:gd name="T71" fmla="*/ 2147483647 h 1054"/>
              <a:gd name="T72" fmla="*/ 2147483647 w 1008"/>
              <a:gd name="T73" fmla="*/ 2147483647 h 1054"/>
              <a:gd name="T74" fmla="*/ 2147483647 w 1008"/>
              <a:gd name="T75" fmla="*/ 2147483647 h 1054"/>
              <a:gd name="T76" fmla="*/ 2147483647 w 1008"/>
              <a:gd name="T77" fmla="*/ 2147483647 h 1054"/>
              <a:gd name="T78" fmla="*/ 2147483647 w 1008"/>
              <a:gd name="T79" fmla="*/ 2147483647 h 1054"/>
              <a:gd name="T80" fmla="*/ 2147483647 w 1008"/>
              <a:gd name="T81" fmla="*/ 2147483647 h 1054"/>
              <a:gd name="T82" fmla="*/ 2147483647 w 1008"/>
              <a:gd name="T83" fmla="*/ 2147483647 h 1054"/>
              <a:gd name="T84" fmla="*/ 2147483647 w 1008"/>
              <a:gd name="T85" fmla="*/ 2147483647 h 1054"/>
              <a:gd name="T86" fmla="*/ 2147483647 w 1008"/>
              <a:gd name="T87" fmla="*/ 2147483647 h 1054"/>
              <a:gd name="T88" fmla="*/ 2147483647 w 1008"/>
              <a:gd name="T89" fmla="*/ 2147483647 h 105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008"/>
              <a:gd name="T136" fmla="*/ 0 h 1054"/>
              <a:gd name="T137" fmla="*/ 1008 w 1008"/>
              <a:gd name="T138" fmla="*/ 1054 h 105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008" h="1054">
                <a:moveTo>
                  <a:pt x="685" y="1054"/>
                </a:moveTo>
                <a:lnTo>
                  <a:pt x="687" y="1017"/>
                </a:lnTo>
                <a:lnTo>
                  <a:pt x="665" y="1015"/>
                </a:lnTo>
                <a:lnTo>
                  <a:pt x="667" y="990"/>
                </a:lnTo>
                <a:lnTo>
                  <a:pt x="628" y="983"/>
                </a:lnTo>
                <a:lnTo>
                  <a:pt x="586" y="938"/>
                </a:lnTo>
                <a:lnTo>
                  <a:pt x="554" y="932"/>
                </a:lnTo>
                <a:lnTo>
                  <a:pt x="518" y="901"/>
                </a:lnTo>
                <a:lnTo>
                  <a:pt x="516" y="876"/>
                </a:lnTo>
                <a:lnTo>
                  <a:pt x="482" y="871"/>
                </a:lnTo>
                <a:lnTo>
                  <a:pt x="446" y="891"/>
                </a:lnTo>
                <a:lnTo>
                  <a:pt x="440" y="868"/>
                </a:lnTo>
                <a:lnTo>
                  <a:pt x="477" y="849"/>
                </a:lnTo>
                <a:lnTo>
                  <a:pt x="371" y="731"/>
                </a:lnTo>
                <a:lnTo>
                  <a:pt x="366" y="675"/>
                </a:lnTo>
                <a:lnTo>
                  <a:pt x="347" y="656"/>
                </a:lnTo>
                <a:lnTo>
                  <a:pt x="321" y="645"/>
                </a:lnTo>
                <a:lnTo>
                  <a:pt x="231" y="543"/>
                </a:lnTo>
                <a:lnTo>
                  <a:pt x="228" y="521"/>
                </a:lnTo>
                <a:lnTo>
                  <a:pt x="185" y="455"/>
                </a:lnTo>
                <a:lnTo>
                  <a:pt x="152" y="444"/>
                </a:lnTo>
                <a:lnTo>
                  <a:pt x="117" y="380"/>
                </a:lnTo>
                <a:lnTo>
                  <a:pt x="95" y="378"/>
                </a:lnTo>
                <a:lnTo>
                  <a:pt x="100" y="344"/>
                </a:lnTo>
                <a:lnTo>
                  <a:pt x="111" y="335"/>
                </a:lnTo>
                <a:lnTo>
                  <a:pt x="94" y="307"/>
                </a:lnTo>
                <a:lnTo>
                  <a:pt x="94" y="280"/>
                </a:lnTo>
                <a:lnTo>
                  <a:pt x="71" y="250"/>
                </a:lnTo>
                <a:lnTo>
                  <a:pt x="54" y="192"/>
                </a:lnTo>
                <a:lnTo>
                  <a:pt x="33" y="188"/>
                </a:lnTo>
                <a:lnTo>
                  <a:pt x="0" y="155"/>
                </a:lnTo>
                <a:lnTo>
                  <a:pt x="2" y="144"/>
                </a:lnTo>
                <a:lnTo>
                  <a:pt x="18" y="134"/>
                </a:lnTo>
                <a:lnTo>
                  <a:pt x="14" y="115"/>
                </a:lnTo>
                <a:lnTo>
                  <a:pt x="20" y="27"/>
                </a:lnTo>
                <a:lnTo>
                  <a:pt x="47" y="0"/>
                </a:lnTo>
                <a:lnTo>
                  <a:pt x="88" y="10"/>
                </a:lnTo>
                <a:lnTo>
                  <a:pt x="89" y="25"/>
                </a:lnTo>
                <a:lnTo>
                  <a:pt x="149" y="94"/>
                </a:lnTo>
                <a:lnTo>
                  <a:pt x="162" y="96"/>
                </a:lnTo>
                <a:lnTo>
                  <a:pt x="209" y="17"/>
                </a:lnTo>
                <a:lnTo>
                  <a:pt x="295" y="31"/>
                </a:lnTo>
                <a:lnTo>
                  <a:pt x="314" y="8"/>
                </a:lnTo>
                <a:lnTo>
                  <a:pt x="321" y="8"/>
                </a:lnTo>
                <a:lnTo>
                  <a:pt x="377" y="52"/>
                </a:lnTo>
                <a:lnTo>
                  <a:pt x="395" y="53"/>
                </a:lnTo>
                <a:lnTo>
                  <a:pt x="405" y="41"/>
                </a:lnTo>
                <a:lnTo>
                  <a:pt x="423" y="60"/>
                </a:lnTo>
                <a:lnTo>
                  <a:pt x="494" y="72"/>
                </a:lnTo>
                <a:lnTo>
                  <a:pt x="500" y="64"/>
                </a:lnTo>
                <a:lnTo>
                  <a:pt x="510" y="65"/>
                </a:lnTo>
                <a:lnTo>
                  <a:pt x="548" y="97"/>
                </a:lnTo>
                <a:lnTo>
                  <a:pt x="561" y="96"/>
                </a:lnTo>
                <a:lnTo>
                  <a:pt x="590" y="64"/>
                </a:lnTo>
                <a:lnTo>
                  <a:pt x="605" y="67"/>
                </a:lnTo>
                <a:lnTo>
                  <a:pt x="623" y="90"/>
                </a:lnTo>
                <a:lnTo>
                  <a:pt x="636" y="93"/>
                </a:lnTo>
                <a:lnTo>
                  <a:pt x="650" y="74"/>
                </a:lnTo>
                <a:lnTo>
                  <a:pt x="700" y="81"/>
                </a:lnTo>
                <a:lnTo>
                  <a:pt x="718" y="108"/>
                </a:lnTo>
                <a:lnTo>
                  <a:pt x="729" y="100"/>
                </a:lnTo>
                <a:lnTo>
                  <a:pt x="729" y="90"/>
                </a:lnTo>
                <a:lnTo>
                  <a:pt x="761" y="92"/>
                </a:lnTo>
                <a:lnTo>
                  <a:pt x="793" y="129"/>
                </a:lnTo>
                <a:lnTo>
                  <a:pt x="785" y="147"/>
                </a:lnTo>
                <a:lnTo>
                  <a:pt x="787" y="158"/>
                </a:lnTo>
                <a:lnTo>
                  <a:pt x="811" y="178"/>
                </a:lnTo>
                <a:lnTo>
                  <a:pt x="849" y="177"/>
                </a:lnTo>
                <a:lnTo>
                  <a:pt x="879" y="155"/>
                </a:lnTo>
                <a:lnTo>
                  <a:pt x="935" y="160"/>
                </a:lnTo>
                <a:lnTo>
                  <a:pt x="946" y="174"/>
                </a:lnTo>
                <a:lnTo>
                  <a:pt x="938" y="190"/>
                </a:lnTo>
                <a:lnTo>
                  <a:pt x="938" y="210"/>
                </a:lnTo>
                <a:lnTo>
                  <a:pt x="892" y="294"/>
                </a:lnTo>
                <a:lnTo>
                  <a:pt x="881" y="300"/>
                </a:lnTo>
                <a:lnTo>
                  <a:pt x="881" y="314"/>
                </a:lnTo>
                <a:lnTo>
                  <a:pt x="888" y="324"/>
                </a:lnTo>
                <a:lnTo>
                  <a:pt x="872" y="348"/>
                </a:lnTo>
                <a:lnTo>
                  <a:pt x="881" y="379"/>
                </a:lnTo>
                <a:lnTo>
                  <a:pt x="897" y="383"/>
                </a:lnTo>
                <a:lnTo>
                  <a:pt x="909" y="392"/>
                </a:lnTo>
                <a:lnTo>
                  <a:pt x="927" y="388"/>
                </a:lnTo>
                <a:lnTo>
                  <a:pt x="935" y="402"/>
                </a:lnTo>
                <a:lnTo>
                  <a:pt x="939" y="418"/>
                </a:lnTo>
                <a:lnTo>
                  <a:pt x="958" y="438"/>
                </a:lnTo>
                <a:lnTo>
                  <a:pt x="971" y="436"/>
                </a:lnTo>
                <a:lnTo>
                  <a:pt x="976" y="441"/>
                </a:lnTo>
                <a:lnTo>
                  <a:pt x="975" y="453"/>
                </a:lnTo>
                <a:lnTo>
                  <a:pt x="994" y="465"/>
                </a:lnTo>
                <a:lnTo>
                  <a:pt x="1006" y="468"/>
                </a:lnTo>
                <a:lnTo>
                  <a:pt x="1008" y="484"/>
                </a:lnTo>
                <a:lnTo>
                  <a:pt x="988" y="504"/>
                </a:lnTo>
                <a:lnTo>
                  <a:pt x="951" y="505"/>
                </a:lnTo>
                <a:lnTo>
                  <a:pt x="927" y="490"/>
                </a:lnTo>
                <a:lnTo>
                  <a:pt x="914" y="490"/>
                </a:lnTo>
                <a:lnTo>
                  <a:pt x="909" y="496"/>
                </a:lnTo>
                <a:lnTo>
                  <a:pt x="973" y="582"/>
                </a:lnTo>
                <a:lnTo>
                  <a:pt x="982" y="587"/>
                </a:lnTo>
                <a:lnTo>
                  <a:pt x="979" y="623"/>
                </a:lnTo>
                <a:lnTo>
                  <a:pt x="974" y="637"/>
                </a:lnTo>
                <a:lnTo>
                  <a:pt x="959" y="643"/>
                </a:lnTo>
                <a:lnTo>
                  <a:pt x="948" y="633"/>
                </a:lnTo>
                <a:lnTo>
                  <a:pt x="937" y="632"/>
                </a:lnTo>
                <a:lnTo>
                  <a:pt x="924" y="651"/>
                </a:lnTo>
                <a:lnTo>
                  <a:pt x="903" y="661"/>
                </a:lnTo>
                <a:lnTo>
                  <a:pt x="883" y="661"/>
                </a:lnTo>
                <a:lnTo>
                  <a:pt x="873" y="669"/>
                </a:lnTo>
                <a:lnTo>
                  <a:pt x="861" y="668"/>
                </a:lnTo>
                <a:lnTo>
                  <a:pt x="856" y="655"/>
                </a:lnTo>
                <a:lnTo>
                  <a:pt x="839" y="656"/>
                </a:lnTo>
                <a:lnTo>
                  <a:pt x="825" y="672"/>
                </a:lnTo>
                <a:lnTo>
                  <a:pt x="831" y="686"/>
                </a:lnTo>
                <a:lnTo>
                  <a:pt x="847" y="693"/>
                </a:lnTo>
                <a:lnTo>
                  <a:pt x="852" y="718"/>
                </a:lnTo>
                <a:lnTo>
                  <a:pt x="861" y="732"/>
                </a:lnTo>
                <a:lnTo>
                  <a:pt x="861" y="759"/>
                </a:lnTo>
                <a:lnTo>
                  <a:pt x="855" y="769"/>
                </a:lnTo>
                <a:lnTo>
                  <a:pt x="842" y="767"/>
                </a:lnTo>
                <a:lnTo>
                  <a:pt x="834" y="759"/>
                </a:lnTo>
                <a:lnTo>
                  <a:pt x="828" y="733"/>
                </a:lnTo>
                <a:lnTo>
                  <a:pt x="820" y="725"/>
                </a:lnTo>
                <a:lnTo>
                  <a:pt x="798" y="725"/>
                </a:lnTo>
                <a:lnTo>
                  <a:pt x="757" y="761"/>
                </a:lnTo>
                <a:lnTo>
                  <a:pt x="750" y="786"/>
                </a:lnTo>
                <a:lnTo>
                  <a:pt x="742" y="796"/>
                </a:lnTo>
                <a:lnTo>
                  <a:pt x="742" y="833"/>
                </a:lnTo>
                <a:lnTo>
                  <a:pt x="731" y="842"/>
                </a:lnTo>
                <a:lnTo>
                  <a:pt x="710" y="842"/>
                </a:lnTo>
                <a:lnTo>
                  <a:pt x="696" y="857"/>
                </a:lnTo>
                <a:lnTo>
                  <a:pt x="693" y="901"/>
                </a:lnTo>
                <a:lnTo>
                  <a:pt x="687" y="905"/>
                </a:lnTo>
                <a:lnTo>
                  <a:pt x="689" y="920"/>
                </a:lnTo>
                <a:lnTo>
                  <a:pt x="714" y="958"/>
                </a:lnTo>
                <a:lnTo>
                  <a:pt x="713" y="980"/>
                </a:lnTo>
                <a:lnTo>
                  <a:pt x="687" y="1017"/>
                </a:lnTo>
                <a:lnTo>
                  <a:pt x="685" y="1054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59" name="Freeform 173">
            <a:extLst>
              <a:ext uri="{FF2B5EF4-FFF2-40B4-BE49-F238E27FC236}">
                <a16:creationId xmlns:a16="http://schemas.microsoft.com/office/drawing/2014/main" id="{E8E7B962-F026-40D8-A8AE-A1A64CCC6AC0}"/>
              </a:ext>
            </a:extLst>
          </p:cNvPr>
          <p:cNvSpPr>
            <a:spLocks/>
          </p:cNvSpPr>
          <p:nvPr/>
        </p:nvSpPr>
        <p:spPr bwMode="auto">
          <a:xfrm rot="21249101">
            <a:off x="7267472" y="4738614"/>
            <a:ext cx="423758" cy="403065"/>
          </a:xfrm>
          <a:custGeom>
            <a:avLst/>
            <a:gdLst>
              <a:gd name="T0" fmla="*/ 2147483647 w 1008"/>
              <a:gd name="T1" fmla="*/ 2147483647 h 1054"/>
              <a:gd name="T2" fmla="*/ 2147483647 w 1008"/>
              <a:gd name="T3" fmla="*/ 2147483647 h 1054"/>
              <a:gd name="T4" fmla="*/ 2147483647 w 1008"/>
              <a:gd name="T5" fmla="*/ 2147483647 h 1054"/>
              <a:gd name="T6" fmla="*/ 2147483647 w 1008"/>
              <a:gd name="T7" fmla="*/ 2147483647 h 1054"/>
              <a:gd name="T8" fmla="*/ 2147483647 w 1008"/>
              <a:gd name="T9" fmla="*/ 2147483647 h 1054"/>
              <a:gd name="T10" fmla="*/ 2147483647 w 1008"/>
              <a:gd name="T11" fmla="*/ 2147483647 h 1054"/>
              <a:gd name="T12" fmla="*/ 2147483647 w 1008"/>
              <a:gd name="T13" fmla="*/ 2147483647 h 1054"/>
              <a:gd name="T14" fmla="*/ 2147483647 w 1008"/>
              <a:gd name="T15" fmla="*/ 2147483647 h 1054"/>
              <a:gd name="T16" fmla="*/ 2147483647 w 1008"/>
              <a:gd name="T17" fmla="*/ 2147483647 h 1054"/>
              <a:gd name="T18" fmla="*/ 2147483647 w 1008"/>
              <a:gd name="T19" fmla="*/ 2147483647 h 1054"/>
              <a:gd name="T20" fmla="*/ 2147483647 w 1008"/>
              <a:gd name="T21" fmla="*/ 2147483647 h 1054"/>
              <a:gd name="T22" fmla="*/ 2147483647 w 1008"/>
              <a:gd name="T23" fmla="*/ 0 h 1054"/>
              <a:gd name="T24" fmla="*/ 2147483647 w 1008"/>
              <a:gd name="T25" fmla="*/ 2147483647 h 1054"/>
              <a:gd name="T26" fmla="*/ 2147483647 w 1008"/>
              <a:gd name="T27" fmla="*/ 2147483647 h 1054"/>
              <a:gd name="T28" fmla="*/ 2147483647 w 1008"/>
              <a:gd name="T29" fmla="*/ 2147483647 h 1054"/>
              <a:gd name="T30" fmla="*/ 2147483647 w 1008"/>
              <a:gd name="T31" fmla="*/ 2147483647 h 1054"/>
              <a:gd name="T32" fmla="*/ 2147483647 w 1008"/>
              <a:gd name="T33" fmla="*/ 2147483647 h 1054"/>
              <a:gd name="T34" fmla="*/ 2147483647 w 1008"/>
              <a:gd name="T35" fmla="*/ 2147483647 h 1054"/>
              <a:gd name="T36" fmla="*/ 2147483647 w 1008"/>
              <a:gd name="T37" fmla="*/ 2147483647 h 1054"/>
              <a:gd name="T38" fmla="*/ 2147483647 w 1008"/>
              <a:gd name="T39" fmla="*/ 2147483647 h 1054"/>
              <a:gd name="T40" fmla="*/ 2147483647 w 1008"/>
              <a:gd name="T41" fmla="*/ 2147483647 h 1054"/>
              <a:gd name="T42" fmla="*/ 2147483647 w 1008"/>
              <a:gd name="T43" fmla="*/ 2147483647 h 1054"/>
              <a:gd name="T44" fmla="*/ 2147483647 w 1008"/>
              <a:gd name="T45" fmla="*/ 2147483647 h 1054"/>
              <a:gd name="T46" fmla="*/ 2147483647 w 1008"/>
              <a:gd name="T47" fmla="*/ 2147483647 h 1054"/>
              <a:gd name="T48" fmla="*/ 2147483647 w 1008"/>
              <a:gd name="T49" fmla="*/ 2147483647 h 1054"/>
              <a:gd name="T50" fmla="*/ 2147483647 w 1008"/>
              <a:gd name="T51" fmla="*/ 2147483647 h 1054"/>
              <a:gd name="T52" fmla="*/ 2147483647 w 1008"/>
              <a:gd name="T53" fmla="*/ 2147483647 h 1054"/>
              <a:gd name="T54" fmla="*/ 2147483647 w 1008"/>
              <a:gd name="T55" fmla="*/ 2147483647 h 1054"/>
              <a:gd name="T56" fmla="*/ 2147483647 w 1008"/>
              <a:gd name="T57" fmla="*/ 2147483647 h 1054"/>
              <a:gd name="T58" fmla="*/ 2147483647 w 1008"/>
              <a:gd name="T59" fmla="*/ 2147483647 h 1054"/>
              <a:gd name="T60" fmla="*/ 2147483647 w 1008"/>
              <a:gd name="T61" fmla="*/ 2147483647 h 1054"/>
              <a:gd name="T62" fmla="*/ 2147483647 w 1008"/>
              <a:gd name="T63" fmla="*/ 2147483647 h 1054"/>
              <a:gd name="T64" fmla="*/ 2147483647 w 1008"/>
              <a:gd name="T65" fmla="*/ 2147483647 h 1054"/>
              <a:gd name="T66" fmla="*/ 2147483647 w 1008"/>
              <a:gd name="T67" fmla="*/ 2147483647 h 1054"/>
              <a:gd name="T68" fmla="*/ 2147483647 w 1008"/>
              <a:gd name="T69" fmla="*/ 2147483647 h 1054"/>
              <a:gd name="T70" fmla="*/ 2147483647 w 1008"/>
              <a:gd name="T71" fmla="*/ 2147483647 h 1054"/>
              <a:gd name="T72" fmla="*/ 2147483647 w 1008"/>
              <a:gd name="T73" fmla="*/ 2147483647 h 1054"/>
              <a:gd name="T74" fmla="*/ 2147483647 w 1008"/>
              <a:gd name="T75" fmla="*/ 2147483647 h 1054"/>
              <a:gd name="T76" fmla="*/ 2147483647 w 1008"/>
              <a:gd name="T77" fmla="*/ 2147483647 h 1054"/>
              <a:gd name="T78" fmla="*/ 2147483647 w 1008"/>
              <a:gd name="T79" fmla="*/ 2147483647 h 1054"/>
              <a:gd name="T80" fmla="*/ 2147483647 w 1008"/>
              <a:gd name="T81" fmla="*/ 2147483647 h 1054"/>
              <a:gd name="T82" fmla="*/ 2147483647 w 1008"/>
              <a:gd name="T83" fmla="*/ 2147483647 h 1054"/>
              <a:gd name="T84" fmla="*/ 2147483647 w 1008"/>
              <a:gd name="T85" fmla="*/ 2147483647 h 1054"/>
              <a:gd name="T86" fmla="*/ 2147483647 w 1008"/>
              <a:gd name="T87" fmla="*/ 2147483647 h 1054"/>
              <a:gd name="T88" fmla="*/ 2147483647 w 1008"/>
              <a:gd name="T89" fmla="*/ 2147483647 h 105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008"/>
              <a:gd name="T136" fmla="*/ 0 h 1054"/>
              <a:gd name="T137" fmla="*/ 1008 w 1008"/>
              <a:gd name="T138" fmla="*/ 1054 h 105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008" h="1054">
                <a:moveTo>
                  <a:pt x="685" y="1054"/>
                </a:moveTo>
                <a:lnTo>
                  <a:pt x="687" y="1017"/>
                </a:lnTo>
                <a:lnTo>
                  <a:pt x="665" y="1015"/>
                </a:lnTo>
                <a:lnTo>
                  <a:pt x="667" y="990"/>
                </a:lnTo>
                <a:lnTo>
                  <a:pt x="628" y="983"/>
                </a:lnTo>
                <a:lnTo>
                  <a:pt x="586" y="938"/>
                </a:lnTo>
                <a:lnTo>
                  <a:pt x="554" y="932"/>
                </a:lnTo>
                <a:lnTo>
                  <a:pt x="518" y="901"/>
                </a:lnTo>
                <a:lnTo>
                  <a:pt x="516" y="876"/>
                </a:lnTo>
                <a:lnTo>
                  <a:pt x="482" y="871"/>
                </a:lnTo>
                <a:lnTo>
                  <a:pt x="446" y="891"/>
                </a:lnTo>
                <a:lnTo>
                  <a:pt x="440" y="868"/>
                </a:lnTo>
                <a:lnTo>
                  <a:pt x="477" y="849"/>
                </a:lnTo>
                <a:lnTo>
                  <a:pt x="371" y="731"/>
                </a:lnTo>
                <a:lnTo>
                  <a:pt x="366" y="675"/>
                </a:lnTo>
                <a:lnTo>
                  <a:pt x="347" y="656"/>
                </a:lnTo>
                <a:lnTo>
                  <a:pt x="321" y="645"/>
                </a:lnTo>
                <a:lnTo>
                  <a:pt x="231" y="543"/>
                </a:lnTo>
                <a:lnTo>
                  <a:pt x="228" y="521"/>
                </a:lnTo>
                <a:lnTo>
                  <a:pt x="185" y="455"/>
                </a:lnTo>
                <a:lnTo>
                  <a:pt x="152" y="444"/>
                </a:lnTo>
                <a:lnTo>
                  <a:pt x="117" y="380"/>
                </a:lnTo>
                <a:lnTo>
                  <a:pt x="95" y="378"/>
                </a:lnTo>
                <a:lnTo>
                  <a:pt x="100" y="344"/>
                </a:lnTo>
                <a:lnTo>
                  <a:pt x="111" y="335"/>
                </a:lnTo>
                <a:lnTo>
                  <a:pt x="94" y="307"/>
                </a:lnTo>
                <a:lnTo>
                  <a:pt x="94" y="280"/>
                </a:lnTo>
                <a:lnTo>
                  <a:pt x="71" y="250"/>
                </a:lnTo>
                <a:lnTo>
                  <a:pt x="54" y="192"/>
                </a:lnTo>
                <a:lnTo>
                  <a:pt x="33" y="188"/>
                </a:lnTo>
                <a:lnTo>
                  <a:pt x="0" y="155"/>
                </a:lnTo>
                <a:lnTo>
                  <a:pt x="2" y="144"/>
                </a:lnTo>
                <a:lnTo>
                  <a:pt x="18" y="134"/>
                </a:lnTo>
                <a:lnTo>
                  <a:pt x="14" y="115"/>
                </a:lnTo>
                <a:lnTo>
                  <a:pt x="20" y="27"/>
                </a:lnTo>
                <a:lnTo>
                  <a:pt x="47" y="0"/>
                </a:lnTo>
                <a:lnTo>
                  <a:pt x="88" y="10"/>
                </a:lnTo>
                <a:lnTo>
                  <a:pt x="89" y="25"/>
                </a:lnTo>
                <a:lnTo>
                  <a:pt x="149" y="94"/>
                </a:lnTo>
                <a:lnTo>
                  <a:pt x="162" y="96"/>
                </a:lnTo>
                <a:lnTo>
                  <a:pt x="209" y="17"/>
                </a:lnTo>
                <a:lnTo>
                  <a:pt x="295" y="31"/>
                </a:lnTo>
                <a:lnTo>
                  <a:pt x="314" y="8"/>
                </a:lnTo>
                <a:lnTo>
                  <a:pt x="321" y="8"/>
                </a:lnTo>
                <a:lnTo>
                  <a:pt x="377" y="52"/>
                </a:lnTo>
                <a:lnTo>
                  <a:pt x="395" y="53"/>
                </a:lnTo>
                <a:lnTo>
                  <a:pt x="405" y="41"/>
                </a:lnTo>
                <a:lnTo>
                  <a:pt x="423" y="60"/>
                </a:lnTo>
                <a:lnTo>
                  <a:pt x="494" y="72"/>
                </a:lnTo>
                <a:lnTo>
                  <a:pt x="500" y="64"/>
                </a:lnTo>
                <a:lnTo>
                  <a:pt x="510" y="65"/>
                </a:lnTo>
                <a:lnTo>
                  <a:pt x="548" y="97"/>
                </a:lnTo>
                <a:lnTo>
                  <a:pt x="561" y="96"/>
                </a:lnTo>
                <a:lnTo>
                  <a:pt x="590" y="64"/>
                </a:lnTo>
                <a:lnTo>
                  <a:pt x="605" y="67"/>
                </a:lnTo>
                <a:lnTo>
                  <a:pt x="623" y="90"/>
                </a:lnTo>
                <a:lnTo>
                  <a:pt x="636" y="93"/>
                </a:lnTo>
                <a:lnTo>
                  <a:pt x="650" y="74"/>
                </a:lnTo>
                <a:lnTo>
                  <a:pt x="700" y="81"/>
                </a:lnTo>
                <a:lnTo>
                  <a:pt x="718" y="108"/>
                </a:lnTo>
                <a:lnTo>
                  <a:pt x="729" y="100"/>
                </a:lnTo>
                <a:lnTo>
                  <a:pt x="729" y="90"/>
                </a:lnTo>
                <a:lnTo>
                  <a:pt x="761" y="92"/>
                </a:lnTo>
                <a:lnTo>
                  <a:pt x="793" y="129"/>
                </a:lnTo>
                <a:lnTo>
                  <a:pt x="785" y="147"/>
                </a:lnTo>
                <a:lnTo>
                  <a:pt x="787" y="158"/>
                </a:lnTo>
                <a:lnTo>
                  <a:pt x="811" y="178"/>
                </a:lnTo>
                <a:lnTo>
                  <a:pt x="849" y="177"/>
                </a:lnTo>
                <a:lnTo>
                  <a:pt x="879" y="155"/>
                </a:lnTo>
                <a:lnTo>
                  <a:pt x="935" y="160"/>
                </a:lnTo>
                <a:lnTo>
                  <a:pt x="946" y="174"/>
                </a:lnTo>
                <a:lnTo>
                  <a:pt x="938" y="190"/>
                </a:lnTo>
                <a:lnTo>
                  <a:pt x="938" y="210"/>
                </a:lnTo>
                <a:lnTo>
                  <a:pt x="892" y="294"/>
                </a:lnTo>
                <a:lnTo>
                  <a:pt x="881" y="300"/>
                </a:lnTo>
                <a:lnTo>
                  <a:pt x="881" y="314"/>
                </a:lnTo>
                <a:lnTo>
                  <a:pt x="888" y="324"/>
                </a:lnTo>
                <a:lnTo>
                  <a:pt x="872" y="348"/>
                </a:lnTo>
                <a:lnTo>
                  <a:pt x="881" y="379"/>
                </a:lnTo>
                <a:lnTo>
                  <a:pt x="897" y="383"/>
                </a:lnTo>
                <a:lnTo>
                  <a:pt x="909" y="392"/>
                </a:lnTo>
                <a:lnTo>
                  <a:pt x="927" y="388"/>
                </a:lnTo>
                <a:lnTo>
                  <a:pt x="935" y="402"/>
                </a:lnTo>
                <a:lnTo>
                  <a:pt x="939" y="418"/>
                </a:lnTo>
                <a:lnTo>
                  <a:pt x="958" y="438"/>
                </a:lnTo>
                <a:lnTo>
                  <a:pt x="971" y="436"/>
                </a:lnTo>
                <a:lnTo>
                  <a:pt x="976" y="441"/>
                </a:lnTo>
                <a:lnTo>
                  <a:pt x="975" y="453"/>
                </a:lnTo>
                <a:lnTo>
                  <a:pt x="994" y="465"/>
                </a:lnTo>
                <a:lnTo>
                  <a:pt x="1006" y="468"/>
                </a:lnTo>
                <a:lnTo>
                  <a:pt x="1008" y="484"/>
                </a:lnTo>
                <a:lnTo>
                  <a:pt x="988" y="504"/>
                </a:lnTo>
                <a:lnTo>
                  <a:pt x="951" y="505"/>
                </a:lnTo>
                <a:lnTo>
                  <a:pt x="927" y="490"/>
                </a:lnTo>
                <a:lnTo>
                  <a:pt x="914" y="490"/>
                </a:lnTo>
                <a:lnTo>
                  <a:pt x="909" y="496"/>
                </a:lnTo>
                <a:lnTo>
                  <a:pt x="973" y="582"/>
                </a:lnTo>
                <a:lnTo>
                  <a:pt x="982" y="587"/>
                </a:lnTo>
                <a:lnTo>
                  <a:pt x="979" y="623"/>
                </a:lnTo>
                <a:lnTo>
                  <a:pt x="974" y="637"/>
                </a:lnTo>
                <a:lnTo>
                  <a:pt x="959" y="643"/>
                </a:lnTo>
                <a:lnTo>
                  <a:pt x="948" y="633"/>
                </a:lnTo>
                <a:lnTo>
                  <a:pt x="937" y="632"/>
                </a:lnTo>
                <a:lnTo>
                  <a:pt x="924" y="651"/>
                </a:lnTo>
                <a:lnTo>
                  <a:pt x="903" y="661"/>
                </a:lnTo>
                <a:lnTo>
                  <a:pt x="883" y="661"/>
                </a:lnTo>
                <a:lnTo>
                  <a:pt x="873" y="669"/>
                </a:lnTo>
                <a:lnTo>
                  <a:pt x="861" y="668"/>
                </a:lnTo>
                <a:lnTo>
                  <a:pt x="856" y="655"/>
                </a:lnTo>
                <a:lnTo>
                  <a:pt x="839" y="656"/>
                </a:lnTo>
                <a:lnTo>
                  <a:pt x="825" y="672"/>
                </a:lnTo>
                <a:lnTo>
                  <a:pt x="831" y="686"/>
                </a:lnTo>
                <a:lnTo>
                  <a:pt x="847" y="693"/>
                </a:lnTo>
                <a:lnTo>
                  <a:pt x="852" y="718"/>
                </a:lnTo>
                <a:lnTo>
                  <a:pt x="861" y="732"/>
                </a:lnTo>
                <a:lnTo>
                  <a:pt x="861" y="759"/>
                </a:lnTo>
                <a:lnTo>
                  <a:pt x="855" y="769"/>
                </a:lnTo>
                <a:lnTo>
                  <a:pt x="842" y="767"/>
                </a:lnTo>
                <a:lnTo>
                  <a:pt x="834" y="759"/>
                </a:lnTo>
                <a:lnTo>
                  <a:pt x="828" y="733"/>
                </a:lnTo>
                <a:lnTo>
                  <a:pt x="820" y="725"/>
                </a:lnTo>
                <a:lnTo>
                  <a:pt x="798" y="725"/>
                </a:lnTo>
                <a:lnTo>
                  <a:pt x="757" y="761"/>
                </a:lnTo>
                <a:lnTo>
                  <a:pt x="750" y="786"/>
                </a:lnTo>
                <a:lnTo>
                  <a:pt x="742" y="796"/>
                </a:lnTo>
                <a:lnTo>
                  <a:pt x="742" y="833"/>
                </a:lnTo>
                <a:lnTo>
                  <a:pt x="731" y="842"/>
                </a:lnTo>
                <a:lnTo>
                  <a:pt x="710" y="842"/>
                </a:lnTo>
                <a:lnTo>
                  <a:pt x="696" y="857"/>
                </a:lnTo>
                <a:lnTo>
                  <a:pt x="693" y="901"/>
                </a:lnTo>
                <a:lnTo>
                  <a:pt x="687" y="905"/>
                </a:lnTo>
                <a:lnTo>
                  <a:pt x="689" y="920"/>
                </a:lnTo>
                <a:lnTo>
                  <a:pt x="714" y="958"/>
                </a:lnTo>
                <a:lnTo>
                  <a:pt x="713" y="980"/>
                </a:lnTo>
                <a:lnTo>
                  <a:pt x="687" y="1017"/>
                </a:lnTo>
                <a:lnTo>
                  <a:pt x="685" y="1054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60" name="Freeform 174">
            <a:extLst>
              <a:ext uri="{FF2B5EF4-FFF2-40B4-BE49-F238E27FC236}">
                <a16:creationId xmlns:a16="http://schemas.microsoft.com/office/drawing/2014/main" id="{23F8EB6B-A356-4D13-B28C-301A0BCA002A}"/>
              </a:ext>
            </a:extLst>
          </p:cNvPr>
          <p:cNvSpPr>
            <a:spLocks/>
          </p:cNvSpPr>
          <p:nvPr/>
        </p:nvSpPr>
        <p:spPr bwMode="auto">
          <a:xfrm rot="21249101">
            <a:off x="7807943" y="5149871"/>
            <a:ext cx="729007" cy="589852"/>
          </a:xfrm>
          <a:custGeom>
            <a:avLst/>
            <a:gdLst>
              <a:gd name="T0" fmla="*/ 2147483647 w 1744"/>
              <a:gd name="T1" fmla="*/ 2147483647 h 1534"/>
              <a:gd name="T2" fmla="*/ 2147483647 w 1744"/>
              <a:gd name="T3" fmla="*/ 2147483647 h 1534"/>
              <a:gd name="T4" fmla="*/ 2147483647 w 1744"/>
              <a:gd name="T5" fmla="*/ 2147483647 h 1534"/>
              <a:gd name="T6" fmla="*/ 2147483647 w 1744"/>
              <a:gd name="T7" fmla="*/ 2147483647 h 1534"/>
              <a:gd name="T8" fmla="*/ 2147483647 w 1744"/>
              <a:gd name="T9" fmla="*/ 2147483647 h 1534"/>
              <a:gd name="T10" fmla="*/ 2147483647 w 1744"/>
              <a:gd name="T11" fmla="*/ 2147483647 h 1534"/>
              <a:gd name="T12" fmla="*/ 2147483647 w 1744"/>
              <a:gd name="T13" fmla="*/ 2147483647 h 1534"/>
              <a:gd name="T14" fmla="*/ 2147483647 w 1744"/>
              <a:gd name="T15" fmla="*/ 2147483647 h 1534"/>
              <a:gd name="T16" fmla="*/ 2147483647 w 1744"/>
              <a:gd name="T17" fmla="*/ 2147483647 h 1534"/>
              <a:gd name="T18" fmla="*/ 2147483647 w 1744"/>
              <a:gd name="T19" fmla="*/ 2147483647 h 1534"/>
              <a:gd name="T20" fmla="*/ 2147483647 w 1744"/>
              <a:gd name="T21" fmla="*/ 2147483647 h 1534"/>
              <a:gd name="T22" fmla="*/ 2147483647 w 1744"/>
              <a:gd name="T23" fmla="*/ 2147483647 h 1534"/>
              <a:gd name="T24" fmla="*/ 2147483647 w 1744"/>
              <a:gd name="T25" fmla="*/ 2147483647 h 1534"/>
              <a:gd name="T26" fmla="*/ 2147483647 w 1744"/>
              <a:gd name="T27" fmla="*/ 2147483647 h 1534"/>
              <a:gd name="T28" fmla="*/ 2147483647 w 1744"/>
              <a:gd name="T29" fmla="*/ 2147483647 h 1534"/>
              <a:gd name="T30" fmla="*/ 2147483647 w 1744"/>
              <a:gd name="T31" fmla="*/ 2147483647 h 1534"/>
              <a:gd name="T32" fmla="*/ 2147483647 w 1744"/>
              <a:gd name="T33" fmla="*/ 2147483647 h 1534"/>
              <a:gd name="T34" fmla="*/ 2147483647 w 1744"/>
              <a:gd name="T35" fmla="*/ 2147483647 h 1534"/>
              <a:gd name="T36" fmla="*/ 2147483647 w 1744"/>
              <a:gd name="T37" fmla="*/ 2147483647 h 1534"/>
              <a:gd name="T38" fmla="*/ 2147483647 w 1744"/>
              <a:gd name="T39" fmla="*/ 2147483647 h 1534"/>
              <a:gd name="T40" fmla="*/ 2147483647 w 1744"/>
              <a:gd name="T41" fmla="*/ 2147483647 h 1534"/>
              <a:gd name="T42" fmla="*/ 2147483647 w 1744"/>
              <a:gd name="T43" fmla="*/ 2147483647 h 1534"/>
              <a:gd name="T44" fmla="*/ 2147483647 w 1744"/>
              <a:gd name="T45" fmla="*/ 2147483647 h 1534"/>
              <a:gd name="T46" fmla="*/ 2147483647 w 1744"/>
              <a:gd name="T47" fmla="*/ 2147483647 h 1534"/>
              <a:gd name="T48" fmla="*/ 2147483647 w 1744"/>
              <a:gd name="T49" fmla="*/ 2147483647 h 1534"/>
              <a:gd name="T50" fmla="*/ 2147483647 w 1744"/>
              <a:gd name="T51" fmla="*/ 2147483647 h 1534"/>
              <a:gd name="T52" fmla="*/ 2147483647 w 1744"/>
              <a:gd name="T53" fmla="*/ 2147483647 h 1534"/>
              <a:gd name="T54" fmla="*/ 2147483647 w 1744"/>
              <a:gd name="T55" fmla="*/ 2147483647 h 1534"/>
              <a:gd name="T56" fmla="*/ 2147483647 w 1744"/>
              <a:gd name="T57" fmla="*/ 2147483647 h 1534"/>
              <a:gd name="T58" fmla="*/ 2147483647 w 1744"/>
              <a:gd name="T59" fmla="*/ 2147483647 h 1534"/>
              <a:gd name="T60" fmla="*/ 2147483647 w 1744"/>
              <a:gd name="T61" fmla="*/ 2147483647 h 1534"/>
              <a:gd name="T62" fmla="*/ 2147483647 w 1744"/>
              <a:gd name="T63" fmla="*/ 2147483647 h 1534"/>
              <a:gd name="T64" fmla="*/ 2147483647 w 1744"/>
              <a:gd name="T65" fmla="*/ 2147483647 h 1534"/>
              <a:gd name="T66" fmla="*/ 2147483647 w 1744"/>
              <a:gd name="T67" fmla="*/ 2147483647 h 1534"/>
              <a:gd name="T68" fmla="*/ 2147483647 w 1744"/>
              <a:gd name="T69" fmla="*/ 2147483647 h 1534"/>
              <a:gd name="T70" fmla="*/ 2147483647 w 1744"/>
              <a:gd name="T71" fmla="*/ 2147483647 h 1534"/>
              <a:gd name="T72" fmla="*/ 2147483647 w 1744"/>
              <a:gd name="T73" fmla="*/ 2147483647 h 1534"/>
              <a:gd name="T74" fmla="*/ 2147483647 w 1744"/>
              <a:gd name="T75" fmla="*/ 2147483647 h 1534"/>
              <a:gd name="T76" fmla="*/ 2147483647 w 1744"/>
              <a:gd name="T77" fmla="*/ 2147483647 h 1534"/>
              <a:gd name="T78" fmla="*/ 2147483647 w 1744"/>
              <a:gd name="T79" fmla="*/ 2147483647 h 1534"/>
              <a:gd name="T80" fmla="*/ 2147483647 w 1744"/>
              <a:gd name="T81" fmla="*/ 2147483647 h 1534"/>
              <a:gd name="T82" fmla="*/ 2147483647 w 1744"/>
              <a:gd name="T83" fmla="*/ 2147483647 h 1534"/>
              <a:gd name="T84" fmla="*/ 2147483647 w 1744"/>
              <a:gd name="T85" fmla="*/ 2147483647 h 1534"/>
              <a:gd name="T86" fmla="*/ 2147483647 w 1744"/>
              <a:gd name="T87" fmla="*/ 2147483647 h 1534"/>
              <a:gd name="T88" fmla="*/ 2147483647 w 1744"/>
              <a:gd name="T89" fmla="*/ 2147483647 h 1534"/>
              <a:gd name="T90" fmla="*/ 2147483647 w 1744"/>
              <a:gd name="T91" fmla="*/ 2147483647 h 1534"/>
              <a:gd name="T92" fmla="*/ 2147483647 w 1744"/>
              <a:gd name="T93" fmla="*/ 2147483647 h 1534"/>
              <a:gd name="T94" fmla="*/ 2147483647 w 1744"/>
              <a:gd name="T95" fmla="*/ 2147483647 h 1534"/>
              <a:gd name="T96" fmla="*/ 2147483647 w 1744"/>
              <a:gd name="T97" fmla="*/ 2147483647 h 1534"/>
              <a:gd name="T98" fmla="*/ 2147483647 w 1744"/>
              <a:gd name="T99" fmla="*/ 2147483647 h 1534"/>
              <a:gd name="T100" fmla="*/ 2147483647 w 1744"/>
              <a:gd name="T101" fmla="*/ 2147483647 h 1534"/>
              <a:gd name="T102" fmla="*/ 2147483647 w 1744"/>
              <a:gd name="T103" fmla="*/ 2147483647 h 1534"/>
              <a:gd name="T104" fmla="*/ 2147483647 w 1744"/>
              <a:gd name="T105" fmla="*/ 2147483647 h 153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744"/>
              <a:gd name="T160" fmla="*/ 0 h 1534"/>
              <a:gd name="T161" fmla="*/ 1744 w 1744"/>
              <a:gd name="T162" fmla="*/ 1534 h 153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744" h="1534">
                <a:moveTo>
                  <a:pt x="1629" y="396"/>
                </a:moveTo>
                <a:lnTo>
                  <a:pt x="1580" y="360"/>
                </a:lnTo>
                <a:lnTo>
                  <a:pt x="1339" y="316"/>
                </a:lnTo>
                <a:lnTo>
                  <a:pt x="1266" y="361"/>
                </a:lnTo>
                <a:lnTo>
                  <a:pt x="1230" y="363"/>
                </a:lnTo>
                <a:lnTo>
                  <a:pt x="1173" y="345"/>
                </a:lnTo>
                <a:lnTo>
                  <a:pt x="1125" y="402"/>
                </a:lnTo>
                <a:lnTo>
                  <a:pt x="1043" y="424"/>
                </a:lnTo>
                <a:lnTo>
                  <a:pt x="970" y="477"/>
                </a:lnTo>
                <a:lnTo>
                  <a:pt x="1015" y="517"/>
                </a:lnTo>
                <a:lnTo>
                  <a:pt x="1089" y="541"/>
                </a:lnTo>
                <a:lnTo>
                  <a:pt x="1140" y="592"/>
                </a:lnTo>
                <a:lnTo>
                  <a:pt x="1154" y="619"/>
                </a:lnTo>
                <a:lnTo>
                  <a:pt x="1098" y="576"/>
                </a:lnTo>
                <a:lnTo>
                  <a:pt x="1017" y="562"/>
                </a:lnTo>
                <a:lnTo>
                  <a:pt x="998" y="609"/>
                </a:lnTo>
                <a:lnTo>
                  <a:pt x="1054" y="646"/>
                </a:lnTo>
                <a:lnTo>
                  <a:pt x="1064" y="710"/>
                </a:lnTo>
                <a:lnTo>
                  <a:pt x="988" y="622"/>
                </a:lnTo>
                <a:lnTo>
                  <a:pt x="939" y="606"/>
                </a:lnTo>
                <a:lnTo>
                  <a:pt x="918" y="612"/>
                </a:lnTo>
                <a:lnTo>
                  <a:pt x="932" y="667"/>
                </a:lnTo>
                <a:lnTo>
                  <a:pt x="981" y="701"/>
                </a:lnTo>
                <a:lnTo>
                  <a:pt x="953" y="725"/>
                </a:lnTo>
                <a:lnTo>
                  <a:pt x="898" y="676"/>
                </a:lnTo>
                <a:lnTo>
                  <a:pt x="869" y="612"/>
                </a:lnTo>
                <a:lnTo>
                  <a:pt x="749" y="540"/>
                </a:lnTo>
                <a:lnTo>
                  <a:pt x="745" y="521"/>
                </a:lnTo>
                <a:lnTo>
                  <a:pt x="759" y="485"/>
                </a:lnTo>
                <a:lnTo>
                  <a:pt x="690" y="512"/>
                </a:lnTo>
                <a:lnTo>
                  <a:pt x="693" y="723"/>
                </a:lnTo>
                <a:lnTo>
                  <a:pt x="729" y="758"/>
                </a:lnTo>
                <a:lnTo>
                  <a:pt x="753" y="833"/>
                </a:lnTo>
                <a:lnTo>
                  <a:pt x="846" y="916"/>
                </a:lnTo>
                <a:lnTo>
                  <a:pt x="887" y="1008"/>
                </a:lnTo>
                <a:lnTo>
                  <a:pt x="863" y="1025"/>
                </a:lnTo>
                <a:lnTo>
                  <a:pt x="840" y="1019"/>
                </a:lnTo>
                <a:lnTo>
                  <a:pt x="850" y="986"/>
                </a:lnTo>
                <a:lnTo>
                  <a:pt x="825" y="955"/>
                </a:lnTo>
                <a:lnTo>
                  <a:pt x="778" y="950"/>
                </a:lnTo>
                <a:lnTo>
                  <a:pt x="768" y="994"/>
                </a:lnTo>
                <a:lnTo>
                  <a:pt x="798" y="1064"/>
                </a:lnTo>
                <a:lnTo>
                  <a:pt x="783" y="1081"/>
                </a:lnTo>
                <a:lnTo>
                  <a:pt x="677" y="1097"/>
                </a:lnTo>
                <a:lnTo>
                  <a:pt x="700" y="1130"/>
                </a:lnTo>
                <a:lnTo>
                  <a:pt x="846" y="1188"/>
                </a:lnTo>
                <a:lnTo>
                  <a:pt x="894" y="1189"/>
                </a:lnTo>
                <a:lnTo>
                  <a:pt x="922" y="1246"/>
                </a:lnTo>
                <a:lnTo>
                  <a:pt x="956" y="1245"/>
                </a:lnTo>
                <a:lnTo>
                  <a:pt x="1038" y="1314"/>
                </a:lnTo>
                <a:lnTo>
                  <a:pt x="1068" y="1316"/>
                </a:lnTo>
                <a:lnTo>
                  <a:pt x="1106" y="1339"/>
                </a:lnTo>
                <a:lnTo>
                  <a:pt x="1122" y="1534"/>
                </a:lnTo>
                <a:lnTo>
                  <a:pt x="1050" y="1493"/>
                </a:lnTo>
                <a:lnTo>
                  <a:pt x="993" y="1430"/>
                </a:lnTo>
                <a:lnTo>
                  <a:pt x="847" y="1449"/>
                </a:lnTo>
                <a:lnTo>
                  <a:pt x="798" y="1424"/>
                </a:lnTo>
                <a:lnTo>
                  <a:pt x="852" y="1406"/>
                </a:lnTo>
                <a:lnTo>
                  <a:pt x="860" y="1365"/>
                </a:lnTo>
                <a:lnTo>
                  <a:pt x="799" y="1358"/>
                </a:lnTo>
                <a:lnTo>
                  <a:pt x="724" y="1292"/>
                </a:lnTo>
                <a:lnTo>
                  <a:pt x="694" y="1322"/>
                </a:lnTo>
                <a:lnTo>
                  <a:pt x="643" y="1304"/>
                </a:lnTo>
                <a:lnTo>
                  <a:pt x="577" y="1316"/>
                </a:lnTo>
                <a:lnTo>
                  <a:pt x="512" y="1305"/>
                </a:lnTo>
                <a:lnTo>
                  <a:pt x="421" y="1320"/>
                </a:lnTo>
                <a:lnTo>
                  <a:pt x="349" y="1292"/>
                </a:lnTo>
                <a:lnTo>
                  <a:pt x="330" y="1292"/>
                </a:lnTo>
                <a:lnTo>
                  <a:pt x="319" y="1311"/>
                </a:lnTo>
                <a:lnTo>
                  <a:pt x="288" y="1322"/>
                </a:lnTo>
                <a:lnTo>
                  <a:pt x="170" y="1126"/>
                </a:lnTo>
                <a:lnTo>
                  <a:pt x="223" y="1131"/>
                </a:lnTo>
                <a:lnTo>
                  <a:pt x="273" y="1122"/>
                </a:lnTo>
                <a:lnTo>
                  <a:pt x="254" y="1078"/>
                </a:lnTo>
                <a:lnTo>
                  <a:pt x="179" y="1048"/>
                </a:lnTo>
                <a:lnTo>
                  <a:pt x="167" y="1095"/>
                </a:lnTo>
                <a:lnTo>
                  <a:pt x="87" y="965"/>
                </a:lnTo>
                <a:lnTo>
                  <a:pt x="37" y="928"/>
                </a:lnTo>
                <a:lnTo>
                  <a:pt x="16" y="846"/>
                </a:lnTo>
                <a:lnTo>
                  <a:pt x="6" y="833"/>
                </a:lnTo>
                <a:lnTo>
                  <a:pt x="0" y="833"/>
                </a:lnTo>
                <a:lnTo>
                  <a:pt x="6" y="837"/>
                </a:lnTo>
                <a:lnTo>
                  <a:pt x="49" y="803"/>
                </a:lnTo>
                <a:lnTo>
                  <a:pt x="70" y="770"/>
                </a:lnTo>
                <a:lnTo>
                  <a:pt x="86" y="710"/>
                </a:lnTo>
                <a:lnTo>
                  <a:pt x="135" y="674"/>
                </a:lnTo>
                <a:lnTo>
                  <a:pt x="180" y="586"/>
                </a:lnTo>
                <a:lnTo>
                  <a:pt x="244" y="526"/>
                </a:lnTo>
                <a:lnTo>
                  <a:pt x="233" y="405"/>
                </a:lnTo>
                <a:lnTo>
                  <a:pt x="412" y="378"/>
                </a:lnTo>
                <a:lnTo>
                  <a:pt x="466" y="324"/>
                </a:lnTo>
                <a:lnTo>
                  <a:pt x="556" y="287"/>
                </a:lnTo>
                <a:lnTo>
                  <a:pt x="658" y="284"/>
                </a:lnTo>
                <a:lnTo>
                  <a:pt x="728" y="215"/>
                </a:lnTo>
                <a:lnTo>
                  <a:pt x="1228" y="113"/>
                </a:lnTo>
                <a:lnTo>
                  <a:pt x="1278" y="152"/>
                </a:lnTo>
                <a:lnTo>
                  <a:pt x="1459" y="203"/>
                </a:lnTo>
                <a:lnTo>
                  <a:pt x="1558" y="174"/>
                </a:lnTo>
                <a:lnTo>
                  <a:pt x="1622" y="109"/>
                </a:lnTo>
                <a:lnTo>
                  <a:pt x="1624" y="9"/>
                </a:lnTo>
                <a:lnTo>
                  <a:pt x="1680" y="0"/>
                </a:lnTo>
                <a:lnTo>
                  <a:pt x="1695" y="29"/>
                </a:lnTo>
                <a:lnTo>
                  <a:pt x="1744" y="64"/>
                </a:lnTo>
                <a:lnTo>
                  <a:pt x="1742" y="120"/>
                </a:lnTo>
                <a:lnTo>
                  <a:pt x="1692" y="167"/>
                </a:lnTo>
                <a:lnTo>
                  <a:pt x="1677" y="319"/>
                </a:lnTo>
                <a:lnTo>
                  <a:pt x="1629" y="396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61" name="Freeform 175">
            <a:extLst>
              <a:ext uri="{FF2B5EF4-FFF2-40B4-BE49-F238E27FC236}">
                <a16:creationId xmlns:a16="http://schemas.microsoft.com/office/drawing/2014/main" id="{472EE1F4-7DB6-4696-93C3-3E3B0C72B302}"/>
              </a:ext>
            </a:extLst>
          </p:cNvPr>
          <p:cNvSpPr>
            <a:spLocks/>
          </p:cNvSpPr>
          <p:nvPr/>
        </p:nvSpPr>
        <p:spPr bwMode="auto">
          <a:xfrm rot="21249101">
            <a:off x="7807943" y="5149871"/>
            <a:ext cx="729007" cy="589852"/>
          </a:xfrm>
          <a:custGeom>
            <a:avLst/>
            <a:gdLst>
              <a:gd name="T0" fmla="*/ 2147483647 w 1744"/>
              <a:gd name="T1" fmla="*/ 2147483647 h 1534"/>
              <a:gd name="T2" fmla="*/ 2147483647 w 1744"/>
              <a:gd name="T3" fmla="*/ 2147483647 h 1534"/>
              <a:gd name="T4" fmla="*/ 2147483647 w 1744"/>
              <a:gd name="T5" fmla="*/ 2147483647 h 1534"/>
              <a:gd name="T6" fmla="*/ 2147483647 w 1744"/>
              <a:gd name="T7" fmla="*/ 2147483647 h 1534"/>
              <a:gd name="T8" fmla="*/ 2147483647 w 1744"/>
              <a:gd name="T9" fmla="*/ 2147483647 h 1534"/>
              <a:gd name="T10" fmla="*/ 2147483647 w 1744"/>
              <a:gd name="T11" fmla="*/ 2147483647 h 1534"/>
              <a:gd name="T12" fmla="*/ 2147483647 w 1744"/>
              <a:gd name="T13" fmla="*/ 2147483647 h 1534"/>
              <a:gd name="T14" fmla="*/ 2147483647 w 1744"/>
              <a:gd name="T15" fmla="*/ 2147483647 h 1534"/>
              <a:gd name="T16" fmla="*/ 2147483647 w 1744"/>
              <a:gd name="T17" fmla="*/ 2147483647 h 1534"/>
              <a:gd name="T18" fmla="*/ 2147483647 w 1744"/>
              <a:gd name="T19" fmla="*/ 2147483647 h 1534"/>
              <a:gd name="T20" fmla="*/ 2147483647 w 1744"/>
              <a:gd name="T21" fmla="*/ 2147483647 h 1534"/>
              <a:gd name="T22" fmla="*/ 2147483647 w 1744"/>
              <a:gd name="T23" fmla="*/ 2147483647 h 1534"/>
              <a:gd name="T24" fmla="*/ 2147483647 w 1744"/>
              <a:gd name="T25" fmla="*/ 2147483647 h 1534"/>
              <a:gd name="T26" fmla="*/ 2147483647 w 1744"/>
              <a:gd name="T27" fmla="*/ 2147483647 h 1534"/>
              <a:gd name="T28" fmla="*/ 2147483647 w 1744"/>
              <a:gd name="T29" fmla="*/ 2147483647 h 1534"/>
              <a:gd name="T30" fmla="*/ 2147483647 w 1744"/>
              <a:gd name="T31" fmla="*/ 2147483647 h 1534"/>
              <a:gd name="T32" fmla="*/ 2147483647 w 1744"/>
              <a:gd name="T33" fmla="*/ 2147483647 h 1534"/>
              <a:gd name="T34" fmla="*/ 2147483647 w 1744"/>
              <a:gd name="T35" fmla="*/ 2147483647 h 1534"/>
              <a:gd name="T36" fmla="*/ 2147483647 w 1744"/>
              <a:gd name="T37" fmla="*/ 2147483647 h 1534"/>
              <a:gd name="T38" fmla="*/ 2147483647 w 1744"/>
              <a:gd name="T39" fmla="*/ 2147483647 h 1534"/>
              <a:gd name="T40" fmla="*/ 2147483647 w 1744"/>
              <a:gd name="T41" fmla="*/ 2147483647 h 1534"/>
              <a:gd name="T42" fmla="*/ 2147483647 w 1744"/>
              <a:gd name="T43" fmla="*/ 2147483647 h 1534"/>
              <a:gd name="T44" fmla="*/ 2147483647 w 1744"/>
              <a:gd name="T45" fmla="*/ 2147483647 h 1534"/>
              <a:gd name="T46" fmla="*/ 2147483647 w 1744"/>
              <a:gd name="T47" fmla="*/ 2147483647 h 1534"/>
              <a:gd name="T48" fmla="*/ 2147483647 w 1744"/>
              <a:gd name="T49" fmla="*/ 2147483647 h 1534"/>
              <a:gd name="T50" fmla="*/ 2147483647 w 1744"/>
              <a:gd name="T51" fmla="*/ 2147483647 h 1534"/>
              <a:gd name="T52" fmla="*/ 2147483647 w 1744"/>
              <a:gd name="T53" fmla="*/ 2147483647 h 1534"/>
              <a:gd name="T54" fmla="*/ 2147483647 w 1744"/>
              <a:gd name="T55" fmla="*/ 2147483647 h 1534"/>
              <a:gd name="T56" fmla="*/ 2147483647 w 1744"/>
              <a:gd name="T57" fmla="*/ 2147483647 h 1534"/>
              <a:gd name="T58" fmla="*/ 2147483647 w 1744"/>
              <a:gd name="T59" fmla="*/ 2147483647 h 1534"/>
              <a:gd name="T60" fmla="*/ 2147483647 w 1744"/>
              <a:gd name="T61" fmla="*/ 2147483647 h 1534"/>
              <a:gd name="T62" fmla="*/ 2147483647 w 1744"/>
              <a:gd name="T63" fmla="*/ 2147483647 h 1534"/>
              <a:gd name="T64" fmla="*/ 2147483647 w 1744"/>
              <a:gd name="T65" fmla="*/ 2147483647 h 1534"/>
              <a:gd name="T66" fmla="*/ 2147483647 w 1744"/>
              <a:gd name="T67" fmla="*/ 2147483647 h 1534"/>
              <a:gd name="T68" fmla="*/ 2147483647 w 1744"/>
              <a:gd name="T69" fmla="*/ 2147483647 h 1534"/>
              <a:gd name="T70" fmla="*/ 2147483647 w 1744"/>
              <a:gd name="T71" fmla="*/ 2147483647 h 1534"/>
              <a:gd name="T72" fmla="*/ 2147483647 w 1744"/>
              <a:gd name="T73" fmla="*/ 2147483647 h 1534"/>
              <a:gd name="T74" fmla="*/ 2147483647 w 1744"/>
              <a:gd name="T75" fmla="*/ 2147483647 h 1534"/>
              <a:gd name="T76" fmla="*/ 2147483647 w 1744"/>
              <a:gd name="T77" fmla="*/ 2147483647 h 1534"/>
              <a:gd name="T78" fmla="*/ 2147483647 w 1744"/>
              <a:gd name="T79" fmla="*/ 2147483647 h 1534"/>
              <a:gd name="T80" fmla="*/ 2147483647 w 1744"/>
              <a:gd name="T81" fmla="*/ 2147483647 h 1534"/>
              <a:gd name="T82" fmla="*/ 2147483647 w 1744"/>
              <a:gd name="T83" fmla="*/ 2147483647 h 1534"/>
              <a:gd name="T84" fmla="*/ 2147483647 w 1744"/>
              <a:gd name="T85" fmla="*/ 2147483647 h 1534"/>
              <a:gd name="T86" fmla="*/ 2147483647 w 1744"/>
              <a:gd name="T87" fmla="*/ 2147483647 h 1534"/>
              <a:gd name="T88" fmla="*/ 2147483647 w 1744"/>
              <a:gd name="T89" fmla="*/ 2147483647 h 1534"/>
              <a:gd name="T90" fmla="*/ 2147483647 w 1744"/>
              <a:gd name="T91" fmla="*/ 2147483647 h 1534"/>
              <a:gd name="T92" fmla="*/ 2147483647 w 1744"/>
              <a:gd name="T93" fmla="*/ 2147483647 h 1534"/>
              <a:gd name="T94" fmla="*/ 2147483647 w 1744"/>
              <a:gd name="T95" fmla="*/ 2147483647 h 1534"/>
              <a:gd name="T96" fmla="*/ 2147483647 w 1744"/>
              <a:gd name="T97" fmla="*/ 2147483647 h 1534"/>
              <a:gd name="T98" fmla="*/ 2147483647 w 1744"/>
              <a:gd name="T99" fmla="*/ 2147483647 h 1534"/>
              <a:gd name="T100" fmla="*/ 2147483647 w 1744"/>
              <a:gd name="T101" fmla="*/ 2147483647 h 1534"/>
              <a:gd name="T102" fmla="*/ 2147483647 w 1744"/>
              <a:gd name="T103" fmla="*/ 2147483647 h 1534"/>
              <a:gd name="T104" fmla="*/ 2147483647 w 1744"/>
              <a:gd name="T105" fmla="*/ 2147483647 h 153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744"/>
              <a:gd name="T160" fmla="*/ 0 h 1534"/>
              <a:gd name="T161" fmla="*/ 1744 w 1744"/>
              <a:gd name="T162" fmla="*/ 1534 h 153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744" h="1534">
                <a:moveTo>
                  <a:pt x="1629" y="396"/>
                </a:moveTo>
                <a:lnTo>
                  <a:pt x="1580" y="360"/>
                </a:lnTo>
                <a:lnTo>
                  <a:pt x="1339" y="316"/>
                </a:lnTo>
                <a:lnTo>
                  <a:pt x="1266" y="361"/>
                </a:lnTo>
                <a:lnTo>
                  <a:pt x="1230" y="363"/>
                </a:lnTo>
                <a:lnTo>
                  <a:pt x="1173" y="345"/>
                </a:lnTo>
                <a:lnTo>
                  <a:pt x="1125" y="402"/>
                </a:lnTo>
                <a:lnTo>
                  <a:pt x="1043" y="424"/>
                </a:lnTo>
                <a:lnTo>
                  <a:pt x="970" y="477"/>
                </a:lnTo>
                <a:lnTo>
                  <a:pt x="1015" y="517"/>
                </a:lnTo>
                <a:lnTo>
                  <a:pt x="1089" y="541"/>
                </a:lnTo>
                <a:lnTo>
                  <a:pt x="1140" y="592"/>
                </a:lnTo>
                <a:lnTo>
                  <a:pt x="1154" y="619"/>
                </a:lnTo>
                <a:lnTo>
                  <a:pt x="1098" y="576"/>
                </a:lnTo>
                <a:lnTo>
                  <a:pt x="1017" y="562"/>
                </a:lnTo>
                <a:lnTo>
                  <a:pt x="998" y="609"/>
                </a:lnTo>
                <a:lnTo>
                  <a:pt x="1054" y="646"/>
                </a:lnTo>
                <a:lnTo>
                  <a:pt x="1064" y="710"/>
                </a:lnTo>
                <a:lnTo>
                  <a:pt x="988" y="622"/>
                </a:lnTo>
                <a:lnTo>
                  <a:pt x="939" y="606"/>
                </a:lnTo>
                <a:lnTo>
                  <a:pt x="918" y="612"/>
                </a:lnTo>
                <a:lnTo>
                  <a:pt x="932" y="667"/>
                </a:lnTo>
                <a:lnTo>
                  <a:pt x="981" y="701"/>
                </a:lnTo>
                <a:lnTo>
                  <a:pt x="953" y="725"/>
                </a:lnTo>
                <a:lnTo>
                  <a:pt x="898" y="676"/>
                </a:lnTo>
                <a:lnTo>
                  <a:pt x="869" y="612"/>
                </a:lnTo>
                <a:lnTo>
                  <a:pt x="749" y="540"/>
                </a:lnTo>
                <a:lnTo>
                  <a:pt x="745" y="521"/>
                </a:lnTo>
                <a:lnTo>
                  <a:pt x="759" y="485"/>
                </a:lnTo>
                <a:lnTo>
                  <a:pt x="690" y="512"/>
                </a:lnTo>
                <a:lnTo>
                  <a:pt x="693" y="723"/>
                </a:lnTo>
                <a:lnTo>
                  <a:pt x="729" y="758"/>
                </a:lnTo>
                <a:lnTo>
                  <a:pt x="753" y="833"/>
                </a:lnTo>
                <a:lnTo>
                  <a:pt x="846" y="916"/>
                </a:lnTo>
                <a:lnTo>
                  <a:pt x="887" y="1008"/>
                </a:lnTo>
                <a:lnTo>
                  <a:pt x="863" y="1025"/>
                </a:lnTo>
                <a:lnTo>
                  <a:pt x="840" y="1019"/>
                </a:lnTo>
                <a:lnTo>
                  <a:pt x="850" y="986"/>
                </a:lnTo>
                <a:lnTo>
                  <a:pt x="825" y="955"/>
                </a:lnTo>
                <a:lnTo>
                  <a:pt x="778" y="950"/>
                </a:lnTo>
                <a:lnTo>
                  <a:pt x="768" y="994"/>
                </a:lnTo>
                <a:lnTo>
                  <a:pt x="798" y="1064"/>
                </a:lnTo>
                <a:lnTo>
                  <a:pt x="783" y="1081"/>
                </a:lnTo>
                <a:lnTo>
                  <a:pt x="677" y="1097"/>
                </a:lnTo>
                <a:lnTo>
                  <a:pt x="700" y="1130"/>
                </a:lnTo>
                <a:lnTo>
                  <a:pt x="846" y="1188"/>
                </a:lnTo>
                <a:lnTo>
                  <a:pt x="894" y="1189"/>
                </a:lnTo>
                <a:lnTo>
                  <a:pt x="922" y="1246"/>
                </a:lnTo>
                <a:lnTo>
                  <a:pt x="956" y="1245"/>
                </a:lnTo>
                <a:lnTo>
                  <a:pt x="1038" y="1314"/>
                </a:lnTo>
                <a:lnTo>
                  <a:pt x="1068" y="1316"/>
                </a:lnTo>
                <a:lnTo>
                  <a:pt x="1106" y="1339"/>
                </a:lnTo>
                <a:lnTo>
                  <a:pt x="1122" y="1534"/>
                </a:lnTo>
                <a:lnTo>
                  <a:pt x="1050" y="1493"/>
                </a:lnTo>
                <a:lnTo>
                  <a:pt x="993" y="1430"/>
                </a:lnTo>
                <a:lnTo>
                  <a:pt x="847" y="1449"/>
                </a:lnTo>
                <a:lnTo>
                  <a:pt x="798" y="1424"/>
                </a:lnTo>
                <a:lnTo>
                  <a:pt x="852" y="1406"/>
                </a:lnTo>
                <a:lnTo>
                  <a:pt x="860" y="1365"/>
                </a:lnTo>
                <a:lnTo>
                  <a:pt x="799" y="1358"/>
                </a:lnTo>
                <a:lnTo>
                  <a:pt x="724" y="1292"/>
                </a:lnTo>
                <a:lnTo>
                  <a:pt x="694" y="1322"/>
                </a:lnTo>
                <a:lnTo>
                  <a:pt x="643" y="1304"/>
                </a:lnTo>
                <a:lnTo>
                  <a:pt x="577" y="1316"/>
                </a:lnTo>
                <a:lnTo>
                  <a:pt x="512" y="1305"/>
                </a:lnTo>
                <a:lnTo>
                  <a:pt x="421" y="1320"/>
                </a:lnTo>
                <a:lnTo>
                  <a:pt x="349" y="1292"/>
                </a:lnTo>
                <a:lnTo>
                  <a:pt x="330" y="1292"/>
                </a:lnTo>
                <a:lnTo>
                  <a:pt x="319" y="1311"/>
                </a:lnTo>
                <a:lnTo>
                  <a:pt x="288" y="1322"/>
                </a:lnTo>
                <a:lnTo>
                  <a:pt x="170" y="1126"/>
                </a:lnTo>
                <a:lnTo>
                  <a:pt x="223" y="1131"/>
                </a:lnTo>
                <a:lnTo>
                  <a:pt x="273" y="1122"/>
                </a:lnTo>
                <a:lnTo>
                  <a:pt x="254" y="1078"/>
                </a:lnTo>
                <a:lnTo>
                  <a:pt x="179" y="1048"/>
                </a:lnTo>
                <a:lnTo>
                  <a:pt x="167" y="1095"/>
                </a:lnTo>
                <a:lnTo>
                  <a:pt x="87" y="965"/>
                </a:lnTo>
                <a:lnTo>
                  <a:pt x="37" y="928"/>
                </a:lnTo>
                <a:lnTo>
                  <a:pt x="16" y="846"/>
                </a:lnTo>
                <a:lnTo>
                  <a:pt x="6" y="833"/>
                </a:lnTo>
                <a:lnTo>
                  <a:pt x="0" y="833"/>
                </a:lnTo>
                <a:lnTo>
                  <a:pt x="6" y="837"/>
                </a:lnTo>
                <a:lnTo>
                  <a:pt x="49" y="803"/>
                </a:lnTo>
                <a:lnTo>
                  <a:pt x="70" y="770"/>
                </a:lnTo>
                <a:lnTo>
                  <a:pt x="86" y="710"/>
                </a:lnTo>
                <a:lnTo>
                  <a:pt x="135" y="674"/>
                </a:lnTo>
                <a:lnTo>
                  <a:pt x="180" y="586"/>
                </a:lnTo>
                <a:lnTo>
                  <a:pt x="244" y="526"/>
                </a:lnTo>
                <a:lnTo>
                  <a:pt x="233" y="405"/>
                </a:lnTo>
                <a:lnTo>
                  <a:pt x="412" y="378"/>
                </a:lnTo>
                <a:lnTo>
                  <a:pt x="466" y="324"/>
                </a:lnTo>
                <a:lnTo>
                  <a:pt x="556" y="287"/>
                </a:lnTo>
                <a:lnTo>
                  <a:pt x="658" y="284"/>
                </a:lnTo>
                <a:lnTo>
                  <a:pt x="728" y="215"/>
                </a:lnTo>
                <a:lnTo>
                  <a:pt x="1228" y="113"/>
                </a:lnTo>
                <a:lnTo>
                  <a:pt x="1278" y="152"/>
                </a:lnTo>
                <a:lnTo>
                  <a:pt x="1459" y="203"/>
                </a:lnTo>
                <a:lnTo>
                  <a:pt x="1558" y="174"/>
                </a:lnTo>
                <a:lnTo>
                  <a:pt x="1622" y="109"/>
                </a:lnTo>
                <a:lnTo>
                  <a:pt x="1624" y="9"/>
                </a:lnTo>
                <a:lnTo>
                  <a:pt x="1680" y="0"/>
                </a:lnTo>
                <a:lnTo>
                  <a:pt x="1695" y="29"/>
                </a:lnTo>
                <a:lnTo>
                  <a:pt x="1744" y="64"/>
                </a:lnTo>
                <a:lnTo>
                  <a:pt x="1742" y="120"/>
                </a:lnTo>
                <a:lnTo>
                  <a:pt x="1692" y="167"/>
                </a:lnTo>
                <a:lnTo>
                  <a:pt x="1677" y="319"/>
                </a:lnTo>
                <a:lnTo>
                  <a:pt x="1629" y="396"/>
                </a:lnTo>
              </a:path>
            </a:pathLst>
          </a:custGeom>
          <a:solidFill>
            <a:srgbClr val="4BB2FF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AT" kern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62" name="Freeform 176">
            <a:extLst>
              <a:ext uri="{FF2B5EF4-FFF2-40B4-BE49-F238E27FC236}">
                <a16:creationId xmlns:a16="http://schemas.microsoft.com/office/drawing/2014/main" id="{5190EBA8-6047-4BEF-8709-6323BB4AF25A}"/>
              </a:ext>
            </a:extLst>
          </p:cNvPr>
          <p:cNvSpPr>
            <a:spLocks/>
          </p:cNvSpPr>
          <p:nvPr/>
        </p:nvSpPr>
        <p:spPr bwMode="auto">
          <a:xfrm rot="21249101">
            <a:off x="7267472" y="4288032"/>
            <a:ext cx="693094" cy="381764"/>
          </a:xfrm>
          <a:custGeom>
            <a:avLst/>
            <a:gdLst>
              <a:gd name="T0" fmla="*/ 2147483647 w 1656"/>
              <a:gd name="T1" fmla="*/ 2147483647 h 1000"/>
              <a:gd name="T2" fmla="*/ 2147483647 w 1656"/>
              <a:gd name="T3" fmla="*/ 2147483647 h 1000"/>
              <a:gd name="T4" fmla="*/ 2147483647 w 1656"/>
              <a:gd name="T5" fmla="*/ 2147483647 h 1000"/>
              <a:gd name="T6" fmla="*/ 2147483647 w 1656"/>
              <a:gd name="T7" fmla="*/ 2147483647 h 1000"/>
              <a:gd name="T8" fmla="*/ 2147483647 w 1656"/>
              <a:gd name="T9" fmla="*/ 2147483647 h 1000"/>
              <a:gd name="T10" fmla="*/ 2147483647 w 1656"/>
              <a:gd name="T11" fmla="*/ 2147483647 h 1000"/>
              <a:gd name="T12" fmla="*/ 2147483647 w 1656"/>
              <a:gd name="T13" fmla="*/ 2147483647 h 1000"/>
              <a:gd name="T14" fmla="*/ 2147483647 w 1656"/>
              <a:gd name="T15" fmla="*/ 2147483647 h 1000"/>
              <a:gd name="T16" fmla="*/ 2147483647 w 1656"/>
              <a:gd name="T17" fmla="*/ 2147483647 h 1000"/>
              <a:gd name="T18" fmla="*/ 2147483647 w 1656"/>
              <a:gd name="T19" fmla="*/ 2147483647 h 1000"/>
              <a:gd name="T20" fmla="*/ 2147483647 w 1656"/>
              <a:gd name="T21" fmla="*/ 0 h 1000"/>
              <a:gd name="T22" fmla="*/ 2147483647 w 1656"/>
              <a:gd name="T23" fmla="*/ 2147483647 h 1000"/>
              <a:gd name="T24" fmla="*/ 2147483647 w 1656"/>
              <a:gd name="T25" fmla="*/ 2147483647 h 1000"/>
              <a:gd name="T26" fmla="*/ 2147483647 w 1656"/>
              <a:gd name="T27" fmla="*/ 2147483647 h 1000"/>
              <a:gd name="T28" fmla="*/ 2147483647 w 1656"/>
              <a:gd name="T29" fmla="*/ 2147483647 h 1000"/>
              <a:gd name="T30" fmla="*/ 2147483647 w 1656"/>
              <a:gd name="T31" fmla="*/ 2147483647 h 1000"/>
              <a:gd name="T32" fmla="*/ 2147483647 w 1656"/>
              <a:gd name="T33" fmla="*/ 2147483647 h 1000"/>
              <a:gd name="T34" fmla="*/ 2147483647 w 1656"/>
              <a:gd name="T35" fmla="*/ 2147483647 h 1000"/>
              <a:gd name="T36" fmla="*/ 2147483647 w 1656"/>
              <a:gd name="T37" fmla="*/ 2147483647 h 1000"/>
              <a:gd name="T38" fmla="*/ 2147483647 w 1656"/>
              <a:gd name="T39" fmla="*/ 2147483647 h 1000"/>
              <a:gd name="T40" fmla="*/ 2147483647 w 1656"/>
              <a:gd name="T41" fmla="*/ 2147483647 h 1000"/>
              <a:gd name="T42" fmla="*/ 2147483647 w 1656"/>
              <a:gd name="T43" fmla="*/ 2147483647 h 1000"/>
              <a:gd name="T44" fmla="*/ 2147483647 w 1656"/>
              <a:gd name="T45" fmla="*/ 2147483647 h 1000"/>
              <a:gd name="T46" fmla="*/ 2147483647 w 1656"/>
              <a:gd name="T47" fmla="*/ 2147483647 h 1000"/>
              <a:gd name="T48" fmla="*/ 2147483647 w 1656"/>
              <a:gd name="T49" fmla="*/ 2147483647 h 1000"/>
              <a:gd name="T50" fmla="*/ 2147483647 w 1656"/>
              <a:gd name="T51" fmla="*/ 2147483647 h 1000"/>
              <a:gd name="T52" fmla="*/ 2147483647 w 1656"/>
              <a:gd name="T53" fmla="*/ 2147483647 h 1000"/>
              <a:gd name="T54" fmla="*/ 2147483647 w 1656"/>
              <a:gd name="T55" fmla="*/ 2147483647 h 1000"/>
              <a:gd name="T56" fmla="*/ 2147483647 w 1656"/>
              <a:gd name="T57" fmla="*/ 2147483647 h 1000"/>
              <a:gd name="T58" fmla="*/ 2147483647 w 1656"/>
              <a:gd name="T59" fmla="*/ 2147483647 h 1000"/>
              <a:gd name="T60" fmla="*/ 2147483647 w 1656"/>
              <a:gd name="T61" fmla="*/ 2147483647 h 1000"/>
              <a:gd name="T62" fmla="*/ 2147483647 w 1656"/>
              <a:gd name="T63" fmla="*/ 2147483647 h 1000"/>
              <a:gd name="T64" fmla="*/ 2147483647 w 1656"/>
              <a:gd name="T65" fmla="*/ 2147483647 h 1000"/>
              <a:gd name="T66" fmla="*/ 2147483647 w 1656"/>
              <a:gd name="T67" fmla="*/ 2147483647 h 1000"/>
              <a:gd name="T68" fmla="*/ 2147483647 w 1656"/>
              <a:gd name="T69" fmla="*/ 2147483647 h 1000"/>
              <a:gd name="T70" fmla="*/ 2147483647 w 1656"/>
              <a:gd name="T71" fmla="*/ 2147483647 h 1000"/>
              <a:gd name="T72" fmla="*/ 2147483647 w 1656"/>
              <a:gd name="T73" fmla="*/ 2147483647 h 1000"/>
              <a:gd name="T74" fmla="*/ 2147483647 w 1656"/>
              <a:gd name="T75" fmla="*/ 2147483647 h 1000"/>
              <a:gd name="T76" fmla="*/ 2147483647 w 1656"/>
              <a:gd name="T77" fmla="*/ 2147483647 h 1000"/>
              <a:gd name="T78" fmla="*/ 2147483647 w 1656"/>
              <a:gd name="T79" fmla="*/ 2147483647 h 1000"/>
              <a:gd name="T80" fmla="*/ 2147483647 w 1656"/>
              <a:gd name="T81" fmla="*/ 2147483647 h 1000"/>
              <a:gd name="T82" fmla="*/ 2147483647 w 1656"/>
              <a:gd name="T83" fmla="*/ 2147483647 h 1000"/>
              <a:gd name="T84" fmla="*/ 2147483647 w 1656"/>
              <a:gd name="T85" fmla="*/ 2147483647 h 1000"/>
              <a:gd name="T86" fmla="*/ 0 w 1656"/>
              <a:gd name="T87" fmla="*/ 2147483647 h 1000"/>
              <a:gd name="T88" fmla="*/ 2147483647 w 1656"/>
              <a:gd name="T89" fmla="*/ 2147483647 h 1000"/>
              <a:gd name="T90" fmla="*/ 2147483647 w 1656"/>
              <a:gd name="T91" fmla="*/ 2147483647 h 1000"/>
              <a:gd name="T92" fmla="*/ 2147483647 w 1656"/>
              <a:gd name="T93" fmla="*/ 2147483647 h 1000"/>
              <a:gd name="T94" fmla="*/ 2147483647 w 1656"/>
              <a:gd name="T95" fmla="*/ 2147483647 h 1000"/>
              <a:gd name="T96" fmla="*/ 2147483647 w 1656"/>
              <a:gd name="T97" fmla="*/ 2147483647 h 1000"/>
              <a:gd name="T98" fmla="*/ 2147483647 w 1656"/>
              <a:gd name="T99" fmla="*/ 2147483647 h 1000"/>
              <a:gd name="T100" fmla="*/ 2147483647 w 1656"/>
              <a:gd name="T101" fmla="*/ 2147483647 h 1000"/>
              <a:gd name="T102" fmla="*/ 2147483647 w 1656"/>
              <a:gd name="T103" fmla="*/ 2147483647 h 1000"/>
              <a:gd name="T104" fmla="*/ 2147483647 w 1656"/>
              <a:gd name="T105" fmla="*/ 2147483647 h 10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656"/>
              <a:gd name="T160" fmla="*/ 0 h 1000"/>
              <a:gd name="T161" fmla="*/ 1656 w 1656"/>
              <a:gd name="T162" fmla="*/ 1000 h 10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656" h="1000">
                <a:moveTo>
                  <a:pt x="277" y="161"/>
                </a:moveTo>
                <a:lnTo>
                  <a:pt x="440" y="283"/>
                </a:lnTo>
                <a:lnTo>
                  <a:pt x="614" y="279"/>
                </a:lnTo>
                <a:lnTo>
                  <a:pt x="675" y="194"/>
                </a:lnTo>
                <a:lnTo>
                  <a:pt x="882" y="116"/>
                </a:lnTo>
                <a:lnTo>
                  <a:pt x="956" y="140"/>
                </a:lnTo>
                <a:lnTo>
                  <a:pt x="1061" y="97"/>
                </a:lnTo>
                <a:lnTo>
                  <a:pt x="1081" y="47"/>
                </a:lnTo>
                <a:lnTo>
                  <a:pt x="1152" y="7"/>
                </a:lnTo>
                <a:lnTo>
                  <a:pt x="1228" y="13"/>
                </a:lnTo>
                <a:lnTo>
                  <a:pt x="1280" y="0"/>
                </a:lnTo>
                <a:lnTo>
                  <a:pt x="1349" y="17"/>
                </a:lnTo>
                <a:lnTo>
                  <a:pt x="1422" y="63"/>
                </a:lnTo>
                <a:lnTo>
                  <a:pt x="1478" y="48"/>
                </a:lnTo>
                <a:lnTo>
                  <a:pt x="1636" y="155"/>
                </a:lnTo>
                <a:lnTo>
                  <a:pt x="1656" y="203"/>
                </a:lnTo>
                <a:lnTo>
                  <a:pt x="1608" y="266"/>
                </a:lnTo>
                <a:lnTo>
                  <a:pt x="1575" y="267"/>
                </a:lnTo>
                <a:lnTo>
                  <a:pt x="1511" y="296"/>
                </a:lnTo>
                <a:lnTo>
                  <a:pt x="1467" y="345"/>
                </a:lnTo>
                <a:lnTo>
                  <a:pt x="1465" y="378"/>
                </a:lnTo>
                <a:lnTo>
                  <a:pt x="1440" y="425"/>
                </a:lnTo>
                <a:lnTo>
                  <a:pt x="1430" y="476"/>
                </a:lnTo>
                <a:lnTo>
                  <a:pt x="1254" y="799"/>
                </a:lnTo>
                <a:lnTo>
                  <a:pt x="1036" y="878"/>
                </a:lnTo>
                <a:lnTo>
                  <a:pt x="1022" y="878"/>
                </a:lnTo>
                <a:lnTo>
                  <a:pt x="1000" y="845"/>
                </a:lnTo>
                <a:lnTo>
                  <a:pt x="945" y="864"/>
                </a:lnTo>
                <a:lnTo>
                  <a:pt x="889" y="867"/>
                </a:lnTo>
                <a:lnTo>
                  <a:pt x="816" y="914"/>
                </a:lnTo>
                <a:lnTo>
                  <a:pt x="750" y="916"/>
                </a:lnTo>
                <a:lnTo>
                  <a:pt x="719" y="940"/>
                </a:lnTo>
                <a:lnTo>
                  <a:pt x="655" y="946"/>
                </a:lnTo>
                <a:lnTo>
                  <a:pt x="595" y="980"/>
                </a:lnTo>
                <a:lnTo>
                  <a:pt x="453" y="1000"/>
                </a:lnTo>
                <a:lnTo>
                  <a:pt x="387" y="953"/>
                </a:lnTo>
                <a:lnTo>
                  <a:pt x="334" y="934"/>
                </a:lnTo>
                <a:lnTo>
                  <a:pt x="283" y="863"/>
                </a:lnTo>
                <a:lnTo>
                  <a:pt x="221" y="827"/>
                </a:lnTo>
                <a:lnTo>
                  <a:pt x="177" y="756"/>
                </a:lnTo>
                <a:lnTo>
                  <a:pt x="126" y="730"/>
                </a:lnTo>
                <a:lnTo>
                  <a:pt x="65" y="606"/>
                </a:lnTo>
                <a:lnTo>
                  <a:pt x="33" y="587"/>
                </a:lnTo>
                <a:lnTo>
                  <a:pt x="0" y="584"/>
                </a:lnTo>
                <a:lnTo>
                  <a:pt x="49" y="537"/>
                </a:lnTo>
                <a:lnTo>
                  <a:pt x="99" y="526"/>
                </a:lnTo>
                <a:lnTo>
                  <a:pt x="100" y="435"/>
                </a:lnTo>
                <a:lnTo>
                  <a:pt x="143" y="355"/>
                </a:lnTo>
                <a:lnTo>
                  <a:pt x="114" y="315"/>
                </a:lnTo>
                <a:lnTo>
                  <a:pt x="134" y="282"/>
                </a:lnTo>
                <a:lnTo>
                  <a:pt x="251" y="285"/>
                </a:lnTo>
                <a:lnTo>
                  <a:pt x="273" y="249"/>
                </a:lnTo>
                <a:lnTo>
                  <a:pt x="277" y="161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63" name="Freeform 177">
            <a:extLst>
              <a:ext uri="{FF2B5EF4-FFF2-40B4-BE49-F238E27FC236}">
                <a16:creationId xmlns:a16="http://schemas.microsoft.com/office/drawing/2014/main" id="{7D85C654-AA99-4728-90DC-8E14F016D1A9}"/>
              </a:ext>
            </a:extLst>
          </p:cNvPr>
          <p:cNvSpPr>
            <a:spLocks/>
          </p:cNvSpPr>
          <p:nvPr/>
        </p:nvSpPr>
        <p:spPr bwMode="auto">
          <a:xfrm rot="21249101">
            <a:off x="7267472" y="4288032"/>
            <a:ext cx="693094" cy="381764"/>
          </a:xfrm>
          <a:custGeom>
            <a:avLst/>
            <a:gdLst>
              <a:gd name="T0" fmla="*/ 2147483647 w 1656"/>
              <a:gd name="T1" fmla="*/ 2147483647 h 1000"/>
              <a:gd name="T2" fmla="*/ 2147483647 w 1656"/>
              <a:gd name="T3" fmla="*/ 2147483647 h 1000"/>
              <a:gd name="T4" fmla="*/ 2147483647 w 1656"/>
              <a:gd name="T5" fmla="*/ 2147483647 h 1000"/>
              <a:gd name="T6" fmla="*/ 2147483647 w 1656"/>
              <a:gd name="T7" fmla="*/ 2147483647 h 1000"/>
              <a:gd name="T8" fmla="*/ 2147483647 w 1656"/>
              <a:gd name="T9" fmla="*/ 2147483647 h 1000"/>
              <a:gd name="T10" fmla="*/ 2147483647 w 1656"/>
              <a:gd name="T11" fmla="*/ 2147483647 h 1000"/>
              <a:gd name="T12" fmla="*/ 2147483647 w 1656"/>
              <a:gd name="T13" fmla="*/ 2147483647 h 1000"/>
              <a:gd name="T14" fmla="*/ 2147483647 w 1656"/>
              <a:gd name="T15" fmla="*/ 2147483647 h 1000"/>
              <a:gd name="T16" fmla="*/ 2147483647 w 1656"/>
              <a:gd name="T17" fmla="*/ 2147483647 h 1000"/>
              <a:gd name="T18" fmla="*/ 2147483647 w 1656"/>
              <a:gd name="T19" fmla="*/ 2147483647 h 1000"/>
              <a:gd name="T20" fmla="*/ 2147483647 w 1656"/>
              <a:gd name="T21" fmla="*/ 0 h 1000"/>
              <a:gd name="T22" fmla="*/ 2147483647 w 1656"/>
              <a:gd name="T23" fmla="*/ 2147483647 h 1000"/>
              <a:gd name="T24" fmla="*/ 2147483647 w 1656"/>
              <a:gd name="T25" fmla="*/ 2147483647 h 1000"/>
              <a:gd name="T26" fmla="*/ 2147483647 w 1656"/>
              <a:gd name="T27" fmla="*/ 2147483647 h 1000"/>
              <a:gd name="T28" fmla="*/ 2147483647 w 1656"/>
              <a:gd name="T29" fmla="*/ 2147483647 h 1000"/>
              <a:gd name="T30" fmla="*/ 2147483647 w 1656"/>
              <a:gd name="T31" fmla="*/ 2147483647 h 1000"/>
              <a:gd name="T32" fmla="*/ 2147483647 w 1656"/>
              <a:gd name="T33" fmla="*/ 2147483647 h 1000"/>
              <a:gd name="T34" fmla="*/ 2147483647 w 1656"/>
              <a:gd name="T35" fmla="*/ 2147483647 h 1000"/>
              <a:gd name="T36" fmla="*/ 2147483647 w 1656"/>
              <a:gd name="T37" fmla="*/ 2147483647 h 1000"/>
              <a:gd name="T38" fmla="*/ 2147483647 w 1656"/>
              <a:gd name="T39" fmla="*/ 2147483647 h 1000"/>
              <a:gd name="T40" fmla="*/ 2147483647 w 1656"/>
              <a:gd name="T41" fmla="*/ 2147483647 h 1000"/>
              <a:gd name="T42" fmla="*/ 2147483647 w 1656"/>
              <a:gd name="T43" fmla="*/ 2147483647 h 1000"/>
              <a:gd name="T44" fmla="*/ 2147483647 w 1656"/>
              <a:gd name="T45" fmla="*/ 2147483647 h 1000"/>
              <a:gd name="T46" fmla="*/ 2147483647 w 1656"/>
              <a:gd name="T47" fmla="*/ 2147483647 h 1000"/>
              <a:gd name="T48" fmla="*/ 2147483647 w 1656"/>
              <a:gd name="T49" fmla="*/ 2147483647 h 1000"/>
              <a:gd name="T50" fmla="*/ 2147483647 w 1656"/>
              <a:gd name="T51" fmla="*/ 2147483647 h 1000"/>
              <a:gd name="T52" fmla="*/ 2147483647 w 1656"/>
              <a:gd name="T53" fmla="*/ 2147483647 h 1000"/>
              <a:gd name="T54" fmla="*/ 2147483647 w 1656"/>
              <a:gd name="T55" fmla="*/ 2147483647 h 1000"/>
              <a:gd name="T56" fmla="*/ 2147483647 w 1656"/>
              <a:gd name="T57" fmla="*/ 2147483647 h 1000"/>
              <a:gd name="T58" fmla="*/ 2147483647 w 1656"/>
              <a:gd name="T59" fmla="*/ 2147483647 h 1000"/>
              <a:gd name="T60" fmla="*/ 2147483647 w 1656"/>
              <a:gd name="T61" fmla="*/ 2147483647 h 1000"/>
              <a:gd name="T62" fmla="*/ 2147483647 w 1656"/>
              <a:gd name="T63" fmla="*/ 2147483647 h 1000"/>
              <a:gd name="T64" fmla="*/ 2147483647 w 1656"/>
              <a:gd name="T65" fmla="*/ 2147483647 h 1000"/>
              <a:gd name="T66" fmla="*/ 2147483647 w 1656"/>
              <a:gd name="T67" fmla="*/ 2147483647 h 1000"/>
              <a:gd name="T68" fmla="*/ 2147483647 w 1656"/>
              <a:gd name="T69" fmla="*/ 2147483647 h 1000"/>
              <a:gd name="T70" fmla="*/ 2147483647 w 1656"/>
              <a:gd name="T71" fmla="*/ 2147483647 h 1000"/>
              <a:gd name="T72" fmla="*/ 2147483647 w 1656"/>
              <a:gd name="T73" fmla="*/ 2147483647 h 1000"/>
              <a:gd name="T74" fmla="*/ 2147483647 w 1656"/>
              <a:gd name="T75" fmla="*/ 2147483647 h 1000"/>
              <a:gd name="T76" fmla="*/ 2147483647 w 1656"/>
              <a:gd name="T77" fmla="*/ 2147483647 h 1000"/>
              <a:gd name="T78" fmla="*/ 2147483647 w 1656"/>
              <a:gd name="T79" fmla="*/ 2147483647 h 1000"/>
              <a:gd name="T80" fmla="*/ 2147483647 w 1656"/>
              <a:gd name="T81" fmla="*/ 2147483647 h 1000"/>
              <a:gd name="T82" fmla="*/ 2147483647 w 1656"/>
              <a:gd name="T83" fmla="*/ 2147483647 h 1000"/>
              <a:gd name="T84" fmla="*/ 2147483647 w 1656"/>
              <a:gd name="T85" fmla="*/ 2147483647 h 1000"/>
              <a:gd name="T86" fmla="*/ 0 w 1656"/>
              <a:gd name="T87" fmla="*/ 2147483647 h 1000"/>
              <a:gd name="T88" fmla="*/ 2147483647 w 1656"/>
              <a:gd name="T89" fmla="*/ 2147483647 h 1000"/>
              <a:gd name="T90" fmla="*/ 2147483647 w 1656"/>
              <a:gd name="T91" fmla="*/ 2147483647 h 1000"/>
              <a:gd name="T92" fmla="*/ 2147483647 w 1656"/>
              <a:gd name="T93" fmla="*/ 2147483647 h 1000"/>
              <a:gd name="T94" fmla="*/ 2147483647 w 1656"/>
              <a:gd name="T95" fmla="*/ 2147483647 h 1000"/>
              <a:gd name="T96" fmla="*/ 2147483647 w 1656"/>
              <a:gd name="T97" fmla="*/ 2147483647 h 1000"/>
              <a:gd name="T98" fmla="*/ 2147483647 w 1656"/>
              <a:gd name="T99" fmla="*/ 2147483647 h 1000"/>
              <a:gd name="T100" fmla="*/ 2147483647 w 1656"/>
              <a:gd name="T101" fmla="*/ 2147483647 h 1000"/>
              <a:gd name="T102" fmla="*/ 2147483647 w 1656"/>
              <a:gd name="T103" fmla="*/ 2147483647 h 1000"/>
              <a:gd name="T104" fmla="*/ 2147483647 w 1656"/>
              <a:gd name="T105" fmla="*/ 2147483647 h 10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656"/>
              <a:gd name="T160" fmla="*/ 0 h 1000"/>
              <a:gd name="T161" fmla="*/ 1656 w 1656"/>
              <a:gd name="T162" fmla="*/ 1000 h 10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656" h="1000">
                <a:moveTo>
                  <a:pt x="277" y="161"/>
                </a:moveTo>
                <a:lnTo>
                  <a:pt x="440" y="283"/>
                </a:lnTo>
                <a:lnTo>
                  <a:pt x="614" y="279"/>
                </a:lnTo>
                <a:lnTo>
                  <a:pt x="675" y="194"/>
                </a:lnTo>
                <a:lnTo>
                  <a:pt x="882" y="116"/>
                </a:lnTo>
                <a:lnTo>
                  <a:pt x="956" y="140"/>
                </a:lnTo>
                <a:lnTo>
                  <a:pt x="1061" y="97"/>
                </a:lnTo>
                <a:lnTo>
                  <a:pt x="1081" y="47"/>
                </a:lnTo>
                <a:lnTo>
                  <a:pt x="1152" y="7"/>
                </a:lnTo>
                <a:lnTo>
                  <a:pt x="1228" y="13"/>
                </a:lnTo>
                <a:lnTo>
                  <a:pt x="1280" y="0"/>
                </a:lnTo>
                <a:lnTo>
                  <a:pt x="1349" y="17"/>
                </a:lnTo>
                <a:lnTo>
                  <a:pt x="1422" y="63"/>
                </a:lnTo>
                <a:lnTo>
                  <a:pt x="1478" y="48"/>
                </a:lnTo>
                <a:lnTo>
                  <a:pt x="1636" y="155"/>
                </a:lnTo>
                <a:lnTo>
                  <a:pt x="1656" y="203"/>
                </a:lnTo>
                <a:lnTo>
                  <a:pt x="1608" y="266"/>
                </a:lnTo>
                <a:lnTo>
                  <a:pt x="1575" y="267"/>
                </a:lnTo>
                <a:lnTo>
                  <a:pt x="1511" y="296"/>
                </a:lnTo>
                <a:lnTo>
                  <a:pt x="1467" y="345"/>
                </a:lnTo>
                <a:lnTo>
                  <a:pt x="1465" y="378"/>
                </a:lnTo>
                <a:lnTo>
                  <a:pt x="1440" y="425"/>
                </a:lnTo>
                <a:lnTo>
                  <a:pt x="1430" y="476"/>
                </a:lnTo>
                <a:lnTo>
                  <a:pt x="1254" y="799"/>
                </a:lnTo>
                <a:lnTo>
                  <a:pt x="1036" y="878"/>
                </a:lnTo>
                <a:lnTo>
                  <a:pt x="1022" y="878"/>
                </a:lnTo>
                <a:lnTo>
                  <a:pt x="1000" y="845"/>
                </a:lnTo>
                <a:lnTo>
                  <a:pt x="945" y="864"/>
                </a:lnTo>
                <a:lnTo>
                  <a:pt x="889" y="867"/>
                </a:lnTo>
                <a:lnTo>
                  <a:pt x="816" y="914"/>
                </a:lnTo>
                <a:lnTo>
                  <a:pt x="750" y="916"/>
                </a:lnTo>
                <a:lnTo>
                  <a:pt x="719" y="940"/>
                </a:lnTo>
                <a:lnTo>
                  <a:pt x="655" y="946"/>
                </a:lnTo>
                <a:lnTo>
                  <a:pt x="595" y="980"/>
                </a:lnTo>
                <a:lnTo>
                  <a:pt x="453" y="1000"/>
                </a:lnTo>
                <a:lnTo>
                  <a:pt x="387" y="953"/>
                </a:lnTo>
                <a:lnTo>
                  <a:pt x="334" y="934"/>
                </a:lnTo>
                <a:lnTo>
                  <a:pt x="283" y="863"/>
                </a:lnTo>
                <a:lnTo>
                  <a:pt x="221" y="827"/>
                </a:lnTo>
                <a:lnTo>
                  <a:pt x="177" y="756"/>
                </a:lnTo>
                <a:lnTo>
                  <a:pt x="126" y="730"/>
                </a:lnTo>
                <a:lnTo>
                  <a:pt x="65" y="606"/>
                </a:lnTo>
                <a:lnTo>
                  <a:pt x="33" y="587"/>
                </a:lnTo>
                <a:lnTo>
                  <a:pt x="0" y="584"/>
                </a:lnTo>
                <a:lnTo>
                  <a:pt x="49" y="537"/>
                </a:lnTo>
                <a:lnTo>
                  <a:pt x="99" y="526"/>
                </a:lnTo>
                <a:lnTo>
                  <a:pt x="100" y="435"/>
                </a:lnTo>
                <a:lnTo>
                  <a:pt x="143" y="355"/>
                </a:lnTo>
                <a:lnTo>
                  <a:pt x="114" y="315"/>
                </a:lnTo>
                <a:lnTo>
                  <a:pt x="134" y="282"/>
                </a:lnTo>
                <a:lnTo>
                  <a:pt x="251" y="285"/>
                </a:lnTo>
                <a:lnTo>
                  <a:pt x="273" y="249"/>
                </a:lnTo>
                <a:lnTo>
                  <a:pt x="277" y="161"/>
                </a:lnTo>
              </a:path>
            </a:pathLst>
          </a:custGeom>
          <a:solidFill>
            <a:srgbClr val="4BB2FF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AT" kern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64" name="Freeform 178">
            <a:extLst>
              <a:ext uri="{FF2B5EF4-FFF2-40B4-BE49-F238E27FC236}">
                <a16:creationId xmlns:a16="http://schemas.microsoft.com/office/drawing/2014/main" id="{8B0FBD3A-C8BC-408E-B482-9F392DCC36C9}"/>
              </a:ext>
            </a:extLst>
          </p:cNvPr>
          <p:cNvSpPr>
            <a:spLocks/>
          </p:cNvSpPr>
          <p:nvPr/>
        </p:nvSpPr>
        <p:spPr bwMode="auto">
          <a:xfrm rot="21249101">
            <a:off x="7062775" y="3442578"/>
            <a:ext cx="928317" cy="794661"/>
          </a:xfrm>
          <a:custGeom>
            <a:avLst/>
            <a:gdLst>
              <a:gd name="T0" fmla="*/ 2147483647 w 2223"/>
              <a:gd name="T1" fmla="*/ 2147483647 h 2077"/>
              <a:gd name="T2" fmla="*/ 2147483647 w 2223"/>
              <a:gd name="T3" fmla="*/ 2147483647 h 2077"/>
              <a:gd name="T4" fmla="*/ 2147483647 w 2223"/>
              <a:gd name="T5" fmla="*/ 2147483647 h 2077"/>
              <a:gd name="T6" fmla="*/ 2147483647 w 2223"/>
              <a:gd name="T7" fmla="*/ 2147483647 h 2077"/>
              <a:gd name="T8" fmla="*/ 2147483647 w 2223"/>
              <a:gd name="T9" fmla="*/ 2147483647 h 2077"/>
              <a:gd name="T10" fmla="*/ 2147483647 w 2223"/>
              <a:gd name="T11" fmla="*/ 2147483647 h 2077"/>
              <a:gd name="T12" fmla="*/ 2147483647 w 2223"/>
              <a:gd name="T13" fmla="*/ 2147483647 h 2077"/>
              <a:gd name="T14" fmla="*/ 2147483647 w 2223"/>
              <a:gd name="T15" fmla="*/ 2147483647 h 2077"/>
              <a:gd name="T16" fmla="*/ 2147483647 w 2223"/>
              <a:gd name="T17" fmla="*/ 2147483647 h 2077"/>
              <a:gd name="T18" fmla="*/ 2147483647 w 2223"/>
              <a:gd name="T19" fmla="*/ 2147483647 h 2077"/>
              <a:gd name="T20" fmla="*/ 2147483647 w 2223"/>
              <a:gd name="T21" fmla="*/ 2147483647 h 2077"/>
              <a:gd name="T22" fmla="*/ 2147483647 w 2223"/>
              <a:gd name="T23" fmla="*/ 2147483647 h 2077"/>
              <a:gd name="T24" fmla="*/ 2147483647 w 2223"/>
              <a:gd name="T25" fmla="*/ 2147483647 h 2077"/>
              <a:gd name="T26" fmla="*/ 2147483647 w 2223"/>
              <a:gd name="T27" fmla="*/ 2147483647 h 2077"/>
              <a:gd name="T28" fmla="*/ 2147483647 w 2223"/>
              <a:gd name="T29" fmla="*/ 2147483647 h 2077"/>
              <a:gd name="T30" fmla="*/ 2147483647 w 2223"/>
              <a:gd name="T31" fmla="*/ 2147483647 h 2077"/>
              <a:gd name="T32" fmla="*/ 2147483647 w 2223"/>
              <a:gd name="T33" fmla="*/ 2147483647 h 2077"/>
              <a:gd name="T34" fmla="*/ 2147483647 w 2223"/>
              <a:gd name="T35" fmla="*/ 2147483647 h 2077"/>
              <a:gd name="T36" fmla="*/ 2147483647 w 2223"/>
              <a:gd name="T37" fmla="*/ 2147483647 h 2077"/>
              <a:gd name="T38" fmla="*/ 2147483647 w 2223"/>
              <a:gd name="T39" fmla="*/ 2147483647 h 2077"/>
              <a:gd name="T40" fmla="*/ 2147483647 w 2223"/>
              <a:gd name="T41" fmla="*/ 2147483647 h 2077"/>
              <a:gd name="T42" fmla="*/ 2147483647 w 2223"/>
              <a:gd name="T43" fmla="*/ 2147483647 h 2077"/>
              <a:gd name="T44" fmla="*/ 2147483647 w 2223"/>
              <a:gd name="T45" fmla="*/ 2147483647 h 2077"/>
              <a:gd name="T46" fmla="*/ 2147483647 w 2223"/>
              <a:gd name="T47" fmla="*/ 2147483647 h 2077"/>
              <a:gd name="T48" fmla="*/ 2147483647 w 2223"/>
              <a:gd name="T49" fmla="*/ 2147483647 h 2077"/>
              <a:gd name="T50" fmla="*/ 2147483647 w 2223"/>
              <a:gd name="T51" fmla="*/ 2147483647 h 2077"/>
              <a:gd name="T52" fmla="*/ 2147483647 w 2223"/>
              <a:gd name="T53" fmla="*/ 2147483647 h 2077"/>
              <a:gd name="T54" fmla="*/ 2147483647 w 2223"/>
              <a:gd name="T55" fmla="*/ 2147483647 h 2077"/>
              <a:gd name="T56" fmla="*/ 2147483647 w 2223"/>
              <a:gd name="T57" fmla="*/ 2147483647 h 2077"/>
              <a:gd name="T58" fmla="*/ 2147483647 w 2223"/>
              <a:gd name="T59" fmla="*/ 2147483647 h 2077"/>
              <a:gd name="T60" fmla="*/ 2147483647 w 2223"/>
              <a:gd name="T61" fmla="*/ 2147483647 h 2077"/>
              <a:gd name="T62" fmla="*/ 2147483647 w 2223"/>
              <a:gd name="T63" fmla="*/ 0 h 2077"/>
              <a:gd name="T64" fmla="*/ 2147483647 w 2223"/>
              <a:gd name="T65" fmla="*/ 2147483647 h 2077"/>
              <a:gd name="T66" fmla="*/ 2147483647 w 2223"/>
              <a:gd name="T67" fmla="*/ 2147483647 h 2077"/>
              <a:gd name="T68" fmla="*/ 2147483647 w 2223"/>
              <a:gd name="T69" fmla="*/ 2147483647 h 2077"/>
              <a:gd name="T70" fmla="*/ 2147483647 w 2223"/>
              <a:gd name="T71" fmla="*/ 2147483647 h 2077"/>
              <a:gd name="T72" fmla="*/ 2147483647 w 2223"/>
              <a:gd name="T73" fmla="*/ 2147483647 h 2077"/>
              <a:gd name="T74" fmla="*/ 2147483647 w 2223"/>
              <a:gd name="T75" fmla="*/ 2147483647 h 2077"/>
              <a:gd name="T76" fmla="*/ 2147483647 w 2223"/>
              <a:gd name="T77" fmla="*/ 2147483647 h 2077"/>
              <a:gd name="T78" fmla="*/ 2147483647 w 2223"/>
              <a:gd name="T79" fmla="*/ 2147483647 h 2077"/>
              <a:gd name="T80" fmla="*/ 2147483647 w 2223"/>
              <a:gd name="T81" fmla="*/ 2147483647 h 2077"/>
              <a:gd name="T82" fmla="*/ 2147483647 w 2223"/>
              <a:gd name="T83" fmla="*/ 2147483647 h 2077"/>
              <a:gd name="T84" fmla="*/ 2147483647 w 2223"/>
              <a:gd name="T85" fmla="*/ 2147483647 h 207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23"/>
              <a:gd name="T130" fmla="*/ 0 h 2077"/>
              <a:gd name="T131" fmla="*/ 2223 w 2223"/>
              <a:gd name="T132" fmla="*/ 2077 h 207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23" h="2077">
                <a:moveTo>
                  <a:pt x="2074" y="1167"/>
                </a:moveTo>
                <a:lnTo>
                  <a:pt x="2151" y="1359"/>
                </a:lnTo>
                <a:lnTo>
                  <a:pt x="2197" y="1405"/>
                </a:lnTo>
                <a:lnTo>
                  <a:pt x="2194" y="1452"/>
                </a:lnTo>
                <a:lnTo>
                  <a:pt x="2223" y="1513"/>
                </a:lnTo>
                <a:lnTo>
                  <a:pt x="2205" y="1573"/>
                </a:lnTo>
                <a:lnTo>
                  <a:pt x="2053" y="1700"/>
                </a:lnTo>
                <a:lnTo>
                  <a:pt x="1923" y="1950"/>
                </a:lnTo>
                <a:lnTo>
                  <a:pt x="1917" y="2012"/>
                </a:lnTo>
                <a:lnTo>
                  <a:pt x="1929" y="2067"/>
                </a:lnTo>
                <a:lnTo>
                  <a:pt x="1886" y="2077"/>
                </a:lnTo>
                <a:lnTo>
                  <a:pt x="1822" y="2060"/>
                </a:lnTo>
                <a:lnTo>
                  <a:pt x="1692" y="1961"/>
                </a:lnTo>
                <a:lnTo>
                  <a:pt x="1579" y="1964"/>
                </a:lnTo>
                <a:lnTo>
                  <a:pt x="1505" y="2010"/>
                </a:lnTo>
                <a:lnTo>
                  <a:pt x="1460" y="1979"/>
                </a:lnTo>
                <a:lnTo>
                  <a:pt x="1377" y="1979"/>
                </a:lnTo>
                <a:lnTo>
                  <a:pt x="1337" y="2020"/>
                </a:lnTo>
                <a:lnTo>
                  <a:pt x="1295" y="2042"/>
                </a:lnTo>
                <a:lnTo>
                  <a:pt x="1262" y="2031"/>
                </a:lnTo>
                <a:lnTo>
                  <a:pt x="1155" y="1921"/>
                </a:lnTo>
                <a:lnTo>
                  <a:pt x="1064" y="1951"/>
                </a:lnTo>
                <a:lnTo>
                  <a:pt x="935" y="1889"/>
                </a:lnTo>
                <a:lnTo>
                  <a:pt x="855" y="1767"/>
                </a:lnTo>
                <a:lnTo>
                  <a:pt x="817" y="1746"/>
                </a:lnTo>
                <a:lnTo>
                  <a:pt x="796" y="1752"/>
                </a:lnTo>
                <a:lnTo>
                  <a:pt x="758" y="1721"/>
                </a:lnTo>
                <a:lnTo>
                  <a:pt x="758" y="1654"/>
                </a:lnTo>
                <a:lnTo>
                  <a:pt x="573" y="1599"/>
                </a:lnTo>
                <a:lnTo>
                  <a:pt x="567" y="1624"/>
                </a:lnTo>
                <a:lnTo>
                  <a:pt x="578" y="1650"/>
                </a:lnTo>
                <a:lnTo>
                  <a:pt x="528" y="1681"/>
                </a:lnTo>
                <a:lnTo>
                  <a:pt x="498" y="1667"/>
                </a:lnTo>
                <a:lnTo>
                  <a:pt x="420" y="1586"/>
                </a:lnTo>
                <a:lnTo>
                  <a:pt x="443" y="1541"/>
                </a:lnTo>
                <a:lnTo>
                  <a:pt x="444" y="1528"/>
                </a:lnTo>
                <a:lnTo>
                  <a:pt x="438" y="1521"/>
                </a:lnTo>
                <a:lnTo>
                  <a:pt x="391" y="1511"/>
                </a:lnTo>
                <a:lnTo>
                  <a:pt x="355" y="1458"/>
                </a:lnTo>
                <a:lnTo>
                  <a:pt x="235" y="1437"/>
                </a:lnTo>
                <a:lnTo>
                  <a:pt x="215" y="1394"/>
                </a:lnTo>
                <a:lnTo>
                  <a:pt x="173" y="1369"/>
                </a:lnTo>
                <a:lnTo>
                  <a:pt x="108" y="1430"/>
                </a:lnTo>
                <a:lnTo>
                  <a:pt x="82" y="1411"/>
                </a:lnTo>
                <a:lnTo>
                  <a:pt x="131" y="1221"/>
                </a:lnTo>
                <a:lnTo>
                  <a:pt x="127" y="1203"/>
                </a:lnTo>
                <a:lnTo>
                  <a:pt x="68" y="1121"/>
                </a:lnTo>
                <a:lnTo>
                  <a:pt x="54" y="741"/>
                </a:lnTo>
                <a:lnTo>
                  <a:pt x="0" y="693"/>
                </a:lnTo>
                <a:lnTo>
                  <a:pt x="1" y="664"/>
                </a:lnTo>
                <a:lnTo>
                  <a:pt x="49" y="569"/>
                </a:lnTo>
                <a:lnTo>
                  <a:pt x="63" y="454"/>
                </a:lnTo>
                <a:lnTo>
                  <a:pt x="31" y="350"/>
                </a:lnTo>
                <a:lnTo>
                  <a:pt x="91" y="385"/>
                </a:lnTo>
                <a:lnTo>
                  <a:pt x="106" y="363"/>
                </a:lnTo>
                <a:lnTo>
                  <a:pt x="108" y="332"/>
                </a:lnTo>
                <a:lnTo>
                  <a:pt x="57" y="311"/>
                </a:lnTo>
                <a:lnTo>
                  <a:pt x="92" y="290"/>
                </a:lnTo>
                <a:lnTo>
                  <a:pt x="131" y="280"/>
                </a:lnTo>
                <a:lnTo>
                  <a:pt x="135" y="293"/>
                </a:lnTo>
                <a:lnTo>
                  <a:pt x="183" y="250"/>
                </a:lnTo>
                <a:lnTo>
                  <a:pt x="433" y="186"/>
                </a:lnTo>
                <a:lnTo>
                  <a:pt x="565" y="86"/>
                </a:lnTo>
                <a:lnTo>
                  <a:pt x="928" y="0"/>
                </a:lnTo>
                <a:lnTo>
                  <a:pt x="1003" y="28"/>
                </a:lnTo>
                <a:lnTo>
                  <a:pt x="1031" y="59"/>
                </a:lnTo>
                <a:lnTo>
                  <a:pt x="1025" y="84"/>
                </a:lnTo>
                <a:lnTo>
                  <a:pt x="957" y="39"/>
                </a:lnTo>
                <a:lnTo>
                  <a:pt x="1007" y="191"/>
                </a:lnTo>
                <a:lnTo>
                  <a:pt x="1033" y="203"/>
                </a:lnTo>
                <a:lnTo>
                  <a:pt x="1038" y="189"/>
                </a:lnTo>
                <a:lnTo>
                  <a:pt x="1054" y="175"/>
                </a:lnTo>
                <a:lnTo>
                  <a:pt x="1071" y="188"/>
                </a:lnTo>
                <a:lnTo>
                  <a:pt x="1165" y="163"/>
                </a:lnTo>
                <a:lnTo>
                  <a:pt x="1201" y="141"/>
                </a:lnTo>
                <a:lnTo>
                  <a:pt x="1503" y="201"/>
                </a:lnTo>
                <a:lnTo>
                  <a:pt x="1884" y="155"/>
                </a:lnTo>
                <a:lnTo>
                  <a:pt x="2016" y="228"/>
                </a:lnTo>
                <a:lnTo>
                  <a:pt x="2136" y="679"/>
                </a:lnTo>
                <a:lnTo>
                  <a:pt x="2135" y="749"/>
                </a:lnTo>
                <a:lnTo>
                  <a:pt x="2092" y="817"/>
                </a:lnTo>
                <a:lnTo>
                  <a:pt x="2033" y="854"/>
                </a:lnTo>
                <a:lnTo>
                  <a:pt x="1993" y="907"/>
                </a:lnTo>
                <a:lnTo>
                  <a:pt x="2017" y="950"/>
                </a:lnTo>
                <a:lnTo>
                  <a:pt x="2082" y="1001"/>
                </a:lnTo>
                <a:lnTo>
                  <a:pt x="2074" y="1167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65" name="Freeform 179" descr="Large checker board">
            <a:extLst>
              <a:ext uri="{FF2B5EF4-FFF2-40B4-BE49-F238E27FC236}">
                <a16:creationId xmlns:a16="http://schemas.microsoft.com/office/drawing/2014/main" id="{98208DF1-B576-4D82-9F25-0C3FF66B22FA}"/>
              </a:ext>
            </a:extLst>
          </p:cNvPr>
          <p:cNvSpPr>
            <a:spLocks/>
          </p:cNvSpPr>
          <p:nvPr/>
        </p:nvSpPr>
        <p:spPr bwMode="auto">
          <a:xfrm rot="21249101">
            <a:off x="7062775" y="3442578"/>
            <a:ext cx="928317" cy="794661"/>
          </a:xfrm>
          <a:custGeom>
            <a:avLst/>
            <a:gdLst>
              <a:gd name="T0" fmla="*/ 2147483647 w 2223"/>
              <a:gd name="T1" fmla="*/ 2147483647 h 2077"/>
              <a:gd name="T2" fmla="*/ 2147483647 w 2223"/>
              <a:gd name="T3" fmla="*/ 2147483647 h 2077"/>
              <a:gd name="T4" fmla="*/ 2147483647 w 2223"/>
              <a:gd name="T5" fmla="*/ 2147483647 h 2077"/>
              <a:gd name="T6" fmla="*/ 2147483647 w 2223"/>
              <a:gd name="T7" fmla="*/ 2147483647 h 2077"/>
              <a:gd name="T8" fmla="*/ 2147483647 w 2223"/>
              <a:gd name="T9" fmla="*/ 2147483647 h 2077"/>
              <a:gd name="T10" fmla="*/ 2147483647 w 2223"/>
              <a:gd name="T11" fmla="*/ 2147483647 h 2077"/>
              <a:gd name="T12" fmla="*/ 2147483647 w 2223"/>
              <a:gd name="T13" fmla="*/ 2147483647 h 2077"/>
              <a:gd name="T14" fmla="*/ 2147483647 w 2223"/>
              <a:gd name="T15" fmla="*/ 2147483647 h 2077"/>
              <a:gd name="T16" fmla="*/ 2147483647 w 2223"/>
              <a:gd name="T17" fmla="*/ 2147483647 h 2077"/>
              <a:gd name="T18" fmla="*/ 2147483647 w 2223"/>
              <a:gd name="T19" fmla="*/ 2147483647 h 2077"/>
              <a:gd name="T20" fmla="*/ 2147483647 w 2223"/>
              <a:gd name="T21" fmla="*/ 2147483647 h 2077"/>
              <a:gd name="T22" fmla="*/ 2147483647 w 2223"/>
              <a:gd name="T23" fmla="*/ 2147483647 h 2077"/>
              <a:gd name="T24" fmla="*/ 2147483647 w 2223"/>
              <a:gd name="T25" fmla="*/ 2147483647 h 2077"/>
              <a:gd name="T26" fmla="*/ 2147483647 w 2223"/>
              <a:gd name="T27" fmla="*/ 2147483647 h 2077"/>
              <a:gd name="T28" fmla="*/ 2147483647 w 2223"/>
              <a:gd name="T29" fmla="*/ 2147483647 h 2077"/>
              <a:gd name="T30" fmla="*/ 2147483647 w 2223"/>
              <a:gd name="T31" fmla="*/ 2147483647 h 2077"/>
              <a:gd name="T32" fmla="*/ 2147483647 w 2223"/>
              <a:gd name="T33" fmla="*/ 2147483647 h 2077"/>
              <a:gd name="T34" fmla="*/ 2147483647 w 2223"/>
              <a:gd name="T35" fmla="*/ 2147483647 h 2077"/>
              <a:gd name="T36" fmla="*/ 2147483647 w 2223"/>
              <a:gd name="T37" fmla="*/ 2147483647 h 2077"/>
              <a:gd name="T38" fmla="*/ 2147483647 w 2223"/>
              <a:gd name="T39" fmla="*/ 2147483647 h 2077"/>
              <a:gd name="T40" fmla="*/ 2147483647 w 2223"/>
              <a:gd name="T41" fmla="*/ 2147483647 h 2077"/>
              <a:gd name="T42" fmla="*/ 2147483647 w 2223"/>
              <a:gd name="T43" fmla="*/ 2147483647 h 2077"/>
              <a:gd name="T44" fmla="*/ 2147483647 w 2223"/>
              <a:gd name="T45" fmla="*/ 2147483647 h 2077"/>
              <a:gd name="T46" fmla="*/ 2147483647 w 2223"/>
              <a:gd name="T47" fmla="*/ 2147483647 h 2077"/>
              <a:gd name="T48" fmla="*/ 2147483647 w 2223"/>
              <a:gd name="T49" fmla="*/ 2147483647 h 2077"/>
              <a:gd name="T50" fmla="*/ 2147483647 w 2223"/>
              <a:gd name="T51" fmla="*/ 2147483647 h 2077"/>
              <a:gd name="T52" fmla="*/ 2147483647 w 2223"/>
              <a:gd name="T53" fmla="*/ 2147483647 h 2077"/>
              <a:gd name="T54" fmla="*/ 2147483647 w 2223"/>
              <a:gd name="T55" fmla="*/ 2147483647 h 2077"/>
              <a:gd name="T56" fmla="*/ 2147483647 w 2223"/>
              <a:gd name="T57" fmla="*/ 2147483647 h 2077"/>
              <a:gd name="T58" fmla="*/ 2147483647 w 2223"/>
              <a:gd name="T59" fmla="*/ 2147483647 h 2077"/>
              <a:gd name="T60" fmla="*/ 2147483647 w 2223"/>
              <a:gd name="T61" fmla="*/ 2147483647 h 2077"/>
              <a:gd name="T62" fmla="*/ 2147483647 w 2223"/>
              <a:gd name="T63" fmla="*/ 0 h 2077"/>
              <a:gd name="T64" fmla="*/ 2147483647 w 2223"/>
              <a:gd name="T65" fmla="*/ 2147483647 h 2077"/>
              <a:gd name="T66" fmla="*/ 2147483647 w 2223"/>
              <a:gd name="T67" fmla="*/ 2147483647 h 2077"/>
              <a:gd name="T68" fmla="*/ 2147483647 w 2223"/>
              <a:gd name="T69" fmla="*/ 2147483647 h 2077"/>
              <a:gd name="T70" fmla="*/ 2147483647 w 2223"/>
              <a:gd name="T71" fmla="*/ 2147483647 h 2077"/>
              <a:gd name="T72" fmla="*/ 2147483647 w 2223"/>
              <a:gd name="T73" fmla="*/ 2147483647 h 2077"/>
              <a:gd name="T74" fmla="*/ 2147483647 w 2223"/>
              <a:gd name="T75" fmla="*/ 2147483647 h 2077"/>
              <a:gd name="T76" fmla="*/ 2147483647 w 2223"/>
              <a:gd name="T77" fmla="*/ 2147483647 h 2077"/>
              <a:gd name="T78" fmla="*/ 2147483647 w 2223"/>
              <a:gd name="T79" fmla="*/ 2147483647 h 2077"/>
              <a:gd name="T80" fmla="*/ 2147483647 w 2223"/>
              <a:gd name="T81" fmla="*/ 2147483647 h 2077"/>
              <a:gd name="T82" fmla="*/ 2147483647 w 2223"/>
              <a:gd name="T83" fmla="*/ 2147483647 h 2077"/>
              <a:gd name="T84" fmla="*/ 2147483647 w 2223"/>
              <a:gd name="T85" fmla="*/ 2147483647 h 207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23"/>
              <a:gd name="T130" fmla="*/ 0 h 2077"/>
              <a:gd name="T131" fmla="*/ 2223 w 2223"/>
              <a:gd name="T132" fmla="*/ 2077 h 207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23" h="2077">
                <a:moveTo>
                  <a:pt x="2074" y="1167"/>
                </a:moveTo>
                <a:lnTo>
                  <a:pt x="2151" y="1359"/>
                </a:lnTo>
                <a:lnTo>
                  <a:pt x="2197" y="1405"/>
                </a:lnTo>
                <a:lnTo>
                  <a:pt x="2194" y="1452"/>
                </a:lnTo>
                <a:lnTo>
                  <a:pt x="2223" y="1513"/>
                </a:lnTo>
                <a:lnTo>
                  <a:pt x="2205" y="1573"/>
                </a:lnTo>
                <a:lnTo>
                  <a:pt x="2053" y="1700"/>
                </a:lnTo>
                <a:lnTo>
                  <a:pt x="1923" y="1950"/>
                </a:lnTo>
                <a:lnTo>
                  <a:pt x="1917" y="2012"/>
                </a:lnTo>
                <a:lnTo>
                  <a:pt x="1929" y="2067"/>
                </a:lnTo>
                <a:lnTo>
                  <a:pt x="1886" y="2077"/>
                </a:lnTo>
                <a:lnTo>
                  <a:pt x="1822" y="2060"/>
                </a:lnTo>
                <a:lnTo>
                  <a:pt x="1692" y="1961"/>
                </a:lnTo>
                <a:lnTo>
                  <a:pt x="1579" y="1964"/>
                </a:lnTo>
                <a:lnTo>
                  <a:pt x="1505" y="2010"/>
                </a:lnTo>
                <a:lnTo>
                  <a:pt x="1460" y="1979"/>
                </a:lnTo>
                <a:lnTo>
                  <a:pt x="1377" y="1979"/>
                </a:lnTo>
                <a:lnTo>
                  <a:pt x="1337" y="2020"/>
                </a:lnTo>
                <a:lnTo>
                  <a:pt x="1295" y="2042"/>
                </a:lnTo>
                <a:lnTo>
                  <a:pt x="1262" y="2031"/>
                </a:lnTo>
                <a:lnTo>
                  <a:pt x="1155" y="1921"/>
                </a:lnTo>
                <a:lnTo>
                  <a:pt x="1064" y="1951"/>
                </a:lnTo>
                <a:lnTo>
                  <a:pt x="935" y="1889"/>
                </a:lnTo>
                <a:lnTo>
                  <a:pt x="855" y="1767"/>
                </a:lnTo>
                <a:lnTo>
                  <a:pt x="817" y="1746"/>
                </a:lnTo>
                <a:lnTo>
                  <a:pt x="796" y="1752"/>
                </a:lnTo>
                <a:lnTo>
                  <a:pt x="758" y="1721"/>
                </a:lnTo>
                <a:lnTo>
                  <a:pt x="758" y="1654"/>
                </a:lnTo>
                <a:lnTo>
                  <a:pt x="573" y="1599"/>
                </a:lnTo>
                <a:lnTo>
                  <a:pt x="567" y="1624"/>
                </a:lnTo>
                <a:lnTo>
                  <a:pt x="578" y="1650"/>
                </a:lnTo>
                <a:lnTo>
                  <a:pt x="528" y="1681"/>
                </a:lnTo>
                <a:lnTo>
                  <a:pt x="498" y="1667"/>
                </a:lnTo>
                <a:lnTo>
                  <a:pt x="420" y="1586"/>
                </a:lnTo>
                <a:lnTo>
                  <a:pt x="443" y="1541"/>
                </a:lnTo>
                <a:lnTo>
                  <a:pt x="444" y="1528"/>
                </a:lnTo>
                <a:lnTo>
                  <a:pt x="438" y="1521"/>
                </a:lnTo>
                <a:lnTo>
                  <a:pt x="391" y="1511"/>
                </a:lnTo>
                <a:lnTo>
                  <a:pt x="355" y="1458"/>
                </a:lnTo>
                <a:lnTo>
                  <a:pt x="235" y="1437"/>
                </a:lnTo>
                <a:lnTo>
                  <a:pt x="215" y="1394"/>
                </a:lnTo>
                <a:lnTo>
                  <a:pt x="173" y="1369"/>
                </a:lnTo>
                <a:lnTo>
                  <a:pt x="108" y="1430"/>
                </a:lnTo>
                <a:lnTo>
                  <a:pt x="82" y="1411"/>
                </a:lnTo>
                <a:lnTo>
                  <a:pt x="131" y="1221"/>
                </a:lnTo>
                <a:lnTo>
                  <a:pt x="127" y="1203"/>
                </a:lnTo>
                <a:lnTo>
                  <a:pt x="68" y="1121"/>
                </a:lnTo>
                <a:lnTo>
                  <a:pt x="54" y="741"/>
                </a:lnTo>
                <a:lnTo>
                  <a:pt x="0" y="693"/>
                </a:lnTo>
                <a:lnTo>
                  <a:pt x="1" y="664"/>
                </a:lnTo>
                <a:lnTo>
                  <a:pt x="49" y="569"/>
                </a:lnTo>
                <a:lnTo>
                  <a:pt x="63" y="454"/>
                </a:lnTo>
                <a:lnTo>
                  <a:pt x="31" y="350"/>
                </a:lnTo>
                <a:lnTo>
                  <a:pt x="91" y="385"/>
                </a:lnTo>
                <a:lnTo>
                  <a:pt x="106" y="363"/>
                </a:lnTo>
                <a:lnTo>
                  <a:pt x="108" y="332"/>
                </a:lnTo>
                <a:lnTo>
                  <a:pt x="57" y="311"/>
                </a:lnTo>
                <a:lnTo>
                  <a:pt x="92" y="290"/>
                </a:lnTo>
                <a:lnTo>
                  <a:pt x="131" y="280"/>
                </a:lnTo>
                <a:lnTo>
                  <a:pt x="135" y="293"/>
                </a:lnTo>
                <a:lnTo>
                  <a:pt x="183" y="250"/>
                </a:lnTo>
                <a:lnTo>
                  <a:pt x="433" y="186"/>
                </a:lnTo>
                <a:lnTo>
                  <a:pt x="565" y="86"/>
                </a:lnTo>
                <a:lnTo>
                  <a:pt x="928" y="0"/>
                </a:lnTo>
                <a:lnTo>
                  <a:pt x="1003" y="28"/>
                </a:lnTo>
                <a:lnTo>
                  <a:pt x="1031" y="59"/>
                </a:lnTo>
                <a:lnTo>
                  <a:pt x="1025" y="84"/>
                </a:lnTo>
                <a:lnTo>
                  <a:pt x="957" y="39"/>
                </a:lnTo>
                <a:lnTo>
                  <a:pt x="1007" y="191"/>
                </a:lnTo>
                <a:lnTo>
                  <a:pt x="1033" y="203"/>
                </a:lnTo>
                <a:lnTo>
                  <a:pt x="1038" y="189"/>
                </a:lnTo>
                <a:lnTo>
                  <a:pt x="1054" y="175"/>
                </a:lnTo>
                <a:lnTo>
                  <a:pt x="1071" y="188"/>
                </a:lnTo>
                <a:lnTo>
                  <a:pt x="1165" y="163"/>
                </a:lnTo>
                <a:lnTo>
                  <a:pt x="1201" y="141"/>
                </a:lnTo>
                <a:lnTo>
                  <a:pt x="1503" y="201"/>
                </a:lnTo>
                <a:lnTo>
                  <a:pt x="1884" y="155"/>
                </a:lnTo>
                <a:lnTo>
                  <a:pt x="2016" y="228"/>
                </a:lnTo>
                <a:lnTo>
                  <a:pt x="2136" y="679"/>
                </a:lnTo>
                <a:lnTo>
                  <a:pt x="2135" y="749"/>
                </a:lnTo>
                <a:lnTo>
                  <a:pt x="2092" y="817"/>
                </a:lnTo>
                <a:lnTo>
                  <a:pt x="2033" y="854"/>
                </a:lnTo>
                <a:lnTo>
                  <a:pt x="1993" y="907"/>
                </a:lnTo>
                <a:lnTo>
                  <a:pt x="2017" y="950"/>
                </a:lnTo>
                <a:lnTo>
                  <a:pt x="2082" y="1001"/>
                </a:lnTo>
                <a:lnTo>
                  <a:pt x="2074" y="1167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AT" kern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66" name="Freeform 180">
            <a:extLst>
              <a:ext uri="{FF2B5EF4-FFF2-40B4-BE49-F238E27FC236}">
                <a16:creationId xmlns:a16="http://schemas.microsoft.com/office/drawing/2014/main" id="{DB341509-D3A6-49F4-971C-72BCA9088A5D}"/>
              </a:ext>
            </a:extLst>
          </p:cNvPr>
          <p:cNvSpPr>
            <a:spLocks/>
          </p:cNvSpPr>
          <p:nvPr/>
        </p:nvSpPr>
        <p:spPr bwMode="auto">
          <a:xfrm rot="21249101">
            <a:off x="7603247" y="2918266"/>
            <a:ext cx="621272" cy="321142"/>
          </a:xfrm>
          <a:custGeom>
            <a:avLst/>
            <a:gdLst>
              <a:gd name="T0" fmla="*/ 0 w 1493"/>
              <a:gd name="T1" fmla="*/ 2147483647 h 838"/>
              <a:gd name="T2" fmla="*/ 2147483647 w 1493"/>
              <a:gd name="T3" fmla="*/ 2147483647 h 838"/>
              <a:gd name="T4" fmla="*/ 2147483647 w 1493"/>
              <a:gd name="T5" fmla="*/ 2147483647 h 838"/>
              <a:gd name="T6" fmla="*/ 2147483647 w 1493"/>
              <a:gd name="T7" fmla="*/ 2147483647 h 838"/>
              <a:gd name="T8" fmla="*/ 2147483647 w 1493"/>
              <a:gd name="T9" fmla="*/ 2147483647 h 838"/>
              <a:gd name="T10" fmla="*/ 2147483647 w 1493"/>
              <a:gd name="T11" fmla="*/ 2147483647 h 838"/>
              <a:gd name="T12" fmla="*/ 2147483647 w 1493"/>
              <a:gd name="T13" fmla="*/ 2147483647 h 838"/>
              <a:gd name="T14" fmla="*/ 2147483647 w 1493"/>
              <a:gd name="T15" fmla="*/ 2147483647 h 838"/>
              <a:gd name="T16" fmla="*/ 2147483647 w 1493"/>
              <a:gd name="T17" fmla="*/ 2147483647 h 838"/>
              <a:gd name="T18" fmla="*/ 2147483647 w 1493"/>
              <a:gd name="T19" fmla="*/ 2147483647 h 838"/>
              <a:gd name="T20" fmla="*/ 2147483647 w 1493"/>
              <a:gd name="T21" fmla="*/ 2147483647 h 838"/>
              <a:gd name="T22" fmla="*/ 2147483647 w 1493"/>
              <a:gd name="T23" fmla="*/ 2147483647 h 838"/>
              <a:gd name="T24" fmla="*/ 2147483647 w 1493"/>
              <a:gd name="T25" fmla="*/ 2147483647 h 838"/>
              <a:gd name="T26" fmla="*/ 2147483647 w 1493"/>
              <a:gd name="T27" fmla="*/ 2147483647 h 838"/>
              <a:gd name="T28" fmla="*/ 2147483647 w 1493"/>
              <a:gd name="T29" fmla="*/ 2147483647 h 838"/>
              <a:gd name="T30" fmla="*/ 2147483647 w 1493"/>
              <a:gd name="T31" fmla="*/ 2147483647 h 838"/>
              <a:gd name="T32" fmla="*/ 2147483647 w 1493"/>
              <a:gd name="T33" fmla="*/ 2147483647 h 838"/>
              <a:gd name="T34" fmla="*/ 2147483647 w 1493"/>
              <a:gd name="T35" fmla="*/ 2147483647 h 838"/>
              <a:gd name="T36" fmla="*/ 2147483647 w 1493"/>
              <a:gd name="T37" fmla="*/ 2147483647 h 838"/>
              <a:gd name="T38" fmla="*/ 2147483647 w 1493"/>
              <a:gd name="T39" fmla="*/ 2147483647 h 838"/>
              <a:gd name="T40" fmla="*/ 2147483647 w 1493"/>
              <a:gd name="T41" fmla="*/ 2147483647 h 838"/>
              <a:gd name="T42" fmla="*/ 2147483647 w 1493"/>
              <a:gd name="T43" fmla="*/ 2147483647 h 838"/>
              <a:gd name="T44" fmla="*/ 2147483647 w 1493"/>
              <a:gd name="T45" fmla="*/ 2147483647 h 838"/>
              <a:gd name="T46" fmla="*/ 2147483647 w 1493"/>
              <a:gd name="T47" fmla="*/ 2147483647 h 838"/>
              <a:gd name="T48" fmla="*/ 2147483647 w 1493"/>
              <a:gd name="T49" fmla="*/ 2147483647 h 838"/>
              <a:gd name="T50" fmla="*/ 2147483647 w 1493"/>
              <a:gd name="T51" fmla="*/ 2147483647 h 838"/>
              <a:gd name="T52" fmla="*/ 2147483647 w 1493"/>
              <a:gd name="T53" fmla="*/ 2147483647 h 838"/>
              <a:gd name="T54" fmla="*/ 2147483647 w 1493"/>
              <a:gd name="T55" fmla="*/ 2147483647 h 838"/>
              <a:gd name="T56" fmla="*/ 2147483647 w 1493"/>
              <a:gd name="T57" fmla="*/ 2147483647 h 838"/>
              <a:gd name="T58" fmla="*/ 2147483647 w 1493"/>
              <a:gd name="T59" fmla="*/ 2147483647 h 838"/>
              <a:gd name="T60" fmla="*/ 2147483647 w 1493"/>
              <a:gd name="T61" fmla="*/ 2147483647 h 838"/>
              <a:gd name="T62" fmla="*/ 2147483647 w 1493"/>
              <a:gd name="T63" fmla="*/ 2147483647 h 838"/>
              <a:gd name="T64" fmla="*/ 2147483647 w 1493"/>
              <a:gd name="T65" fmla="*/ 2147483647 h 838"/>
              <a:gd name="T66" fmla="*/ 2147483647 w 1493"/>
              <a:gd name="T67" fmla="*/ 2147483647 h 838"/>
              <a:gd name="T68" fmla="*/ 2147483647 w 1493"/>
              <a:gd name="T69" fmla="*/ 2147483647 h 838"/>
              <a:gd name="T70" fmla="*/ 2147483647 w 1493"/>
              <a:gd name="T71" fmla="*/ 2147483647 h 838"/>
              <a:gd name="T72" fmla="*/ 2147483647 w 1493"/>
              <a:gd name="T73" fmla="*/ 2147483647 h 8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493"/>
              <a:gd name="T112" fmla="*/ 0 h 838"/>
              <a:gd name="T113" fmla="*/ 1493 w 1493"/>
              <a:gd name="T114" fmla="*/ 838 h 8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493" h="838">
                <a:moveTo>
                  <a:pt x="12" y="739"/>
                </a:moveTo>
                <a:lnTo>
                  <a:pt x="0" y="698"/>
                </a:lnTo>
                <a:lnTo>
                  <a:pt x="15" y="513"/>
                </a:lnTo>
                <a:lnTo>
                  <a:pt x="68" y="412"/>
                </a:lnTo>
                <a:lnTo>
                  <a:pt x="89" y="309"/>
                </a:lnTo>
                <a:lnTo>
                  <a:pt x="145" y="214"/>
                </a:lnTo>
                <a:lnTo>
                  <a:pt x="177" y="188"/>
                </a:lnTo>
                <a:lnTo>
                  <a:pt x="297" y="145"/>
                </a:lnTo>
                <a:lnTo>
                  <a:pt x="400" y="265"/>
                </a:lnTo>
                <a:lnTo>
                  <a:pt x="422" y="328"/>
                </a:lnTo>
                <a:lnTo>
                  <a:pt x="426" y="288"/>
                </a:lnTo>
                <a:lnTo>
                  <a:pt x="446" y="347"/>
                </a:lnTo>
                <a:lnTo>
                  <a:pt x="470" y="375"/>
                </a:lnTo>
                <a:lnTo>
                  <a:pt x="531" y="404"/>
                </a:lnTo>
                <a:lnTo>
                  <a:pt x="550" y="403"/>
                </a:lnTo>
                <a:lnTo>
                  <a:pt x="605" y="375"/>
                </a:lnTo>
                <a:lnTo>
                  <a:pt x="608" y="396"/>
                </a:lnTo>
                <a:lnTo>
                  <a:pt x="625" y="416"/>
                </a:lnTo>
                <a:lnTo>
                  <a:pt x="629" y="362"/>
                </a:lnTo>
                <a:lnTo>
                  <a:pt x="660" y="311"/>
                </a:lnTo>
                <a:lnTo>
                  <a:pt x="649" y="85"/>
                </a:lnTo>
                <a:lnTo>
                  <a:pt x="669" y="64"/>
                </a:lnTo>
                <a:lnTo>
                  <a:pt x="697" y="57"/>
                </a:lnTo>
                <a:lnTo>
                  <a:pt x="740" y="19"/>
                </a:lnTo>
                <a:lnTo>
                  <a:pt x="830" y="0"/>
                </a:lnTo>
                <a:lnTo>
                  <a:pt x="889" y="8"/>
                </a:lnTo>
                <a:lnTo>
                  <a:pt x="936" y="40"/>
                </a:lnTo>
                <a:lnTo>
                  <a:pt x="993" y="57"/>
                </a:lnTo>
                <a:lnTo>
                  <a:pt x="1014" y="87"/>
                </a:lnTo>
                <a:lnTo>
                  <a:pt x="1097" y="149"/>
                </a:lnTo>
                <a:lnTo>
                  <a:pt x="1126" y="148"/>
                </a:lnTo>
                <a:lnTo>
                  <a:pt x="1151" y="133"/>
                </a:lnTo>
                <a:lnTo>
                  <a:pt x="1207" y="120"/>
                </a:lnTo>
                <a:lnTo>
                  <a:pt x="1269" y="132"/>
                </a:lnTo>
                <a:lnTo>
                  <a:pt x="1308" y="176"/>
                </a:lnTo>
                <a:lnTo>
                  <a:pt x="1335" y="190"/>
                </a:lnTo>
                <a:lnTo>
                  <a:pt x="1353" y="214"/>
                </a:lnTo>
                <a:lnTo>
                  <a:pt x="1360" y="240"/>
                </a:lnTo>
                <a:lnTo>
                  <a:pt x="1342" y="356"/>
                </a:lnTo>
                <a:lnTo>
                  <a:pt x="1372" y="363"/>
                </a:lnTo>
                <a:lnTo>
                  <a:pt x="1398" y="377"/>
                </a:lnTo>
                <a:lnTo>
                  <a:pt x="1401" y="405"/>
                </a:lnTo>
                <a:lnTo>
                  <a:pt x="1485" y="532"/>
                </a:lnTo>
                <a:lnTo>
                  <a:pt x="1493" y="622"/>
                </a:lnTo>
                <a:lnTo>
                  <a:pt x="1455" y="627"/>
                </a:lnTo>
                <a:lnTo>
                  <a:pt x="1393" y="694"/>
                </a:lnTo>
                <a:lnTo>
                  <a:pt x="1389" y="725"/>
                </a:lnTo>
                <a:lnTo>
                  <a:pt x="1356" y="777"/>
                </a:lnTo>
                <a:lnTo>
                  <a:pt x="1328" y="785"/>
                </a:lnTo>
                <a:lnTo>
                  <a:pt x="1268" y="768"/>
                </a:lnTo>
                <a:lnTo>
                  <a:pt x="1245" y="788"/>
                </a:lnTo>
                <a:lnTo>
                  <a:pt x="1241" y="818"/>
                </a:lnTo>
                <a:lnTo>
                  <a:pt x="1217" y="838"/>
                </a:lnTo>
                <a:lnTo>
                  <a:pt x="1131" y="811"/>
                </a:lnTo>
                <a:lnTo>
                  <a:pt x="1055" y="733"/>
                </a:lnTo>
                <a:lnTo>
                  <a:pt x="953" y="674"/>
                </a:lnTo>
                <a:lnTo>
                  <a:pt x="894" y="680"/>
                </a:lnTo>
                <a:lnTo>
                  <a:pt x="865" y="673"/>
                </a:lnTo>
                <a:lnTo>
                  <a:pt x="822" y="592"/>
                </a:lnTo>
                <a:lnTo>
                  <a:pt x="800" y="573"/>
                </a:lnTo>
                <a:lnTo>
                  <a:pt x="772" y="584"/>
                </a:lnTo>
                <a:lnTo>
                  <a:pt x="733" y="630"/>
                </a:lnTo>
                <a:lnTo>
                  <a:pt x="676" y="647"/>
                </a:lnTo>
                <a:lnTo>
                  <a:pt x="561" y="610"/>
                </a:lnTo>
                <a:lnTo>
                  <a:pt x="473" y="608"/>
                </a:lnTo>
                <a:lnTo>
                  <a:pt x="445" y="617"/>
                </a:lnTo>
                <a:lnTo>
                  <a:pt x="418" y="610"/>
                </a:lnTo>
                <a:lnTo>
                  <a:pt x="391" y="624"/>
                </a:lnTo>
                <a:lnTo>
                  <a:pt x="360" y="625"/>
                </a:lnTo>
                <a:lnTo>
                  <a:pt x="333" y="611"/>
                </a:lnTo>
                <a:lnTo>
                  <a:pt x="244" y="614"/>
                </a:lnTo>
                <a:lnTo>
                  <a:pt x="107" y="676"/>
                </a:lnTo>
                <a:lnTo>
                  <a:pt x="76" y="728"/>
                </a:lnTo>
                <a:lnTo>
                  <a:pt x="50" y="745"/>
                </a:lnTo>
                <a:lnTo>
                  <a:pt x="12" y="739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67" name="Freeform 181">
            <a:extLst>
              <a:ext uri="{FF2B5EF4-FFF2-40B4-BE49-F238E27FC236}">
                <a16:creationId xmlns:a16="http://schemas.microsoft.com/office/drawing/2014/main" id="{CAC2AEC9-BBF5-457F-9D0B-689C67412A59}"/>
              </a:ext>
            </a:extLst>
          </p:cNvPr>
          <p:cNvSpPr>
            <a:spLocks/>
          </p:cNvSpPr>
          <p:nvPr/>
        </p:nvSpPr>
        <p:spPr bwMode="auto">
          <a:xfrm rot="21249101">
            <a:off x="7603247" y="2918266"/>
            <a:ext cx="621272" cy="321142"/>
          </a:xfrm>
          <a:custGeom>
            <a:avLst/>
            <a:gdLst>
              <a:gd name="T0" fmla="*/ 0 w 1493"/>
              <a:gd name="T1" fmla="*/ 2147483647 h 838"/>
              <a:gd name="T2" fmla="*/ 2147483647 w 1493"/>
              <a:gd name="T3" fmla="*/ 2147483647 h 838"/>
              <a:gd name="T4" fmla="*/ 2147483647 w 1493"/>
              <a:gd name="T5" fmla="*/ 2147483647 h 838"/>
              <a:gd name="T6" fmla="*/ 2147483647 w 1493"/>
              <a:gd name="T7" fmla="*/ 2147483647 h 838"/>
              <a:gd name="T8" fmla="*/ 2147483647 w 1493"/>
              <a:gd name="T9" fmla="*/ 2147483647 h 838"/>
              <a:gd name="T10" fmla="*/ 2147483647 w 1493"/>
              <a:gd name="T11" fmla="*/ 2147483647 h 838"/>
              <a:gd name="T12" fmla="*/ 2147483647 w 1493"/>
              <a:gd name="T13" fmla="*/ 2147483647 h 838"/>
              <a:gd name="T14" fmla="*/ 2147483647 w 1493"/>
              <a:gd name="T15" fmla="*/ 2147483647 h 838"/>
              <a:gd name="T16" fmla="*/ 2147483647 w 1493"/>
              <a:gd name="T17" fmla="*/ 2147483647 h 838"/>
              <a:gd name="T18" fmla="*/ 2147483647 w 1493"/>
              <a:gd name="T19" fmla="*/ 2147483647 h 838"/>
              <a:gd name="T20" fmla="*/ 2147483647 w 1493"/>
              <a:gd name="T21" fmla="*/ 2147483647 h 838"/>
              <a:gd name="T22" fmla="*/ 2147483647 w 1493"/>
              <a:gd name="T23" fmla="*/ 2147483647 h 838"/>
              <a:gd name="T24" fmla="*/ 2147483647 w 1493"/>
              <a:gd name="T25" fmla="*/ 2147483647 h 838"/>
              <a:gd name="T26" fmla="*/ 2147483647 w 1493"/>
              <a:gd name="T27" fmla="*/ 2147483647 h 838"/>
              <a:gd name="T28" fmla="*/ 2147483647 w 1493"/>
              <a:gd name="T29" fmla="*/ 2147483647 h 838"/>
              <a:gd name="T30" fmla="*/ 2147483647 w 1493"/>
              <a:gd name="T31" fmla="*/ 2147483647 h 838"/>
              <a:gd name="T32" fmla="*/ 2147483647 w 1493"/>
              <a:gd name="T33" fmla="*/ 2147483647 h 838"/>
              <a:gd name="T34" fmla="*/ 2147483647 w 1493"/>
              <a:gd name="T35" fmla="*/ 2147483647 h 838"/>
              <a:gd name="T36" fmla="*/ 2147483647 w 1493"/>
              <a:gd name="T37" fmla="*/ 2147483647 h 838"/>
              <a:gd name="T38" fmla="*/ 2147483647 w 1493"/>
              <a:gd name="T39" fmla="*/ 2147483647 h 838"/>
              <a:gd name="T40" fmla="*/ 2147483647 w 1493"/>
              <a:gd name="T41" fmla="*/ 2147483647 h 838"/>
              <a:gd name="T42" fmla="*/ 2147483647 w 1493"/>
              <a:gd name="T43" fmla="*/ 2147483647 h 838"/>
              <a:gd name="T44" fmla="*/ 2147483647 w 1493"/>
              <a:gd name="T45" fmla="*/ 2147483647 h 838"/>
              <a:gd name="T46" fmla="*/ 2147483647 w 1493"/>
              <a:gd name="T47" fmla="*/ 2147483647 h 838"/>
              <a:gd name="T48" fmla="*/ 2147483647 w 1493"/>
              <a:gd name="T49" fmla="*/ 2147483647 h 838"/>
              <a:gd name="T50" fmla="*/ 2147483647 w 1493"/>
              <a:gd name="T51" fmla="*/ 2147483647 h 838"/>
              <a:gd name="T52" fmla="*/ 2147483647 w 1493"/>
              <a:gd name="T53" fmla="*/ 2147483647 h 838"/>
              <a:gd name="T54" fmla="*/ 2147483647 w 1493"/>
              <a:gd name="T55" fmla="*/ 2147483647 h 838"/>
              <a:gd name="T56" fmla="*/ 2147483647 w 1493"/>
              <a:gd name="T57" fmla="*/ 2147483647 h 838"/>
              <a:gd name="T58" fmla="*/ 2147483647 w 1493"/>
              <a:gd name="T59" fmla="*/ 2147483647 h 838"/>
              <a:gd name="T60" fmla="*/ 2147483647 w 1493"/>
              <a:gd name="T61" fmla="*/ 2147483647 h 838"/>
              <a:gd name="T62" fmla="*/ 2147483647 w 1493"/>
              <a:gd name="T63" fmla="*/ 2147483647 h 838"/>
              <a:gd name="T64" fmla="*/ 2147483647 w 1493"/>
              <a:gd name="T65" fmla="*/ 2147483647 h 838"/>
              <a:gd name="T66" fmla="*/ 2147483647 w 1493"/>
              <a:gd name="T67" fmla="*/ 2147483647 h 838"/>
              <a:gd name="T68" fmla="*/ 2147483647 w 1493"/>
              <a:gd name="T69" fmla="*/ 2147483647 h 838"/>
              <a:gd name="T70" fmla="*/ 2147483647 w 1493"/>
              <a:gd name="T71" fmla="*/ 2147483647 h 838"/>
              <a:gd name="T72" fmla="*/ 2147483647 w 1493"/>
              <a:gd name="T73" fmla="*/ 2147483647 h 8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493"/>
              <a:gd name="T112" fmla="*/ 0 h 838"/>
              <a:gd name="T113" fmla="*/ 1493 w 1493"/>
              <a:gd name="T114" fmla="*/ 838 h 8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493" h="838">
                <a:moveTo>
                  <a:pt x="12" y="739"/>
                </a:moveTo>
                <a:lnTo>
                  <a:pt x="0" y="698"/>
                </a:lnTo>
                <a:lnTo>
                  <a:pt x="15" y="513"/>
                </a:lnTo>
                <a:lnTo>
                  <a:pt x="68" y="412"/>
                </a:lnTo>
                <a:lnTo>
                  <a:pt x="89" y="309"/>
                </a:lnTo>
                <a:lnTo>
                  <a:pt x="145" y="214"/>
                </a:lnTo>
                <a:lnTo>
                  <a:pt x="177" y="188"/>
                </a:lnTo>
                <a:lnTo>
                  <a:pt x="297" y="145"/>
                </a:lnTo>
                <a:lnTo>
                  <a:pt x="400" y="265"/>
                </a:lnTo>
                <a:lnTo>
                  <a:pt x="422" y="328"/>
                </a:lnTo>
                <a:lnTo>
                  <a:pt x="426" y="288"/>
                </a:lnTo>
                <a:lnTo>
                  <a:pt x="446" y="347"/>
                </a:lnTo>
                <a:lnTo>
                  <a:pt x="470" y="375"/>
                </a:lnTo>
                <a:lnTo>
                  <a:pt x="531" y="404"/>
                </a:lnTo>
                <a:lnTo>
                  <a:pt x="550" y="403"/>
                </a:lnTo>
                <a:lnTo>
                  <a:pt x="605" y="375"/>
                </a:lnTo>
                <a:lnTo>
                  <a:pt x="608" y="396"/>
                </a:lnTo>
                <a:lnTo>
                  <a:pt x="625" y="416"/>
                </a:lnTo>
                <a:lnTo>
                  <a:pt x="629" y="362"/>
                </a:lnTo>
                <a:lnTo>
                  <a:pt x="660" y="311"/>
                </a:lnTo>
                <a:lnTo>
                  <a:pt x="649" y="85"/>
                </a:lnTo>
                <a:lnTo>
                  <a:pt x="669" y="64"/>
                </a:lnTo>
                <a:lnTo>
                  <a:pt x="697" y="57"/>
                </a:lnTo>
                <a:lnTo>
                  <a:pt x="740" y="19"/>
                </a:lnTo>
                <a:lnTo>
                  <a:pt x="830" y="0"/>
                </a:lnTo>
                <a:lnTo>
                  <a:pt x="889" y="8"/>
                </a:lnTo>
                <a:lnTo>
                  <a:pt x="936" y="40"/>
                </a:lnTo>
                <a:lnTo>
                  <a:pt x="993" y="57"/>
                </a:lnTo>
                <a:lnTo>
                  <a:pt x="1014" y="87"/>
                </a:lnTo>
                <a:lnTo>
                  <a:pt x="1097" y="149"/>
                </a:lnTo>
                <a:lnTo>
                  <a:pt x="1126" y="148"/>
                </a:lnTo>
                <a:lnTo>
                  <a:pt x="1151" y="133"/>
                </a:lnTo>
                <a:lnTo>
                  <a:pt x="1207" y="120"/>
                </a:lnTo>
                <a:lnTo>
                  <a:pt x="1269" y="132"/>
                </a:lnTo>
                <a:lnTo>
                  <a:pt x="1308" y="176"/>
                </a:lnTo>
                <a:lnTo>
                  <a:pt x="1335" y="190"/>
                </a:lnTo>
                <a:lnTo>
                  <a:pt x="1353" y="214"/>
                </a:lnTo>
                <a:lnTo>
                  <a:pt x="1360" y="240"/>
                </a:lnTo>
                <a:lnTo>
                  <a:pt x="1342" y="356"/>
                </a:lnTo>
                <a:lnTo>
                  <a:pt x="1372" y="363"/>
                </a:lnTo>
                <a:lnTo>
                  <a:pt x="1398" y="377"/>
                </a:lnTo>
                <a:lnTo>
                  <a:pt x="1401" y="405"/>
                </a:lnTo>
                <a:lnTo>
                  <a:pt x="1485" y="532"/>
                </a:lnTo>
                <a:lnTo>
                  <a:pt x="1493" y="622"/>
                </a:lnTo>
                <a:lnTo>
                  <a:pt x="1455" y="627"/>
                </a:lnTo>
                <a:lnTo>
                  <a:pt x="1393" y="694"/>
                </a:lnTo>
                <a:lnTo>
                  <a:pt x="1389" y="725"/>
                </a:lnTo>
                <a:lnTo>
                  <a:pt x="1356" y="777"/>
                </a:lnTo>
                <a:lnTo>
                  <a:pt x="1328" y="785"/>
                </a:lnTo>
                <a:lnTo>
                  <a:pt x="1268" y="768"/>
                </a:lnTo>
                <a:lnTo>
                  <a:pt x="1245" y="788"/>
                </a:lnTo>
                <a:lnTo>
                  <a:pt x="1241" y="818"/>
                </a:lnTo>
                <a:lnTo>
                  <a:pt x="1217" y="838"/>
                </a:lnTo>
                <a:lnTo>
                  <a:pt x="1131" y="811"/>
                </a:lnTo>
                <a:lnTo>
                  <a:pt x="1055" y="733"/>
                </a:lnTo>
                <a:lnTo>
                  <a:pt x="953" y="674"/>
                </a:lnTo>
                <a:lnTo>
                  <a:pt x="894" y="680"/>
                </a:lnTo>
                <a:lnTo>
                  <a:pt x="865" y="673"/>
                </a:lnTo>
                <a:lnTo>
                  <a:pt x="822" y="592"/>
                </a:lnTo>
                <a:lnTo>
                  <a:pt x="800" y="573"/>
                </a:lnTo>
                <a:lnTo>
                  <a:pt x="772" y="584"/>
                </a:lnTo>
                <a:lnTo>
                  <a:pt x="733" y="630"/>
                </a:lnTo>
                <a:lnTo>
                  <a:pt x="676" y="647"/>
                </a:lnTo>
                <a:lnTo>
                  <a:pt x="561" y="610"/>
                </a:lnTo>
                <a:lnTo>
                  <a:pt x="473" y="608"/>
                </a:lnTo>
                <a:lnTo>
                  <a:pt x="445" y="617"/>
                </a:lnTo>
                <a:lnTo>
                  <a:pt x="418" y="610"/>
                </a:lnTo>
                <a:lnTo>
                  <a:pt x="391" y="624"/>
                </a:lnTo>
                <a:lnTo>
                  <a:pt x="360" y="625"/>
                </a:lnTo>
                <a:lnTo>
                  <a:pt x="333" y="611"/>
                </a:lnTo>
                <a:lnTo>
                  <a:pt x="244" y="614"/>
                </a:lnTo>
                <a:lnTo>
                  <a:pt x="107" y="676"/>
                </a:lnTo>
                <a:lnTo>
                  <a:pt x="76" y="728"/>
                </a:lnTo>
                <a:lnTo>
                  <a:pt x="50" y="745"/>
                </a:lnTo>
                <a:lnTo>
                  <a:pt x="12" y="739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68" name="Freeform 182" descr="Large grid">
            <a:extLst>
              <a:ext uri="{FF2B5EF4-FFF2-40B4-BE49-F238E27FC236}">
                <a16:creationId xmlns:a16="http://schemas.microsoft.com/office/drawing/2014/main" id="{B45CD0E0-48FF-4AD0-8F2A-9D7209B531A3}"/>
              </a:ext>
            </a:extLst>
          </p:cNvPr>
          <p:cNvSpPr>
            <a:spLocks/>
          </p:cNvSpPr>
          <p:nvPr/>
        </p:nvSpPr>
        <p:spPr bwMode="auto">
          <a:xfrm rot="21249101">
            <a:off x="7086119" y="3381954"/>
            <a:ext cx="34116" cy="39324"/>
          </a:xfrm>
          <a:custGeom>
            <a:avLst/>
            <a:gdLst>
              <a:gd name="T0" fmla="*/ 2147483647 w 80"/>
              <a:gd name="T1" fmla="*/ 2147483647 h 101"/>
              <a:gd name="T2" fmla="*/ 2147483647 w 80"/>
              <a:gd name="T3" fmla="*/ 2147483647 h 101"/>
              <a:gd name="T4" fmla="*/ 2147483647 w 80"/>
              <a:gd name="T5" fmla="*/ 2147483647 h 101"/>
              <a:gd name="T6" fmla="*/ 2147483647 w 80"/>
              <a:gd name="T7" fmla="*/ 0 h 101"/>
              <a:gd name="T8" fmla="*/ 0 w 80"/>
              <a:gd name="T9" fmla="*/ 2147483647 h 101"/>
              <a:gd name="T10" fmla="*/ 2147483647 w 80"/>
              <a:gd name="T11" fmla="*/ 2147483647 h 101"/>
              <a:gd name="T12" fmla="*/ 2147483647 w 80"/>
              <a:gd name="T13" fmla="*/ 2147483647 h 101"/>
              <a:gd name="T14" fmla="*/ 2147483647 w 80"/>
              <a:gd name="T15" fmla="*/ 2147483647 h 10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0"/>
              <a:gd name="T25" fmla="*/ 0 h 101"/>
              <a:gd name="T26" fmla="*/ 80 w 80"/>
              <a:gd name="T27" fmla="*/ 101 h 10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0" h="101">
                <a:moveTo>
                  <a:pt x="80" y="101"/>
                </a:moveTo>
                <a:lnTo>
                  <a:pt x="72" y="44"/>
                </a:lnTo>
                <a:lnTo>
                  <a:pt x="43" y="14"/>
                </a:lnTo>
                <a:lnTo>
                  <a:pt x="16" y="0"/>
                </a:lnTo>
                <a:lnTo>
                  <a:pt x="0" y="64"/>
                </a:lnTo>
                <a:lnTo>
                  <a:pt x="16" y="85"/>
                </a:lnTo>
                <a:lnTo>
                  <a:pt x="40" y="97"/>
                </a:lnTo>
                <a:lnTo>
                  <a:pt x="80" y="1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69" name="Freeform 183" descr="Large grid">
            <a:extLst>
              <a:ext uri="{FF2B5EF4-FFF2-40B4-BE49-F238E27FC236}">
                <a16:creationId xmlns:a16="http://schemas.microsoft.com/office/drawing/2014/main" id="{881DF59C-C42B-4A59-A889-FBF01A1730CA}"/>
              </a:ext>
            </a:extLst>
          </p:cNvPr>
          <p:cNvSpPr>
            <a:spLocks/>
          </p:cNvSpPr>
          <p:nvPr/>
        </p:nvSpPr>
        <p:spPr bwMode="auto">
          <a:xfrm rot="21249101">
            <a:off x="7086119" y="3381954"/>
            <a:ext cx="34116" cy="39324"/>
          </a:xfrm>
          <a:custGeom>
            <a:avLst/>
            <a:gdLst>
              <a:gd name="T0" fmla="*/ 2147483647 w 80"/>
              <a:gd name="T1" fmla="*/ 2147483647 h 101"/>
              <a:gd name="T2" fmla="*/ 2147483647 w 80"/>
              <a:gd name="T3" fmla="*/ 2147483647 h 101"/>
              <a:gd name="T4" fmla="*/ 2147483647 w 80"/>
              <a:gd name="T5" fmla="*/ 2147483647 h 101"/>
              <a:gd name="T6" fmla="*/ 2147483647 w 80"/>
              <a:gd name="T7" fmla="*/ 0 h 101"/>
              <a:gd name="T8" fmla="*/ 0 w 80"/>
              <a:gd name="T9" fmla="*/ 2147483647 h 101"/>
              <a:gd name="T10" fmla="*/ 2147483647 w 80"/>
              <a:gd name="T11" fmla="*/ 2147483647 h 101"/>
              <a:gd name="T12" fmla="*/ 2147483647 w 80"/>
              <a:gd name="T13" fmla="*/ 2147483647 h 101"/>
              <a:gd name="T14" fmla="*/ 2147483647 w 80"/>
              <a:gd name="T15" fmla="*/ 2147483647 h 10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0"/>
              <a:gd name="T25" fmla="*/ 0 h 101"/>
              <a:gd name="T26" fmla="*/ 80 w 80"/>
              <a:gd name="T27" fmla="*/ 101 h 10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0" h="101">
                <a:moveTo>
                  <a:pt x="80" y="101"/>
                </a:moveTo>
                <a:lnTo>
                  <a:pt x="72" y="44"/>
                </a:lnTo>
                <a:lnTo>
                  <a:pt x="43" y="14"/>
                </a:lnTo>
                <a:lnTo>
                  <a:pt x="16" y="0"/>
                </a:lnTo>
                <a:lnTo>
                  <a:pt x="0" y="64"/>
                </a:lnTo>
                <a:lnTo>
                  <a:pt x="16" y="85"/>
                </a:lnTo>
                <a:lnTo>
                  <a:pt x="40" y="97"/>
                </a:lnTo>
                <a:lnTo>
                  <a:pt x="80" y="10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0" name="Freeform 184" descr="Large grid">
            <a:extLst>
              <a:ext uri="{FF2B5EF4-FFF2-40B4-BE49-F238E27FC236}">
                <a16:creationId xmlns:a16="http://schemas.microsoft.com/office/drawing/2014/main" id="{D42F865F-5FDD-4151-BC7B-A89D0FC9746D}"/>
              </a:ext>
            </a:extLst>
          </p:cNvPr>
          <p:cNvSpPr>
            <a:spLocks/>
          </p:cNvSpPr>
          <p:nvPr/>
        </p:nvSpPr>
        <p:spPr bwMode="auto">
          <a:xfrm rot="21249101">
            <a:off x="6843714" y="3429470"/>
            <a:ext cx="32321" cy="54069"/>
          </a:xfrm>
          <a:custGeom>
            <a:avLst/>
            <a:gdLst>
              <a:gd name="T0" fmla="*/ 2147483647 w 75"/>
              <a:gd name="T1" fmla="*/ 2147483647 h 141"/>
              <a:gd name="T2" fmla="*/ 2147483647 w 75"/>
              <a:gd name="T3" fmla="*/ 0 h 141"/>
              <a:gd name="T4" fmla="*/ 2147483647 w 75"/>
              <a:gd name="T5" fmla="*/ 2147483647 h 141"/>
              <a:gd name="T6" fmla="*/ 2147483647 w 75"/>
              <a:gd name="T7" fmla="*/ 2147483647 h 141"/>
              <a:gd name="T8" fmla="*/ 2147483647 w 75"/>
              <a:gd name="T9" fmla="*/ 2147483647 h 141"/>
              <a:gd name="T10" fmla="*/ 2147483647 w 75"/>
              <a:gd name="T11" fmla="*/ 2147483647 h 141"/>
              <a:gd name="T12" fmla="*/ 2147483647 w 75"/>
              <a:gd name="T13" fmla="*/ 2147483647 h 141"/>
              <a:gd name="T14" fmla="*/ 2147483647 w 75"/>
              <a:gd name="T15" fmla="*/ 2147483647 h 141"/>
              <a:gd name="T16" fmla="*/ 2147483647 w 75"/>
              <a:gd name="T17" fmla="*/ 2147483647 h 141"/>
              <a:gd name="T18" fmla="*/ 2147483647 w 75"/>
              <a:gd name="T19" fmla="*/ 2147483647 h 141"/>
              <a:gd name="T20" fmla="*/ 2147483647 w 75"/>
              <a:gd name="T21" fmla="*/ 2147483647 h 141"/>
              <a:gd name="T22" fmla="*/ 2147483647 w 75"/>
              <a:gd name="T23" fmla="*/ 2147483647 h 141"/>
              <a:gd name="T24" fmla="*/ 2147483647 w 75"/>
              <a:gd name="T25" fmla="*/ 2147483647 h 141"/>
              <a:gd name="T26" fmla="*/ 0 w 75"/>
              <a:gd name="T27" fmla="*/ 2147483647 h 141"/>
              <a:gd name="T28" fmla="*/ 2147483647 w 75"/>
              <a:gd name="T29" fmla="*/ 0 h 141"/>
              <a:gd name="T30" fmla="*/ 2147483647 w 75"/>
              <a:gd name="T31" fmla="*/ 2147483647 h 14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5"/>
              <a:gd name="T49" fmla="*/ 0 h 141"/>
              <a:gd name="T50" fmla="*/ 75 w 75"/>
              <a:gd name="T51" fmla="*/ 141 h 14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5" h="141">
                <a:moveTo>
                  <a:pt x="16" y="1"/>
                </a:moveTo>
                <a:lnTo>
                  <a:pt x="26" y="0"/>
                </a:lnTo>
                <a:lnTo>
                  <a:pt x="39" y="7"/>
                </a:lnTo>
                <a:lnTo>
                  <a:pt x="44" y="23"/>
                </a:lnTo>
                <a:lnTo>
                  <a:pt x="75" y="42"/>
                </a:lnTo>
                <a:lnTo>
                  <a:pt x="75" y="65"/>
                </a:lnTo>
                <a:lnTo>
                  <a:pt x="50" y="80"/>
                </a:lnTo>
                <a:lnTo>
                  <a:pt x="36" y="141"/>
                </a:lnTo>
                <a:lnTo>
                  <a:pt x="22" y="128"/>
                </a:lnTo>
                <a:lnTo>
                  <a:pt x="30" y="78"/>
                </a:lnTo>
                <a:lnTo>
                  <a:pt x="19" y="66"/>
                </a:lnTo>
                <a:lnTo>
                  <a:pt x="16" y="40"/>
                </a:lnTo>
                <a:lnTo>
                  <a:pt x="9" y="34"/>
                </a:lnTo>
                <a:lnTo>
                  <a:pt x="0" y="5"/>
                </a:lnTo>
                <a:lnTo>
                  <a:pt x="1" y="0"/>
                </a:lnTo>
                <a:lnTo>
                  <a:pt x="16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1" name="Freeform 185" descr="Large grid">
            <a:extLst>
              <a:ext uri="{FF2B5EF4-FFF2-40B4-BE49-F238E27FC236}">
                <a16:creationId xmlns:a16="http://schemas.microsoft.com/office/drawing/2014/main" id="{325EC03A-CDE5-405F-BCB8-9A97ED73C448}"/>
              </a:ext>
            </a:extLst>
          </p:cNvPr>
          <p:cNvSpPr>
            <a:spLocks/>
          </p:cNvSpPr>
          <p:nvPr/>
        </p:nvSpPr>
        <p:spPr bwMode="auto">
          <a:xfrm rot="21249101">
            <a:off x="6843714" y="3429470"/>
            <a:ext cx="32321" cy="54069"/>
          </a:xfrm>
          <a:custGeom>
            <a:avLst/>
            <a:gdLst>
              <a:gd name="T0" fmla="*/ 2147483647 w 75"/>
              <a:gd name="T1" fmla="*/ 2147483647 h 141"/>
              <a:gd name="T2" fmla="*/ 2147483647 w 75"/>
              <a:gd name="T3" fmla="*/ 0 h 141"/>
              <a:gd name="T4" fmla="*/ 2147483647 w 75"/>
              <a:gd name="T5" fmla="*/ 2147483647 h 141"/>
              <a:gd name="T6" fmla="*/ 2147483647 w 75"/>
              <a:gd name="T7" fmla="*/ 2147483647 h 141"/>
              <a:gd name="T8" fmla="*/ 2147483647 w 75"/>
              <a:gd name="T9" fmla="*/ 2147483647 h 141"/>
              <a:gd name="T10" fmla="*/ 2147483647 w 75"/>
              <a:gd name="T11" fmla="*/ 2147483647 h 141"/>
              <a:gd name="T12" fmla="*/ 2147483647 w 75"/>
              <a:gd name="T13" fmla="*/ 2147483647 h 141"/>
              <a:gd name="T14" fmla="*/ 2147483647 w 75"/>
              <a:gd name="T15" fmla="*/ 2147483647 h 141"/>
              <a:gd name="T16" fmla="*/ 2147483647 w 75"/>
              <a:gd name="T17" fmla="*/ 2147483647 h 141"/>
              <a:gd name="T18" fmla="*/ 2147483647 w 75"/>
              <a:gd name="T19" fmla="*/ 2147483647 h 141"/>
              <a:gd name="T20" fmla="*/ 2147483647 w 75"/>
              <a:gd name="T21" fmla="*/ 2147483647 h 141"/>
              <a:gd name="T22" fmla="*/ 2147483647 w 75"/>
              <a:gd name="T23" fmla="*/ 2147483647 h 141"/>
              <a:gd name="T24" fmla="*/ 2147483647 w 75"/>
              <a:gd name="T25" fmla="*/ 2147483647 h 141"/>
              <a:gd name="T26" fmla="*/ 0 w 75"/>
              <a:gd name="T27" fmla="*/ 2147483647 h 141"/>
              <a:gd name="T28" fmla="*/ 2147483647 w 75"/>
              <a:gd name="T29" fmla="*/ 0 h 141"/>
              <a:gd name="T30" fmla="*/ 2147483647 w 75"/>
              <a:gd name="T31" fmla="*/ 2147483647 h 14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5"/>
              <a:gd name="T49" fmla="*/ 0 h 141"/>
              <a:gd name="T50" fmla="*/ 75 w 75"/>
              <a:gd name="T51" fmla="*/ 141 h 14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5" h="141">
                <a:moveTo>
                  <a:pt x="16" y="1"/>
                </a:moveTo>
                <a:lnTo>
                  <a:pt x="26" y="0"/>
                </a:lnTo>
                <a:lnTo>
                  <a:pt x="39" y="7"/>
                </a:lnTo>
                <a:lnTo>
                  <a:pt x="44" y="23"/>
                </a:lnTo>
                <a:lnTo>
                  <a:pt x="75" y="42"/>
                </a:lnTo>
                <a:lnTo>
                  <a:pt x="75" y="65"/>
                </a:lnTo>
                <a:lnTo>
                  <a:pt x="50" y="80"/>
                </a:lnTo>
                <a:lnTo>
                  <a:pt x="36" y="141"/>
                </a:lnTo>
                <a:lnTo>
                  <a:pt x="22" y="128"/>
                </a:lnTo>
                <a:lnTo>
                  <a:pt x="30" y="78"/>
                </a:lnTo>
                <a:lnTo>
                  <a:pt x="19" y="66"/>
                </a:lnTo>
                <a:lnTo>
                  <a:pt x="16" y="40"/>
                </a:lnTo>
                <a:lnTo>
                  <a:pt x="9" y="34"/>
                </a:lnTo>
                <a:lnTo>
                  <a:pt x="0" y="5"/>
                </a:lnTo>
                <a:lnTo>
                  <a:pt x="1" y="0"/>
                </a:lnTo>
                <a:lnTo>
                  <a:pt x="16" y="1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2" name="Freeform 186" descr="Large grid">
            <a:extLst>
              <a:ext uri="{FF2B5EF4-FFF2-40B4-BE49-F238E27FC236}">
                <a16:creationId xmlns:a16="http://schemas.microsoft.com/office/drawing/2014/main" id="{1E88F10C-2FE2-4914-AF25-CBB120D6DE3A}"/>
              </a:ext>
            </a:extLst>
          </p:cNvPr>
          <p:cNvSpPr>
            <a:spLocks/>
          </p:cNvSpPr>
          <p:nvPr/>
        </p:nvSpPr>
        <p:spPr bwMode="auto">
          <a:xfrm rot="21249101">
            <a:off x="6779074" y="3427831"/>
            <a:ext cx="64641" cy="47516"/>
          </a:xfrm>
          <a:custGeom>
            <a:avLst/>
            <a:gdLst>
              <a:gd name="T0" fmla="*/ 2147483647 w 158"/>
              <a:gd name="T1" fmla="*/ 0 h 123"/>
              <a:gd name="T2" fmla="*/ 2147483647 w 158"/>
              <a:gd name="T3" fmla="*/ 2147483647 h 123"/>
              <a:gd name="T4" fmla="*/ 2147483647 w 158"/>
              <a:gd name="T5" fmla="*/ 2147483647 h 123"/>
              <a:gd name="T6" fmla="*/ 2147483647 w 158"/>
              <a:gd name="T7" fmla="*/ 2147483647 h 123"/>
              <a:gd name="T8" fmla="*/ 2147483647 w 158"/>
              <a:gd name="T9" fmla="*/ 2147483647 h 123"/>
              <a:gd name="T10" fmla="*/ 2147483647 w 158"/>
              <a:gd name="T11" fmla="*/ 2147483647 h 123"/>
              <a:gd name="T12" fmla="*/ 2147483647 w 158"/>
              <a:gd name="T13" fmla="*/ 2147483647 h 123"/>
              <a:gd name="T14" fmla="*/ 2147483647 w 158"/>
              <a:gd name="T15" fmla="*/ 2147483647 h 123"/>
              <a:gd name="T16" fmla="*/ 2147483647 w 158"/>
              <a:gd name="T17" fmla="*/ 2147483647 h 123"/>
              <a:gd name="T18" fmla="*/ 2147483647 w 158"/>
              <a:gd name="T19" fmla="*/ 2147483647 h 123"/>
              <a:gd name="T20" fmla="*/ 2147483647 w 158"/>
              <a:gd name="T21" fmla="*/ 2147483647 h 123"/>
              <a:gd name="T22" fmla="*/ 2147483647 w 158"/>
              <a:gd name="T23" fmla="*/ 2147483647 h 123"/>
              <a:gd name="T24" fmla="*/ 2147483647 w 158"/>
              <a:gd name="T25" fmla="*/ 2147483647 h 123"/>
              <a:gd name="T26" fmla="*/ 2147483647 w 158"/>
              <a:gd name="T27" fmla="*/ 2147483647 h 123"/>
              <a:gd name="T28" fmla="*/ 2147483647 w 158"/>
              <a:gd name="T29" fmla="*/ 2147483647 h 123"/>
              <a:gd name="T30" fmla="*/ 2147483647 w 158"/>
              <a:gd name="T31" fmla="*/ 2147483647 h 123"/>
              <a:gd name="T32" fmla="*/ 2147483647 w 158"/>
              <a:gd name="T33" fmla="*/ 2147483647 h 123"/>
              <a:gd name="T34" fmla="*/ 2147483647 w 158"/>
              <a:gd name="T35" fmla="*/ 2147483647 h 123"/>
              <a:gd name="T36" fmla="*/ 2147483647 w 158"/>
              <a:gd name="T37" fmla="*/ 2147483647 h 123"/>
              <a:gd name="T38" fmla="*/ 0 w 158"/>
              <a:gd name="T39" fmla="*/ 2147483647 h 123"/>
              <a:gd name="T40" fmla="*/ 2147483647 w 158"/>
              <a:gd name="T41" fmla="*/ 2147483647 h 123"/>
              <a:gd name="T42" fmla="*/ 2147483647 w 158"/>
              <a:gd name="T43" fmla="*/ 2147483647 h 123"/>
              <a:gd name="T44" fmla="*/ 2147483647 w 158"/>
              <a:gd name="T45" fmla="*/ 2147483647 h 123"/>
              <a:gd name="T46" fmla="*/ 2147483647 w 158"/>
              <a:gd name="T47" fmla="*/ 2147483647 h 123"/>
              <a:gd name="T48" fmla="*/ 2147483647 w 158"/>
              <a:gd name="T49" fmla="*/ 2147483647 h 123"/>
              <a:gd name="T50" fmla="*/ 2147483647 w 158"/>
              <a:gd name="T51" fmla="*/ 2147483647 h 123"/>
              <a:gd name="T52" fmla="*/ 2147483647 w 158"/>
              <a:gd name="T53" fmla="*/ 0 h 12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58"/>
              <a:gd name="T82" fmla="*/ 0 h 123"/>
              <a:gd name="T83" fmla="*/ 158 w 158"/>
              <a:gd name="T84" fmla="*/ 123 h 123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58" h="123">
                <a:moveTo>
                  <a:pt x="59" y="0"/>
                </a:moveTo>
                <a:lnTo>
                  <a:pt x="64" y="4"/>
                </a:lnTo>
                <a:lnTo>
                  <a:pt x="68" y="22"/>
                </a:lnTo>
                <a:lnTo>
                  <a:pt x="82" y="27"/>
                </a:lnTo>
                <a:lnTo>
                  <a:pt x="95" y="45"/>
                </a:lnTo>
                <a:lnTo>
                  <a:pt x="107" y="50"/>
                </a:lnTo>
                <a:lnTo>
                  <a:pt x="108" y="40"/>
                </a:lnTo>
                <a:lnTo>
                  <a:pt x="121" y="41"/>
                </a:lnTo>
                <a:lnTo>
                  <a:pt x="122" y="33"/>
                </a:lnTo>
                <a:lnTo>
                  <a:pt x="137" y="34"/>
                </a:lnTo>
                <a:lnTo>
                  <a:pt x="138" y="47"/>
                </a:lnTo>
                <a:lnTo>
                  <a:pt x="151" y="67"/>
                </a:lnTo>
                <a:lnTo>
                  <a:pt x="158" y="117"/>
                </a:lnTo>
                <a:lnTo>
                  <a:pt x="142" y="121"/>
                </a:lnTo>
                <a:lnTo>
                  <a:pt x="108" y="110"/>
                </a:lnTo>
                <a:lnTo>
                  <a:pt x="96" y="121"/>
                </a:lnTo>
                <a:lnTo>
                  <a:pt x="78" y="123"/>
                </a:lnTo>
                <a:lnTo>
                  <a:pt x="43" y="86"/>
                </a:lnTo>
                <a:lnTo>
                  <a:pt x="6" y="66"/>
                </a:lnTo>
                <a:lnTo>
                  <a:pt x="0" y="46"/>
                </a:lnTo>
                <a:lnTo>
                  <a:pt x="12" y="49"/>
                </a:lnTo>
                <a:lnTo>
                  <a:pt x="27" y="32"/>
                </a:lnTo>
                <a:lnTo>
                  <a:pt x="14" y="31"/>
                </a:lnTo>
                <a:lnTo>
                  <a:pt x="8" y="11"/>
                </a:lnTo>
                <a:lnTo>
                  <a:pt x="25" y="2"/>
                </a:lnTo>
                <a:lnTo>
                  <a:pt x="52" y="5"/>
                </a:lnTo>
                <a:lnTo>
                  <a:pt x="5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3" name="Freeform 187" descr="Large grid">
            <a:extLst>
              <a:ext uri="{FF2B5EF4-FFF2-40B4-BE49-F238E27FC236}">
                <a16:creationId xmlns:a16="http://schemas.microsoft.com/office/drawing/2014/main" id="{8277C665-00D6-43DC-AE0E-D1D6CE740BD1}"/>
              </a:ext>
            </a:extLst>
          </p:cNvPr>
          <p:cNvSpPr>
            <a:spLocks/>
          </p:cNvSpPr>
          <p:nvPr/>
        </p:nvSpPr>
        <p:spPr bwMode="auto">
          <a:xfrm rot="21249101">
            <a:off x="6779074" y="3427831"/>
            <a:ext cx="64641" cy="47516"/>
          </a:xfrm>
          <a:custGeom>
            <a:avLst/>
            <a:gdLst>
              <a:gd name="T0" fmla="*/ 2147483647 w 158"/>
              <a:gd name="T1" fmla="*/ 0 h 123"/>
              <a:gd name="T2" fmla="*/ 2147483647 w 158"/>
              <a:gd name="T3" fmla="*/ 2147483647 h 123"/>
              <a:gd name="T4" fmla="*/ 2147483647 w 158"/>
              <a:gd name="T5" fmla="*/ 2147483647 h 123"/>
              <a:gd name="T6" fmla="*/ 2147483647 w 158"/>
              <a:gd name="T7" fmla="*/ 2147483647 h 123"/>
              <a:gd name="T8" fmla="*/ 2147483647 w 158"/>
              <a:gd name="T9" fmla="*/ 2147483647 h 123"/>
              <a:gd name="T10" fmla="*/ 2147483647 w 158"/>
              <a:gd name="T11" fmla="*/ 2147483647 h 123"/>
              <a:gd name="T12" fmla="*/ 2147483647 w 158"/>
              <a:gd name="T13" fmla="*/ 2147483647 h 123"/>
              <a:gd name="T14" fmla="*/ 2147483647 w 158"/>
              <a:gd name="T15" fmla="*/ 2147483647 h 123"/>
              <a:gd name="T16" fmla="*/ 2147483647 w 158"/>
              <a:gd name="T17" fmla="*/ 2147483647 h 123"/>
              <a:gd name="T18" fmla="*/ 2147483647 w 158"/>
              <a:gd name="T19" fmla="*/ 2147483647 h 123"/>
              <a:gd name="T20" fmla="*/ 2147483647 w 158"/>
              <a:gd name="T21" fmla="*/ 2147483647 h 123"/>
              <a:gd name="T22" fmla="*/ 2147483647 w 158"/>
              <a:gd name="T23" fmla="*/ 2147483647 h 123"/>
              <a:gd name="T24" fmla="*/ 2147483647 w 158"/>
              <a:gd name="T25" fmla="*/ 2147483647 h 123"/>
              <a:gd name="T26" fmla="*/ 2147483647 w 158"/>
              <a:gd name="T27" fmla="*/ 2147483647 h 123"/>
              <a:gd name="T28" fmla="*/ 2147483647 w 158"/>
              <a:gd name="T29" fmla="*/ 2147483647 h 123"/>
              <a:gd name="T30" fmla="*/ 2147483647 w 158"/>
              <a:gd name="T31" fmla="*/ 2147483647 h 123"/>
              <a:gd name="T32" fmla="*/ 2147483647 w 158"/>
              <a:gd name="T33" fmla="*/ 2147483647 h 123"/>
              <a:gd name="T34" fmla="*/ 2147483647 w 158"/>
              <a:gd name="T35" fmla="*/ 2147483647 h 123"/>
              <a:gd name="T36" fmla="*/ 2147483647 w 158"/>
              <a:gd name="T37" fmla="*/ 2147483647 h 123"/>
              <a:gd name="T38" fmla="*/ 0 w 158"/>
              <a:gd name="T39" fmla="*/ 2147483647 h 123"/>
              <a:gd name="T40" fmla="*/ 2147483647 w 158"/>
              <a:gd name="T41" fmla="*/ 2147483647 h 123"/>
              <a:gd name="T42" fmla="*/ 2147483647 w 158"/>
              <a:gd name="T43" fmla="*/ 2147483647 h 123"/>
              <a:gd name="T44" fmla="*/ 2147483647 w 158"/>
              <a:gd name="T45" fmla="*/ 2147483647 h 123"/>
              <a:gd name="T46" fmla="*/ 2147483647 w 158"/>
              <a:gd name="T47" fmla="*/ 2147483647 h 123"/>
              <a:gd name="T48" fmla="*/ 2147483647 w 158"/>
              <a:gd name="T49" fmla="*/ 2147483647 h 123"/>
              <a:gd name="T50" fmla="*/ 2147483647 w 158"/>
              <a:gd name="T51" fmla="*/ 2147483647 h 123"/>
              <a:gd name="T52" fmla="*/ 2147483647 w 158"/>
              <a:gd name="T53" fmla="*/ 0 h 12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58"/>
              <a:gd name="T82" fmla="*/ 0 h 123"/>
              <a:gd name="T83" fmla="*/ 158 w 158"/>
              <a:gd name="T84" fmla="*/ 123 h 123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58" h="123">
                <a:moveTo>
                  <a:pt x="59" y="0"/>
                </a:moveTo>
                <a:lnTo>
                  <a:pt x="64" y="4"/>
                </a:lnTo>
                <a:lnTo>
                  <a:pt x="68" y="22"/>
                </a:lnTo>
                <a:lnTo>
                  <a:pt x="82" y="27"/>
                </a:lnTo>
                <a:lnTo>
                  <a:pt x="95" y="45"/>
                </a:lnTo>
                <a:lnTo>
                  <a:pt x="107" y="50"/>
                </a:lnTo>
                <a:lnTo>
                  <a:pt x="108" y="40"/>
                </a:lnTo>
                <a:lnTo>
                  <a:pt x="121" y="41"/>
                </a:lnTo>
                <a:lnTo>
                  <a:pt x="122" y="33"/>
                </a:lnTo>
                <a:lnTo>
                  <a:pt x="137" y="34"/>
                </a:lnTo>
                <a:lnTo>
                  <a:pt x="138" y="47"/>
                </a:lnTo>
                <a:lnTo>
                  <a:pt x="151" y="67"/>
                </a:lnTo>
                <a:lnTo>
                  <a:pt x="158" y="117"/>
                </a:lnTo>
                <a:lnTo>
                  <a:pt x="142" y="121"/>
                </a:lnTo>
                <a:lnTo>
                  <a:pt x="108" y="110"/>
                </a:lnTo>
                <a:lnTo>
                  <a:pt x="96" y="121"/>
                </a:lnTo>
                <a:lnTo>
                  <a:pt x="78" y="123"/>
                </a:lnTo>
                <a:lnTo>
                  <a:pt x="43" y="86"/>
                </a:lnTo>
                <a:lnTo>
                  <a:pt x="6" y="66"/>
                </a:lnTo>
                <a:lnTo>
                  <a:pt x="0" y="46"/>
                </a:lnTo>
                <a:lnTo>
                  <a:pt x="12" y="49"/>
                </a:lnTo>
                <a:lnTo>
                  <a:pt x="27" y="32"/>
                </a:lnTo>
                <a:lnTo>
                  <a:pt x="14" y="31"/>
                </a:lnTo>
                <a:lnTo>
                  <a:pt x="8" y="11"/>
                </a:lnTo>
                <a:lnTo>
                  <a:pt x="25" y="2"/>
                </a:lnTo>
                <a:lnTo>
                  <a:pt x="52" y="5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4" name="Freeform 188" descr="Large grid">
            <a:extLst>
              <a:ext uri="{FF2B5EF4-FFF2-40B4-BE49-F238E27FC236}">
                <a16:creationId xmlns:a16="http://schemas.microsoft.com/office/drawing/2014/main" id="{82E8134B-A1A4-4314-B057-C26C92CD0937}"/>
              </a:ext>
            </a:extLst>
          </p:cNvPr>
          <p:cNvSpPr>
            <a:spLocks/>
          </p:cNvSpPr>
          <p:nvPr/>
        </p:nvSpPr>
        <p:spPr bwMode="auto">
          <a:xfrm rot="21249101">
            <a:off x="6671339" y="3337716"/>
            <a:ext cx="93371" cy="80285"/>
          </a:xfrm>
          <a:custGeom>
            <a:avLst/>
            <a:gdLst>
              <a:gd name="T0" fmla="*/ 2147483647 w 224"/>
              <a:gd name="T1" fmla="*/ 2147483647 h 211"/>
              <a:gd name="T2" fmla="*/ 2147483647 w 224"/>
              <a:gd name="T3" fmla="*/ 2147483647 h 211"/>
              <a:gd name="T4" fmla="*/ 2147483647 w 224"/>
              <a:gd name="T5" fmla="*/ 2147483647 h 211"/>
              <a:gd name="T6" fmla="*/ 2147483647 w 224"/>
              <a:gd name="T7" fmla="*/ 2147483647 h 211"/>
              <a:gd name="T8" fmla="*/ 2147483647 w 224"/>
              <a:gd name="T9" fmla="*/ 2147483647 h 211"/>
              <a:gd name="T10" fmla="*/ 2147483647 w 224"/>
              <a:gd name="T11" fmla="*/ 2147483647 h 211"/>
              <a:gd name="T12" fmla="*/ 2147483647 w 224"/>
              <a:gd name="T13" fmla="*/ 0 h 211"/>
              <a:gd name="T14" fmla="*/ 2147483647 w 224"/>
              <a:gd name="T15" fmla="*/ 2147483647 h 211"/>
              <a:gd name="T16" fmla="*/ 2147483647 w 224"/>
              <a:gd name="T17" fmla="*/ 2147483647 h 211"/>
              <a:gd name="T18" fmla="*/ 2147483647 w 224"/>
              <a:gd name="T19" fmla="*/ 2147483647 h 211"/>
              <a:gd name="T20" fmla="*/ 2147483647 w 224"/>
              <a:gd name="T21" fmla="*/ 2147483647 h 211"/>
              <a:gd name="T22" fmla="*/ 2147483647 w 224"/>
              <a:gd name="T23" fmla="*/ 2147483647 h 211"/>
              <a:gd name="T24" fmla="*/ 2147483647 w 224"/>
              <a:gd name="T25" fmla="*/ 2147483647 h 211"/>
              <a:gd name="T26" fmla="*/ 2147483647 w 224"/>
              <a:gd name="T27" fmla="*/ 2147483647 h 211"/>
              <a:gd name="T28" fmla="*/ 2147483647 w 224"/>
              <a:gd name="T29" fmla="*/ 2147483647 h 211"/>
              <a:gd name="T30" fmla="*/ 2147483647 w 224"/>
              <a:gd name="T31" fmla="*/ 2147483647 h 211"/>
              <a:gd name="T32" fmla="*/ 2147483647 w 224"/>
              <a:gd name="T33" fmla="*/ 2147483647 h 211"/>
              <a:gd name="T34" fmla="*/ 2147483647 w 224"/>
              <a:gd name="T35" fmla="*/ 2147483647 h 211"/>
              <a:gd name="T36" fmla="*/ 2147483647 w 224"/>
              <a:gd name="T37" fmla="*/ 2147483647 h 211"/>
              <a:gd name="T38" fmla="*/ 2147483647 w 224"/>
              <a:gd name="T39" fmla="*/ 2147483647 h 211"/>
              <a:gd name="T40" fmla="*/ 2147483647 w 224"/>
              <a:gd name="T41" fmla="*/ 2147483647 h 211"/>
              <a:gd name="T42" fmla="*/ 2147483647 w 224"/>
              <a:gd name="T43" fmla="*/ 2147483647 h 211"/>
              <a:gd name="T44" fmla="*/ 2147483647 w 224"/>
              <a:gd name="T45" fmla="*/ 2147483647 h 211"/>
              <a:gd name="T46" fmla="*/ 2147483647 w 224"/>
              <a:gd name="T47" fmla="*/ 2147483647 h 211"/>
              <a:gd name="T48" fmla="*/ 2147483647 w 224"/>
              <a:gd name="T49" fmla="*/ 2147483647 h 211"/>
              <a:gd name="T50" fmla="*/ 2147483647 w 224"/>
              <a:gd name="T51" fmla="*/ 2147483647 h 211"/>
              <a:gd name="T52" fmla="*/ 2147483647 w 224"/>
              <a:gd name="T53" fmla="*/ 2147483647 h 211"/>
              <a:gd name="T54" fmla="*/ 0 w 224"/>
              <a:gd name="T55" fmla="*/ 2147483647 h 211"/>
              <a:gd name="T56" fmla="*/ 2147483647 w 224"/>
              <a:gd name="T57" fmla="*/ 2147483647 h 211"/>
              <a:gd name="T58" fmla="*/ 2147483647 w 224"/>
              <a:gd name="T59" fmla="*/ 2147483647 h 211"/>
              <a:gd name="T60" fmla="*/ 0 w 224"/>
              <a:gd name="T61" fmla="*/ 2147483647 h 211"/>
              <a:gd name="T62" fmla="*/ 2147483647 w 224"/>
              <a:gd name="T63" fmla="*/ 2147483647 h 211"/>
              <a:gd name="T64" fmla="*/ 2147483647 w 224"/>
              <a:gd name="T65" fmla="*/ 2147483647 h 211"/>
              <a:gd name="T66" fmla="*/ 2147483647 w 224"/>
              <a:gd name="T67" fmla="*/ 2147483647 h 211"/>
              <a:gd name="T68" fmla="*/ 2147483647 w 224"/>
              <a:gd name="T69" fmla="*/ 2147483647 h 21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24"/>
              <a:gd name="T106" fmla="*/ 0 h 211"/>
              <a:gd name="T107" fmla="*/ 224 w 224"/>
              <a:gd name="T108" fmla="*/ 211 h 21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24" h="211">
                <a:moveTo>
                  <a:pt x="63" y="17"/>
                </a:moveTo>
                <a:lnTo>
                  <a:pt x="82" y="8"/>
                </a:lnTo>
                <a:lnTo>
                  <a:pt x="131" y="9"/>
                </a:lnTo>
                <a:lnTo>
                  <a:pt x="158" y="33"/>
                </a:lnTo>
                <a:lnTo>
                  <a:pt x="167" y="32"/>
                </a:lnTo>
                <a:lnTo>
                  <a:pt x="171" y="8"/>
                </a:lnTo>
                <a:lnTo>
                  <a:pt x="180" y="0"/>
                </a:lnTo>
                <a:lnTo>
                  <a:pt x="204" y="56"/>
                </a:lnTo>
                <a:lnTo>
                  <a:pt x="197" y="84"/>
                </a:lnTo>
                <a:lnTo>
                  <a:pt x="201" y="110"/>
                </a:lnTo>
                <a:lnTo>
                  <a:pt x="207" y="120"/>
                </a:lnTo>
                <a:lnTo>
                  <a:pt x="224" y="128"/>
                </a:lnTo>
                <a:lnTo>
                  <a:pt x="223" y="135"/>
                </a:lnTo>
                <a:lnTo>
                  <a:pt x="211" y="132"/>
                </a:lnTo>
                <a:lnTo>
                  <a:pt x="195" y="201"/>
                </a:lnTo>
                <a:lnTo>
                  <a:pt x="165" y="203"/>
                </a:lnTo>
                <a:lnTo>
                  <a:pt x="142" y="211"/>
                </a:lnTo>
                <a:lnTo>
                  <a:pt x="122" y="205"/>
                </a:lnTo>
                <a:lnTo>
                  <a:pt x="94" y="182"/>
                </a:lnTo>
                <a:lnTo>
                  <a:pt x="57" y="187"/>
                </a:lnTo>
                <a:lnTo>
                  <a:pt x="59" y="173"/>
                </a:lnTo>
                <a:lnTo>
                  <a:pt x="74" y="156"/>
                </a:lnTo>
                <a:lnTo>
                  <a:pt x="59" y="154"/>
                </a:lnTo>
                <a:lnTo>
                  <a:pt x="19" y="131"/>
                </a:lnTo>
                <a:lnTo>
                  <a:pt x="20" y="104"/>
                </a:lnTo>
                <a:lnTo>
                  <a:pt x="4" y="82"/>
                </a:lnTo>
                <a:lnTo>
                  <a:pt x="13" y="66"/>
                </a:lnTo>
                <a:lnTo>
                  <a:pt x="0" y="48"/>
                </a:lnTo>
                <a:lnTo>
                  <a:pt x="7" y="48"/>
                </a:lnTo>
                <a:lnTo>
                  <a:pt x="8" y="41"/>
                </a:lnTo>
                <a:lnTo>
                  <a:pt x="0" y="27"/>
                </a:lnTo>
                <a:lnTo>
                  <a:pt x="1" y="15"/>
                </a:lnTo>
                <a:lnTo>
                  <a:pt x="19" y="18"/>
                </a:lnTo>
                <a:lnTo>
                  <a:pt x="40" y="29"/>
                </a:lnTo>
                <a:lnTo>
                  <a:pt x="63" y="1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5" name="Freeform 190" descr="Large grid">
            <a:extLst>
              <a:ext uri="{FF2B5EF4-FFF2-40B4-BE49-F238E27FC236}">
                <a16:creationId xmlns:a16="http://schemas.microsoft.com/office/drawing/2014/main" id="{3C3E3808-0BF8-4EBE-A274-96A7BB85D7EF}"/>
              </a:ext>
            </a:extLst>
          </p:cNvPr>
          <p:cNvSpPr>
            <a:spLocks/>
          </p:cNvSpPr>
          <p:nvPr/>
        </p:nvSpPr>
        <p:spPr bwMode="auto">
          <a:xfrm rot="21249101">
            <a:off x="6746753" y="3401616"/>
            <a:ext cx="30526" cy="58985"/>
          </a:xfrm>
          <a:custGeom>
            <a:avLst/>
            <a:gdLst>
              <a:gd name="T0" fmla="*/ 2147483647 w 76"/>
              <a:gd name="T1" fmla="*/ 2147483647 h 156"/>
              <a:gd name="T2" fmla="*/ 2147483647 w 76"/>
              <a:gd name="T3" fmla="*/ 2147483647 h 156"/>
              <a:gd name="T4" fmla="*/ 2147483647 w 76"/>
              <a:gd name="T5" fmla="*/ 0 h 156"/>
              <a:gd name="T6" fmla="*/ 2147483647 w 76"/>
              <a:gd name="T7" fmla="*/ 2147483647 h 156"/>
              <a:gd name="T8" fmla="*/ 2147483647 w 76"/>
              <a:gd name="T9" fmla="*/ 2147483647 h 156"/>
              <a:gd name="T10" fmla="*/ 2147483647 w 76"/>
              <a:gd name="T11" fmla="*/ 2147483647 h 156"/>
              <a:gd name="T12" fmla="*/ 2147483647 w 76"/>
              <a:gd name="T13" fmla="*/ 2147483647 h 156"/>
              <a:gd name="T14" fmla="*/ 2147483647 w 76"/>
              <a:gd name="T15" fmla="*/ 2147483647 h 156"/>
              <a:gd name="T16" fmla="*/ 2147483647 w 76"/>
              <a:gd name="T17" fmla="*/ 2147483647 h 156"/>
              <a:gd name="T18" fmla="*/ 2147483647 w 76"/>
              <a:gd name="T19" fmla="*/ 2147483647 h 156"/>
              <a:gd name="T20" fmla="*/ 2147483647 w 76"/>
              <a:gd name="T21" fmla="*/ 2147483647 h 156"/>
              <a:gd name="T22" fmla="*/ 0 w 76"/>
              <a:gd name="T23" fmla="*/ 2147483647 h 156"/>
              <a:gd name="T24" fmla="*/ 2147483647 w 76"/>
              <a:gd name="T25" fmla="*/ 2147483647 h 156"/>
              <a:gd name="T26" fmla="*/ 2147483647 w 76"/>
              <a:gd name="T27" fmla="*/ 2147483647 h 156"/>
              <a:gd name="T28" fmla="*/ 2147483647 w 76"/>
              <a:gd name="T29" fmla="*/ 2147483647 h 15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6"/>
              <a:gd name="T46" fmla="*/ 0 h 156"/>
              <a:gd name="T47" fmla="*/ 76 w 76"/>
              <a:gd name="T48" fmla="*/ 156 h 15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6" h="156">
                <a:moveTo>
                  <a:pt x="52" y="38"/>
                </a:moveTo>
                <a:lnTo>
                  <a:pt x="56" y="11"/>
                </a:lnTo>
                <a:lnTo>
                  <a:pt x="63" y="0"/>
                </a:lnTo>
                <a:lnTo>
                  <a:pt x="76" y="2"/>
                </a:lnTo>
                <a:lnTo>
                  <a:pt x="71" y="55"/>
                </a:lnTo>
                <a:lnTo>
                  <a:pt x="46" y="88"/>
                </a:lnTo>
                <a:lnTo>
                  <a:pt x="41" y="113"/>
                </a:lnTo>
                <a:lnTo>
                  <a:pt x="31" y="123"/>
                </a:lnTo>
                <a:lnTo>
                  <a:pt x="18" y="152"/>
                </a:lnTo>
                <a:lnTo>
                  <a:pt x="7" y="156"/>
                </a:lnTo>
                <a:lnTo>
                  <a:pt x="8" y="127"/>
                </a:lnTo>
                <a:lnTo>
                  <a:pt x="0" y="101"/>
                </a:lnTo>
                <a:lnTo>
                  <a:pt x="7" y="99"/>
                </a:lnTo>
                <a:lnTo>
                  <a:pt x="37" y="42"/>
                </a:lnTo>
                <a:lnTo>
                  <a:pt x="52" y="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6" name="Freeform 191" descr="Large grid">
            <a:extLst>
              <a:ext uri="{FF2B5EF4-FFF2-40B4-BE49-F238E27FC236}">
                <a16:creationId xmlns:a16="http://schemas.microsoft.com/office/drawing/2014/main" id="{83F818C6-BD70-47E1-9755-AD20505A55C9}"/>
              </a:ext>
            </a:extLst>
          </p:cNvPr>
          <p:cNvSpPr>
            <a:spLocks/>
          </p:cNvSpPr>
          <p:nvPr/>
        </p:nvSpPr>
        <p:spPr bwMode="auto">
          <a:xfrm rot="21249101">
            <a:off x="6746753" y="3401616"/>
            <a:ext cx="30526" cy="58985"/>
          </a:xfrm>
          <a:custGeom>
            <a:avLst/>
            <a:gdLst>
              <a:gd name="T0" fmla="*/ 2147483647 w 76"/>
              <a:gd name="T1" fmla="*/ 2147483647 h 156"/>
              <a:gd name="T2" fmla="*/ 2147483647 w 76"/>
              <a:gd name="T3" fmla="*/ 2147483647 h 156"/>
              <a:gd name="T4" fmla="*/ 2147483647 w 76"/>
              <a:gd name="T5" fmla="*/ 0 h 156"/>
              <a:gd name="T6" fmla="*/ 2147483647 w 76"/>
              <a:gd name="T7" fmla="*/ 2147483647 h 156"/>
              <a:gd name="T8" fmla="*/ 2147483647 w 76"/>
              <a:gd name="T9" fmla="*/ 2147483647 h 156"/>
              <a:gd name="T10" fmla="*/ 2147483647 w 76"/>
              <a:gd name="T11" fmla="*/ 2147483647 h 156"/>
              <a:gd name="T12" fmla="*/ 2147483647 w 76"/>
              <a:gd name="T13" fmla="*/ 2147483647 h 156"/>
              <a:gd name="T14" fmla="*/ 2147483647 w 76"/>
              <a:gd name="T15" fmla="*/ 2147483647 h 156"/>
              <a:gd name="T16" fmla="*/ 2147483647 w 76"/>
              <a:gd name="T17" fmla="*/ 2147483647 h 156"/>
              <a:gd name="T18" fmla="*/ 2147483647 w 76"/>
              <a:gd name="T19" fmla="*/ 2147483647 h 156"/>
              <a:gd name="T20" fmla="*/ 2147483647 w 76"/>
              <a:gd name="T21" fmla="*/ 2147483647 h 156"/>
              <a:gd name="T22" fmla="*/ 0 w 76"/>
              <a:gd name="T23" fmla="*/ 2147483647 h 156"/>
              <a:gd name="T24" fmla="*/ 2147483647 w 76"/>
              <a:gd name="T25" fmla="*/ 2147483647 h 156"/>
              <a:gd name="T26" fmla="*/ 2147483647 w 76"/>
              <a:gd name="T27" fmla="*/ 2147483647 h 156"/>
              <a:gd name="T28" fmla="*/ 2147483647 w 76"/>
              <a:gd name="T29" fmla="*/ 2147483647 h 15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6"/>
              <a:gd name="T46" fmla="*/ 0 h 156"/>
              <a:gd name="T47" fmla="*/ 76 w 76"/>
              <a:gd name="T48" fmla="*/ 156 h 15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6" h="156">
                <a:moveTo>
                  <a:pt x="52" y="38"/>
                </a:moveTo>
                <a:lnTo>
                  <a:pt x="56" y="11"/>
                </a:lnTo>
                <a:lnTo>
                  <a:pt x="63" y="0"/>
                </a:lnTo>
                <a:lnTo>
                  <a:pt x="76" y="2"/>
                </a:lnTo>
                <a:lnTo>
                  <a:pt x="71" y="55"/>
                </a:lnTo>
                <a:lnTo>
                  <a:pt x="46" y="88"/>
                </a:lnTo>
                <a:lnTo>
                  <a:pt x="41" y="113"/>
                </a:lnTo>
                <a:lnTo>
                  <a:pt x="31" y="123"/>
                </a:lnTo>
                <a:lnTo>
                  <a:pt x="18" y="152"/>
                </a:lnTo>
                <a:lnTo>
                  <a:pt x="7" y="156"/>
                </a:lnTo>
                <a:lnTo>
                  <a:pt x="8" y="127"/>
                </a:lnTo>
                <a:lnTo>
                  <a:pt x="0" y="101"/>
                </a:lnTo>
                <a:lnTo>
                  <a:pt x="7" y="99"/>
                </a:lnTo>
                <a:lnTo>
                  <a:pt x="37" y="42"/>
                </a:lnTo>
                <a:lnTo>
                  <a:pt x="52" y="38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7" name="Freeform 192" descr="Large grid">
            <a:extLst>
              <a:ext uri="{FF2B5EF4-FFF2-40B4-BE49-F238E27FC236}">
                <a16:creationId xmlns:a16="http://schemas.microsoft.com/office/drawing/2014/main" id="{82632391-4DFA-4C90-BD43-25CD73E770F5}"/>
              </a:ext>
            </a:extLst>
          </p:cNvPr>
          <p:cNvSpPr>
            <a:spLocks/>
          </p:cNvSpPr>
          <p:nvPr/>
        </p:nvSpPr>
        <p:spPr bwMode="auto">
          <a:xfrm rot="21249101">
            <a:off x="6779074" y="3272177"/>
            <a:ext cx="147238" cy="157294"/>
          </a:xfrm>
          <a:custGeom>
            <a:avLst/>
            <a:gdLst>
              <a:gd name="T0" fmla="*/ 2147483647 w 357"/>
              <a:gd name="T1" fmla="*/ 2147483647 h 411"/>
              <a:gd name="T2" fmla="*/ 2147483647 w 357"/>
              <a:gd name="T3" fmla="*/ 2147483647 h 411"/>
              <a:gd name="T4" fmla="*/ 2147483647 w 357"/>
              <a:gd name="T5" fmla="*/ 2147483647 h 411"/>
              <a:gd name="T6" fmla="*/ 2147483647 w 357"/>
              <a:gd name="T7" fmla="*/ 2147483647 h 411"/>
              <a:gd name="T8" fmla="*/ 2147483647 w 357"/>
              <a:gd name="T9" fmla="*/ 2147483647 h 411"/>
              <a:gd name="T10" fmla="*/ 2147483647 w 357"/>
              <a:gd name="T11" fmla="*/ 2147483647 h 411"/>
              <a:gd name="T12" fmla="*/ 2147483647 w 357"/>
              <a:gd name="T13" fmla="*/ 2147483647 h 411"/>
              <a:gd name="T14" fmla="*/ 2147483647 w 357"/>
              <a:gd name="T15" fmla="*/ 2147483647 h 411"/>
              <a:gd name="T16" fmla="*/ 2147483647 w 357"/>
              <a:gd name="T17" fmla="*/ 2147483647 h 411"/>
              <a:gd name="T18" fmla="*/ 2147483647 w 357"/>
              <a:gd name="T19" fmla="*/ 2147483647 h 411"/>
              <a:gd name="T20" fmla="*/ 2147483647 w 357"/>
              <a:gd name="T21" fmla="*/ 2147483647 h 411"/>
              <a:gd name="T22" fmla="*/ 2147483647 w 357"/>
              <a:gd name="T23" fmla="*/ 2147483647 h 411"/>
              <a:gd name="T24" fmla="*/ 2147483647 w 357"/>
              <a:gd name="T25" fmla="*/ 2147483647 h 411"/>
              <a:gd name="T26" fmla="*/ 2147483647 w 357"/>
              <a:gd name="T27" fmla="*/ 2147483647 h 411"/>
              <a:gd name="T28" fmla="*/ 2147483647 w 357"/>
              <a:gd name="T29" fmla="*/ 0 h 411"/>
              <a:gd name="T30" fmla="*/ 2147483647 w 357"/>
              <a:gd name="T31" fmla="*/ 2147483647 h 411"/>
              <a:gd name="T32" fmla="*/ 2147483647 w 357"/>
              <a:gd name="T33" fmla="*/ 2147483647 h 411"/>
              <a:gd name="T34" fmla="*/ 2147483647 w 357"/>
              <a:gd name="T35" fmla="*/ 2147483647 h 411"/>
              <a:gd name="T36" fmla="*/ 2147483647 w 357"/>
              <a:gd name="T37" fmla="*/ 2147483647 h 411"/>
              <a:gd name="T38" fmla="*/ 2147483647 w 357"/>
              <a:gd name="T39" fmla="*/ 2147483647 h 411"/>
              <a:gd name="T40" fmla="*/ 2147483647 w 357"/>
              <a:gd name="T41" fmla="*/ 2147483647 h 411"/>
              <a:gd name="T42" fmla="*/ 2147483647 w 357"/>
              <a:gd name="T43" fmla="*/ 2147483647 h 411"/>
              <a:gd name="T44" fmla="*/ 2147483647 w 357"/>
              <a:gd name="T45" fmla="*/ 2147483647 h 411"/>
              <a:gd name="T46" fmla="*/ 2147483647 w 357"/>
              <a:gd name="T47" fmla="*/ 2147483647 h 411"/>
              <a:gd name="T48" fmla="*/ 2147483647 w 357"/>
              <a:gd name="T49" fmla="*/ 2147483647 h 411"/>
              <a:gd name="T50" fmla="*/ 2147483647 w 357"/>
              <a:gd name="T51" fmla="*/ 2147483647 h 411"/>
              <a:gd name="T52" fmla="*/ 2147483647 w 357"/>
              <a:gd name="T53" fmla="*/ 2147483647 h 411"/>
              <a:gd name="T54" fmla="*/ 2147483647 w 357"/>
              <a:gd name="T55" fmla="*/ 2147483647 h 411"/>
              <a:gd name="T56" fmla="*/ 2147483647 w 357"/>
              <a:gd name="T57" fmla="*/ 2147483647 h 411"/>
              <a:gd name="T58" fmla="*/ 2147483647 w 357"/>
              <a:gd name="T59" fmla="*/ 2147483647 h 411"/>
              <a:gd name="T60" fmla="*/ 2147483647 w 357"/>
              <a:gd name="T61" fmla="*/ 2147483647 h 411"/>
              <a:gd name="T62" fmla="*/ 2147483647 w 357"/>
              <a:gd name="T63" fmla="*/ 2147483647 h 411"/>
              <a:gd name="T64" fmla="*/ 2147483647 w 357"/>
              <a:gd name="T65" fmla="*/ 2147483647 h 411"/>
              <a:gd name="T66" fmla="*/ 2147483647 w 357"/>
              <a:gd name="T67" fmla="*/ 2147483647 h 411"/>
              <a:gd name="T68" fmla="*/ 2147483647 w 357"/>
              <a:gd name="T69" fmla="*/ 2147483647 h 411"/>
              <a:gd name="T70" fmla="*/ 2147483647 w 357"/>
              <a:gd name="T71" fmla="*/ 2147483647 h 411"/>
              <a:gd name="T72" fmla="*/ 2147483647 w 357"/>
              <a:gd name="T73" fmla="*/ 2147483647 h 411"/>
              <a:gd name="T74" fmla="*/ 2147483647 w 357"/>
              <a:gd name="T75" fmla="*/ 2147483647 h 411"/>
              <a:gd name="T76" fmla="*/ 2147483647 w 357"/>
              <a:gd name="T77" fmla="*/ 2147483647 h 411"/>
              <a:gd name="T78" fmla="*/ 2147483647 w 357"/>
              <a:gd name="T79" fmla="*/ 2147483647 h 411"/>
              <a:gd name="T80" fmla="*/ 2147483647 w 357"/>
              <a:gd name="T81" fmla="*/ 2147483647 h 411"/>
              <a:gd name="T82" fmla="*/ 2147483647 w 357"/>
              <a:gd name="T83" fmla="*/ 2147483647 h 411"/>
              <a:gd name="T84" fmla="*/ 2147483647 w 357"/>
              <a:gd name="T85" fmla="*/ 2147483647 h 41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57"/>
              <a:gd name="T130" fmla="*/ 0 h 411"/>
              <a:gd name="T131" fmla="*/ 357 w 357"/>
              <a:gd name="T132" fmla="*/ 411 h 41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57" h="411">
                <a:moveTo>
                  <a:pt x="104" y="34"/>
                </a:moveTo>
                <a:lnTo>
                  <a:pt x="188" y="49"/>
                </a:lnTo>
                <a:lnTo>
                  <a:pt x="186" y="66"/>
                </a:lnTo>
                <a:lnTo>
                  <a:pt x="173" y="70"/>
                </a:lnTo>
                <a:lnTo>
                  <a:pt x="169" y="101"/>
                </a:lnTo>
                <a:lnTo>
                  <a:pt x="159" y="106"/>
                </a:lnTo>
                <a:lnTo>
                  <a:pt x="161" y="111"/>
                </a:lnTo>
                <a:lnTo>
                  <a:pt x="170" y="107"/>
                </a:lnTo>
                <a:lnTo>
                  <a:pt x="170" y="156"/>
                </a:lnTo>
                <a:lnTo>
                  <a:pt x="187" y="140"/>
                </a:lnTo>
                <a:lnTo>
                  <a:pt x="198" y="108"/>
                </a:lnTo>
                <a:lnTo>
                  <a:pt x="204" y="105"/>
                </a:lnTo>
                <a:lnTo>
                  <a:pt x="209" y="81"/>
                </a:lnTo>
                <a:lnTo>
                  <a:pt x="205" y="81"/>
                </a:lnTo>
                <a:lnTo>
                  <a:pt x="209" y="73"/>
                </a:lnTo>
                <a:lnTo>
                  <a:pt x="216" y="74"/>
                </a:lnTo>
                <a:lnTo>
                  <a:pt x="228" y="118"/>
                </a:lnTo>
                <a:lnTo>
                  <a:pt x="225" y="138"/>
                </a:lnTo>
                <a:lnTo>
                  <a:pt x="218" y="138"/>
                </a:lnTo>
                <a:lnTo>
                  <a:pt x="211" y="149"/>
                </a:lnTo>
                <a:lnTo>
                  <a:pt x="217" y="151"/>
                </a:lnTo>
                <a:lnTo>
                  <a:pt x="216" y="158"/>
                </a:lnTo>
                <a:lnTo>
                  <a:pt x="228" y="160"/>
                </a:lnTo>
                <a:lnTo>
                  <a:pt x="239" y="74"/>
                </a:lnTo>
                <a:lnTo>
                  <a:pt x="233" y="60"/>
                </a:lnTo>
                <a:lnTo>
                  <a:pt x="215" y="55"/>
                </a:lnTo>
                <a:lnTo>
                  <a:pt x="214" y="40"/>
                </a:lnTo>
                <a:lnTo>
                  <a:pt x="242" y="12"/>
                </a:lnTo>
                <a:lnTo>
                  <a:pt x="280" y="7"/>
                </a:lnTo>
                <a:lnTo>
                  <a:pt x="283" y="0"/>
                </a:lnTo>
                <a:lnTo>
                  <a:pt x="308" y="1"/>
                </a:lnTo>
                <a:lnTo>
                  <a:pt x="325" y="26"/>
                </a:lnTo>
                <a:lnTo>
                  <a:pt x="337" y="76"/>
                </a:lnTo>
                <a:lnTo>
                  <a:pt x="346" y="79"/>
                </a:lnTo>
                <a:lnTo>
                  <a:pt x="341" y="97"/>
                </a:lnTo>
                <a:lnTo>
                  <a:pt x="344" y="116"/>
                </a:lnTo>
                <a:lnTo>
                  <a:pt x="349" y="119"/>
                </a:lnTo>
                <a:lnTo>
                  <a:pt x="347" y="140"/>
                </a:lnTo>
                <a:lnTo>
                  <a:pt x="357" y="177"/>
                </a:lnTo>
                <a:lnTo>
                  <a:pt x="329" y="175"/>
                </a:lnTo>
                <a:lnTo>
                  <a:pt x="315" y="187"/>
                </a:lnTo>
                <a:lnTo>
                  <a:pt x="297" y="186"/>
                </a:lnTo>
                <a:lnTo>
                  <a:pt x="264" y="226"/>
                </a:lnTo>
                <a:lnTo>
                  <a:pt x="258" y="253"/>
                </a:lnTo>
                <a:lnTo>
                  <a:pt x="281" y="257"/>
                </a:lnTo>
                <a:lnTo>
                  <a:pt x="295" y="286"/>
                </a:lnTo>
                <a:lnTo>
                  <a:pt x="291" y="321"/>
                </a:lnTo>
                <a:lnTo>
                  <a:pt x="234" y="330"/>
                </a:lnTo>
                <a:lnTo>
                  <a:pt x="227" y="340"/>
                </a:lnTo>
                <a:lnTo>
                  <a:pt x="225" y="355"/>
                </a:lnTo>
                <a:lnTo>
                  <a:pt x="231" y="356"/>
                </a:lnTo>
                <a:lnTo>
                  <a:pt x="234" y="374"/>
                </a:lnTo>
                <a:lnTo>
                  <a:pt x="228" y="374"/>
                </a:lnTo>
                <a:lnTo>
                  <a:pt x="224" y="383"/>
                </a:lnTo>
                <a:lnTo>
                  <a:pt x="220" y="407"/>
                </a:lnTo>
                <a:lnTo>
                  <a:pt x="199" y="411"/>
                </a:lnTo>
                <a:lnTo>
                  <a:pt x="188" y="397"/>
                </a:lnTo>
                <a:lnTo>
                  <a:pt x="135" y="380"/>
                </a:lnTo>
                <a:lnTo>
                  <a:pt x="121" y="369"/>
                </a:lnTo>
                <a:lnTo>
                  <a:pt x="122" y="363"/>
                </a:lnTo>
                <a:lnTo>
                  <a:pt x="140" y="371"/>
                </a:lnTo>
                <a:lnTo>
                  <a:pt x="140" y="347"/>
                </a:lnTo>
                <a:lnTo>
                  <a:pt x="146" y="348"/>
                </a:lnTo>
                <a:lnTo>
                  <a:pt x="148" y="335"/>
                </a:lnTo>
                <a:lnTo>
                  <a:pt x="99" y="317"/>
                </a:lnTo>
                <a:lnTo>
                  <a:pt x="50" y="314"/>
                </a:lnTo>
                <a:lnTo>
                  <a:pt x="51" y="282"/>
                </a:lnTo>
                <a:lnTo>
                  <a:pt x="29" y="270"/>
                </a:lnTo>
                <a:lnTo>
                  <a:pt x="24" y="258"/>
                </a:lnTo>
                <a:lnTo>
                  <a:pt x="25" y="251"/>
                </a:lnTo>
                <a:lnTo>
                  <a:pt x="31" y="250"/>
                </a:lnTo>
                <a:lnTo>
                  <a:pt x="46" y="169"/>
                </a:lnTo>
                <a:lnTo>
                  <a:pt x="38" y="155"/>
                </a:lnTo>
                <a:lnTo>
                  <a:pt x="12" y="149"/>
                </a:lnTo>
                <a:lnTo>
                  <a:pt x="6" y="140"/>
                </a:lnTo>
                <a:lnTo>
                  <a:pt x="20" y="132"/>
                </a:lnTo>
                <a:lnTo>
                  <a:pt x="0" y="123"/>
                </a:lnTo>
                <a:lnTo>
                  <a:pt x="1" y="117"/>
                </a:lnTo>
                <a:lnTo>
                  <a:pt x="15" y="109"/>
                </a:lnTo>
                <a:lnTo>
                  <a:pt x="66" y="117"/>
                </a:lnTo>
                <a:lnTo>
                  <a:pt x="87" y="114"/>
                </a:lnTo>
                <a:lnTo>
                  <a:pt x="98" y="85"/>
                </a:lnTo>
                <a:lnTo>
                  <a:pt x="119" y="87"/>
                </a:lnTo>
                <a:lnTo>
                  <a:pt x="129" y="81"/>
                </a:lnTo>
                <a:lnTo>
                  <a:pt x="134" y="62"/>
                </a:lnTo>
                <a:lnTo>
                  <a:pt x="104" y="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8" name="Freeform 193" descr="Large grid">
            <a:extLst>
              <a:ext uri="{FF2B5EF4-FFF2-40B4-BE49-F238E27FC236}">
                <a16:creationId xmlns:a16="http://schemas.microsoft.com/office/drawing/2014/main" id="{4499715E-6366-4B5A-A41A-608C46B20F38}"/>
              </a:ext>
            </a:extLst>
          </p:cNvPr>
          <p:cNvSpPr>
            <a:spLocks/>
          </p:cNvSpPr>
          <p:nvPr/>
        </p:nvSpPr>
        <p:spPr bwMode="auto">
          <a:xfrm rot="21249101">
            <a:off x="6779074" y="3272177"/>
            <a:ext cx="147238" cy="157294"/>
          </a:xfrm>
          <a:custGeom>
            <a:avLst/>
            <a:gdLst>
              <a:gd name="T0" fmla="*/ 2147483647 w 357"/>
              <a:gd name="T1" fmla="*/ 2147483647 h 411"/>
              <a:gd name="T2" fmla="*/ 2147483647 w 357"/>
              <a:gd name="T3" fmla="*/ 2147483647 h 411"/>
              <a:gd name="T4" fmla="*/ 2147483647 w 357"/>
              <a:gd name="T5" fmla="*/ 2147483647 h 411"/>
              <a:gd name="T6" fmla="*/ 2147483647 w 357"/>
              <a:gd name="T7" fmla="*/ 2147483647 h 411"/>
              <a:gd name="T8" fmla="*/ 2147483647 w 357"/>
              <a:gd name="T9" fmla="*/ 2147483647 h 411"/>
              <a:gd name="T10" fmla="*/ 2147483647 w 357"/>
              <a:gd name="T11" fmla="*/ 2147483647 h 411"/>
              <a:gd name="T12" fmla="*/ 2147483647 w 357"/>
              <a:gd name="T13" fmla="*/ 2147483647 h 411"/>
              <a:gd name="T14" fmla="*/ 2147483647 w 357"/>
              <a:gd name="T15" fmla="*/ 2147483647 h 411"/>
              <a:gd name="T16" fmla="*/ 2147483647 w 357"/>
              <a:gd name="T17" fmla="*/ 2147483647 h 411"/>
              <a:gd name="T18" fmla="*/ 2147483647 w 357"/>
              <a:gd name="T19" fmla="*/ 2147483647 h 411"/>
              <a:gd name="T20" fmla="*/ 2147483647 w 357"/>
              <a:gd name="T21" fmla="*/ 2147483647 h 411"/>
              <a:gd name="T22" fmla="*/ 2147483647 w 357"/>
              <a:gd name="T23" fmla="*/ 2147483647 h 411"/>
              <a:gd name="T24" fmla="*/ 2147483647 w 357"/>
              <a:gd name="T25" fmla="*/ 2147483647 h 411"/>
              <a:gd name="T26" fmla="*/ 2147483647 w 357"/>
              <a:gd name="T27" fmla="*/ 2147483647 h 411"/>
              <a:gd name="T28" fmla="*/ 2147483647 w 357"/>
              <a:gd name="T29" fmla="*/ 0 h 411"/>
              <a:gd name="T30" fmla="*/ 2147483647 w 357"/>
              <a:gd name="T31" fmla="*/ 2147483647 h 411"/>
              <a:gd name="T32" fmla="*/ 2147483647 w 357"/>
              <a:gd name="T33" fmla="*/ 2147483647 h 411"/>
              <a:gd name="T34" fmla="*/ 2147483647 w 357"/>
              <a:gd name="T35" fmla="*/ 2147483647 h 411"/>
              <a:gd name="T36" fmla="*/ 2147483647 w 357"/>
              <a:gd name="T37" fmla="*/ 2147483647 h 411"/>
              <a:gd name="T38" fmla="*/ 2147483647 w 357"/>
              <a:gd name="T39" fmla="*/ 2147483647 h 411"/>
              <a:gd name="T40" fmla="*/ 2147483647 w 357"/>
              <a:gd name="T41" fmla="*/ 2147483647 h 411"/>
              <a:gd name="T42" fmla="*/ 2147483647 w 357"/>
              <a:gd name="T43" fmla="*/ 2147483647 h 411"/>
              <a:gd name="T44" fmla="*/ 2147483647 w 357"/>
              <a:gd name="T45" fmla="*/ 2147483647 h 411"/>
              <a:gd name="T46" fmla="*/ 2147483647 w 357"/>
              <a:gd name="T47" fmla="*/ 2147483647 h 411"/>
              <a:gd name="T48" fmla="*/ 2147483647 w 357"/>
              <a:gd name="T49" fmla="*/ 2147483647 h 411"/>
              <a:gd name="T50" fmla="*/ 2147483647 w 357"/>
              <a:gd name="T51" fmla="*/ 2147483647 h 411"/>
              <a:gd name="T52" fmla="*/ 2147483647 w 357"/>
              <a:gd name="T53" fmla="*/ 2147483647 h 411"/>
              <a:gd name="T54" fmla="*/ 2147483647 w 357"/>
              <a:gd name="T55" fmla="*/ 2147483647 h 411"/>
              <a:gd name="T56" fmla="*/ 2147483647 w 357"/>
              <a:gd name="T57" fmla="*/ 2147483647 h 411"/>
              <a:gd name="T58" fmla="*/ 2147483647 w 357"/>
              <a:gd name="T59" fmla="*/ 2147483647 h 411"/>
              <a:gd name="T60" fmla="*/ 2147483647 w 357"/>
              <a:gd name="T61" fmla="*/ 2147483647 h 411"/>
              <a:gd name="T62" fmla="*/ 2147483647 w 357"/>
              <a:gd name="T63" fmla="*/ 2147483647 h 411"/>
              <a:gd name="T64" fmla="*/ 2147483647 w 357"/>
              <a:gd name="T65" fmla="*/ 2147483647 h 411"/>
              <a:gd name="T66" fmla="*/ 2147483647 w 357"/>
              <a:gd name="T67" fmla="*/ 2147483647 h 411"/>
              <a:gd name="T68" fmla="*/ 2147483647 w 357"/>
              <a:gd name="T69" fmla="*/ 2147483647 h 411"/>
              <a:gd name="T70" fmla="*/ 2147483647 w 357"/>
              <a:gd name="T71" fmla="*/ 2147483647 h 411"/>
              <a:gd name="T72" fmla="*/ 2147483647 w 357"/>
              <a:gd name="T73" fmla="*/ 2147483647 h 411"/>
              <a:gd name="T74" fmla="*/ 2147483647 w 357"/>
              <a:gd name="T75" fmla="*/ 2147483647 h 411"/>
              <a:gd name="T76" fmla="*/ 2147483647 w 357"/>
              <a:gd name="T77" fmla="*/ 2147483647 h 411"/>
              <a:gd name="T78" fmla="*/ 2147483647 w 357"/>
              <a:gd name="T79" fmla="*/ 2147483647 h 411"/>
              <a:gd name="T80" fmla="*/ 2147483647 w 357"/>
              <a:gd name="T81" fmla="*/ 2147483647 h 411"/>
              <a:gd name="T82" fmla="*/ 2147483647 w 357"/>
              <a:gd name="T83" fmla="*/ 2147483647 h 411"/>
              <a:gd name="T84" fmla="*/ 2147483647 w 357"/>
              <a:gd name="T85" fmla="*/ 2147483647 h 41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57"/>
              <a:gd name="T130" fmla="*/ 0 h 411"/>
              <a:gd name="T131" fmla="*/ 357 w 357"/>
              <a:gd name="T132" fmla="*/ 411 h 41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57" h="411">
                <a:moveTo>
                  <a:pt x="104" y="34"/>
                </a:moveTo>
                <a:lnTo>
                  <a:pt x="188" y="49"/>
                </a:lnTo>
                <a:lnTo>
                  <a:pt x="186" y="66"/>
                </a:lnTo>
                <a:lnTo>
                  <a:pt x="173" y="70"/>
                </a:lnTo>
                <a:lnTo>
                  <a:pt x="169" y="101"/>
                </a:lnTo>
                <a:lnTo>
                  <a:pt x="159" y="106"/>
                </a:lnTo>
                <a:lnTo>
                  <a:pt x="161" y="111"/>
                </a:lnTo>
                <a:lnTo>
                  <a:pt x="170" y="107"/>
                </a:lnTo>
                <a:lnTo>
                  <a:pt x="170" y="156"/>
                </a:lnTo>
                <a:lnTo>
                  <a:pt x="187" y="140"/>
                </a:lnTo>
                <a:lnTo>
                  <a:pt x="198" y="108"/>
                </a:lnTo>
                <a:lnTo>
                  <a:pt x="204" y="105"/>
                </a:lnTo>
                <a:lnTo>
                  <a:pt x="209" y="81"/>
                </a:lnTo>
                <a:lnTo>
                  <a:pt x="205" y="81"/>
                </a:lnTo>
                <a:lnTo>
                  <a:pt x="209" y="73"/>
                </a:lnTo>
                <a:lnTo>
                  <a:pt x="216" y="74"/>
                </a:lnTo>
                <a:lnTo>
                  <a:pt x="228" y="118"/>
                </a:lnTo>
                <a:lnTo>
                  <a:pt x="225" y="138"/>
                </a:lnTo>
                <a:lnTo>
                  <a:pt x="218" y="138"/>
                </a:lnTo>
                <a:lnTo>
                  <a:pt x="211" y="149"/>
                </a:lnTo>
                <a:lnTo>
                  <a:pt x="217" y="151"/>
                </a:lnTo>
                <a:lnTo>
                  <a:pt x="216" y="158"/>
                </a:lnTo>
                <a:lnTo>
                  <a:pt x="228" y="160"/>
                </a:lnTo>
                <a:lnTo>
                  <a:pt x="239" y="74"/>
                </a:lnTo>
                <a:lnTo>
                  <a:pt x="233" y="60"/>
                </a:lnTo>
                <a:lnTo>
                  <a:pt x="215" y="55"/>
                </a:lnTo>
                <a:lnTo>
                  <a:pt x="214" y="40"/>
                </a:lnTo>
                <a:lnTo>
                  <a:pt x="242" y="12"/>
                </a:lnTo>
                <a:lnTo>
                  <a:pt x="280" y="7"/>
                </a:lnTo>
                <a:lnTo>
                  <a:pt x="283" y="0"/>
                </a:lnTo>
                <a:lnTo>
                  <a:pt x="308" y="1"/>
                </a:lnTo>
                <a:lnTo>
                  <a:pt x="325" y="26"/>
                </a:lnTo>
                <a:lnTo>
                  <a:pt x="337" y="76"/>
                </a:lnTo>
                <a:lnTo>
                  <a:pt x="346" y="79"/>
                </a:lnTo>
                <a:lnTo>
                  <a:pt x="341" y="97"/>
                </a:lnTo>
                <a:lnTo>
                  <a:pt x="344" y="116"/>
                </a:lnTo>
                <a:lnTo>
                  <a:pt x="349" y="119"/>
                </a:lnTo>
                <a:lnTo>
                  <a:pt x="347" y="140"/>
                </a:lnTo>
                <a:lnTo>
                  <a:pt x="357" y="177"/>
                </a:lnTo>
                <a:lnTo>
                  <a:pt x="329" y="175"/>
                </a:lnTo>
                <a:lnTo>
                  <a:pt x="315" y="187"/>
                </a:lnTo>
                <a:lnTo>
                  <a:pt x="297" y="186"/>
                </a:lnTo>
                <a:lnTo>
                  <a:pt x="264" y="226"/>
                </a:lnTo>
                <a:lnTo>
                  <a:pt x="258" y="253"/>
                </a:lnTo>
                <a:lnTo>
                  <a:pt x="281" y="257"/>
                </a:lnTo>
                <a:lnTo>
                  <a:pt x="295" y="286"/>
                </a:lnTo>
                <a:lnTo>
                  <a:pt x="291" y="321"/>
                </a:lnTo>
                <a:lnTo>
                  <a:pt x="234" y="330"/>
                </a:lnTo>
                <a:lnTo>
                  <a:pt x="227" y="340"/>
                </a:lnTo>
                <a:lnTo>
                  <a:pt x="225" y="355"/>
                </a:lnTo>
                <a:lnTo>
                  <a:pt x="231" y="356"/>
                </a:lnTo>
                <a:lnTo>
                  <a:pt x="234" y="374"/>
                </a:lnTo>
                <a:lnTo>
                  <a:pt x="228" y="374"/>
                </a:lnTo>
                <a:lnTo>
                  <a:pt x="224" y="383"/>
                </a:lnTo>
                <a:lnTo>
                  <a:pt x="220" y="407"/>
                </a:lnTo>
                <a:lnTo>
                  <a:pt x="199" y="411"/>
                </a:lnTo>
                <a:lnTo>
                  <a:pt x="188" y="397"/>
                </a:lnTo>
                <a:lnTo>
                  <a:pt x="135" y="380"/>
                </a:lnTo>
                <a:lnTo>
                  <a:pt x="121" y="369"/>
                </a:lnTo>
                <a:lnTo>
                  <a:pt x="122" y="363"/>
                </a:lnTo>
                <a:lnTo>
                  <a:pt x="140" y="371"/>
                </a:lnTo>
                <a:lnTo>
                  <a:pt x="140" y="347"/>
                </a:lnTo>
                <a:lnTo>
                  <a:pt x="146" y="348"/>
                </a:lnTo>
                <a:lnTo>
                  <a:pt x="148" y="335"/>
                </a:lnTo>
                <a:lnTo>
                  <a:pt x="99" y="317"/>
                </a:lnTo>
                <a:lnTo>
                  <a:pt x="50" y="314"/>
                </a:lnTo>
                <a:lnTo>
                  <a:pt x="51" y="282"/>
                </a:lnTo>
                <a:lnTo>
                  <a:pt x="29" y="270"/>
                </a:lnTo>
                <a:lnTo>
                  <a:pt x="24" y="258"/>
                </a:lnTo>
                <a:lnTo>
                  <a:pt x="25" y="251"/>
                </a:lnTo>
                <a:lnTo>
                  <a:pt x="31" y="250"/>
                </a:lnTo>
                <a:lnTo>
                  <a:pt x="46" y="169"/>
                </a:lnTo>
                <a:lnTo>
                  <a:pt x="38" y="155"/>
                </a:lnTo>
                <a:lnTo>
                  <a:pt x="12" y="149"/>
                </a:lnTo>
                <a:lnTo>
                  <a:pt x="6" y="140"/>
                </a:lnTo>
                <a:lnTo>
                  <a:pt x="20" y="132"/>
                </a:lnTo>
                <a:lnTo>
                  <a:pt x="0" y="123"/>
                </a:lnTo>
                <a:lnTo>
                  <a:pt x="1" y="117"/>
                </a:lnTo>
                <a:lnTo>
                  <a:pt x="15" y="109"/>
                </a:lnTo>
                <a:lnTo>
                  <a:pt x="66" y="117"/>
                </a:lnTo>
                <a:lnTo>
                  <a:pt x="87" y="114"/>
                </a:lnTo>
                <a:lnTo>
                  <a:pt x="98" y="85"/>
                </a:lnTo>
                <a:lnTo>
                  <a:pt x="119" y="87"/>
                </a:lnTo>
                <a:lnTo>
                  <a:pt x="129" y="81"/>
                </a:lnTo>
                <a:lnTo>
                  <a:pt x="134" y="62"/>
                </a:lnTo>
                <a:lnTo>
                  <a:pt x="104" y="34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79" name="Freeform 194" descr="Large grid">
            <a:extLst>
              <a:ext uri="{FF2B5EF4-FFF2-40B4-BE49-F238E27FC236}">
                <a16:creationId xmlns:a16="http://schemas.microsoft.com/office/drawing/2014/main" id="{FA25BA69-FFAD-4C30-A1C8-40ABD2DAEDCD}"/>
              </a:ext>
            </a:extLst>
          </p:cNvPr>
          <p:cNvSpPr>
            <a:spLocks/>
          </p:cNvSpPr>
          <p:nvPr/>
        </p:nvSpPr>
        <p:spPr bwMode="auto">
          <a:xfrm rot="21249101">
            <a:off x="6518714" y="3055898"/>
            <a:ext cx="247791" cy="381764"/>
          </a:xfrm>
          <a:custGeom>
            <a:avLst/>
            <a:gdLst>
              <a:gd name="T0" fmla="*/ 2147483647 w 596"/>
              <a:gd name="T1" fmla="*/ 2147483647 h 1001"/>
              <a:gd name="T2" fmla="*/ 2147483647 w 596"/>
              <a:gd name="T3" fmla="*/ 2147483647 h 1001"/>
              <a:gd name="T4" fmla="*/ 2147483647 w 596"/>
              <a:gd name="T5" fmla="*/ 2147483647 h 1001"/>
              <a:gd name="T6" fmla="*/ 2147483647 w 596"/>
              <a:gd name="T7" fmla="*/ 2147483647 h 1001"/>
              <a:gd name="T8" fmla="*/ 2147483647 w 596"/>
              <a:gd name="T9" fmla="*/ 2147483647 h 1001"/>
              <a:gd name="T10" fmla="*/ 2147483647 w 596"/>
              <a:gd name="T11" fmla="*/ 2147483647 h 1001"/>
              <a:gd name="T12" fmla="*/ 2147483647 w 596"/>
              <a:gd name="T13" fmla="*/ 2147483647 h 1001"/>
              <a:gd name="T14" fmla="*/ 2147483647 w 596"/>
              <a:gd name="T15" fmla="*/ 2147483647 h 1001"/>
              <a:gd name="T16" fmla="*/ 2147483647 w 596"/>
              <a:gd name="T17" fmla="*/ 2147483647 h 1001"/>
              <a:gd name="T18" fmla="*/ 2147483647 w 596"/>
              <a:gd name="T19" fmla="*/ 2147483647 h 1001"/>
              <a:gd name="T20" fmla="*/ 2147483647 w 596"/>
              <a:gd name="T21" fmla="*/ 2147483647 h 1001"/>
              <a:gd name="T22" fmla="*/ 2147483647 w 596"/>
              <a:gd name="T23" fmla="*/ 2147483647 h 1001"/>
              <a:gd name="T24" fmla="*/ 2147483647 w 596"/>
              <a:gd name="T25" fmla="*/ 2147483647 h 1001"/>
              <a:gd name="T26" fmla="*/ 2147483647 w 596"/>
              <a:gd name="T27" fmla="*/ 2147483647 h 1001"/>
              <a:gd name="T28" fmla="*/ 2147483647 w 596"/>
              <a:gd name="T29" fmla="*/ 2147483647 h 1001"/>
              <a:gd name="T30" fmla="*/ 2147483647 w 596"/>
              <a:gd name="T31" fmla="*/ 2147483647 h 1001"/>
              <a:gd name="T32" fmla="*/ 2147483647 w 596"/>
              <a:gd name="T33" fmla="*/ 2147483647 h 1001"/>
              <a:gd name="T34" fmla="*/ 2147483647 w 596"/>
              <a:gd name="T35" fmla="*/ 2147483647 h 1001"/>
              <a:gd name="T36" fmla="*/ 2147483647 w 596"/>
              <a:gd name="T37" fmla="*/ 2147483647 h 1001"/>
              <a:gd name="T38" fmla="*/ 2147483647 w 596"/>
              <a:gd name="T39" fmla="*/ 2147483647 h 1001"/>
              <a:gd name="T40" fmla="*/ 2147483647 w 596"/>
              <a:gd name="T41" fmla="*/ 2147483647 h 1001"/>
              <a:gd name="T42" fmla="*/ 2147483647 w 596"/>
              <a:gd name="T43" fmla="*/ 2147483647 h 1001"/>
              <a:gd name="T44" fmla="*/ 2147483647 w 596"/>
              <a:gd name="T45" fmla="*/ 2147483647 h 1001"/>
              <a:gd name="T46" fmla="*/ 2147483647 w 596"/>
              <a:gd name="T47" fmla="*/ 2147483647 h 1001"/>
              <a:gd name="T48" fmla="*/ 2147483647 w 596"/>
              <a:gd name="T49" fmla="*/ 2147483647 h 1001"/>
              <a:gd name="T50" fmla="*/ 2147483647 w 596"/>
              <a:gd name="T51" fmla="*/ 2147483647 h 1001"/>
              <a:gd name="T52" fmla="*/ 2147483647 w 596"/>
              <a:gd name="T53" fmla="*/ 2147483647 h 1001"/>
              <a:gd name="T54" fmla="*/ 2147483647 w 596"/>
              <a:gd name="T55" fmla="*/ 2147483647 h 1001"/>
              <a:gd name="T56" fmla="*/ 2147483647 w 596"/>
              <a:gd name="T57" fmla="*/ 2147483647 h 1001"/>
              <a:gd name="T58" fmla="*/ 2147483647 w 596"/>
              <a:gd name="T59" fmla="*/ 0 h 1001"/>
              <a:gd name="T60" fmla="*/ 2147483647 w 596"/>
              <a:gd name="T61" fmla="*/ 2147483647 h 1001"/>
              <a:gd name="T62" fmla="*/ 2147483647 w 596"/>
              <a:gd name="T63" fmla="*/ 2147483647 h 1001"/>
              <a:gd name="T64" fmla="*/ 2147483647 w 596"/>
              <a:gd name="T65" fmla="*/ 2147483647 h 1001"/>
              <a:gd name="T66" fmla="*/ 2147483647 w 596"/>
              <a:gd name="T67" fmla="*/ 2147483647 h 1001"/>
              <a:gd name="T68" fmla="*/ 0 w 596"/>
              <a:gd name="T69" fmla="*/ 2147483647 h 1001"/>
              <a:gd name="T70" fmla="*/ 2147483647 w 596"/>
              <a:gd name="T71" fmla="*/ 2147483647 h 1001"/>
              <a:gd name="T72" fmla="*/ 2147483647 w 596"/>
              <a:gd name="T73" fmla="*/ 2147483647 h 1001"/>
              <a:gd name="T74" fmla="*/ 2147483647 w 596"/>
              <a:gd name="T75" fmla="*/ 2147483647 h 100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96"/>
              <a:gd name="T115" fmla="*/ 0 h 1001"/>
              <a:gd name="T116" fmla="*/ 596 w 596"/>
              <a:gd name="T117" fmla="*/ 1001 h 100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96" h="1001">
                <a:moveTo>
                  <a:pt x="79" y="963"/>
                </a:moveTo>
                <a:lnTo>
                  <a:pt x="110" y="965"/>
                </a:lnTo>
                <a:lnTo>
                  <a:pt x="195" y="1001"/>
                </a:lnTo>
                <a:lnTo>
                  <a:pt x="244" y="987"/>
                </a:lnTo>
                <a:lnTo>
                  <a:pt x="249" y="981"/>
                </a:lnTo>
                <a:lnTo>
                  <a:pt x="259" y="980"/>
                </a:lnTo>
                <a:lnTo>
                  <a:pt x="264" y="991"/>
                </a:lnTo>
                <a:lnTo>
                  <a:pt x="282" y="996"/>
                </a:lnTo>
                <a:lnTo>
                  <a:pt x="284" y="979"/>
                </a:lnTo>
                <a:lnTo>
                  <a:pt x="277" y="962"/>
                </a:lnTo>
                <a:lnTo>
                  <a:pt x="264" y="946"/>
                </a:lnTo>
                <a:lnTo>
                  <a:pt x="238" y="943"/>
                </a:lnTo>
                <a:lnTo>
                  <a:pt x="244" y="892"/>
                </a:lnTo>
                <a:lnTo>
                  <a:pt x="284" y="872"/>
                </a:lnTo>
                <a:lnTo>
                  <a:pt x="286" y="859"/>
                </a:lnTo>
                <a:lnTo>
                  <a:pt x="277" y="857"/>
                </a:lnTo>
                <a:lnTo>
                  <a:pt x="279" y="826"/>
                </a:lnTo>
                <a:lnTo>
                  <a:pt x="294" y="786"/>
                </a:lnTo>
                <a:lnTo>
                  <a:pt x="286" y="771"/>
                </a:lnTo>
                <a:lnTo>
                  <a:pt x="327" y="738"/>
                </a:lnTo>
                <a:lnTo>
                  <a:pt x="326" y="724"/>
                </a:lnTo>
                <a:lnTo>
                  <a:pt x="305" y="696"/>
                </a:lnTo>
                <a:lnTo>
                  <a:pt x="329" y="691"/>
                </a:lnTo>
                <a:lnTo>
                  <a:pt x="375" y="704"/>
                </a:lnTo>
                <a:lnTo>
                  <a:pt x="382" y="680"/>
                </a:lnTo>
                <a:lnTo>
                  <a:pt x="369" y="649"/>
                </a:lnTo>
                <a:lnTo>
                  <a:pt x="386" y="637"/>
                </a:lnTo>
                <a:lnTo>
                  <a:pt x="432" y="649"/>
                </a:lnTo>
                <a:lnTo>
                  <a:pt x="454" y="625"/>
                </a:lnTo>
                <a:lnTo>
                  <a:pt x="451" y="579"/>
                </a:lnTo>
                <a:lnTo>
                  <a:pt x="473" y="536"/>
                </a:lnTo>
                <a:lnTo>
                  <a:pt x="494" y="533"/>
                </a:lnTo>
                <a:lnTo>
                  <a:pt x="491" y="551"/>
                </a:lnTo>
                <a:lnTo>
                  <a:pt x="501" y="576"/>
                </a:lnTo>
                <a:lnTo>
                  <a:pt x="527" y="551"/>
                </a:lnTo>
                <a:lnTo>
                  <a:pt x="530" y="564"/>
                </a:lnTo>
                <a:lnTo>
                  <a:pt x="589" y="522"/>
                </a:lnTo>
                <a:lnTo>
                  <a:pt x="596" y="483"/>
                </a:lnTo>
                <a:lnTo>
                  <a:pt x="594" y="456"/>
                </a:lnTo>
                <a:lnTo>
                  <a:pt x="578" y="444"/>
                </a:lnTo>
                <a:lnTo>
                  <a:pt x="541" y="444"/>
                </a:lnTo>
                <a:lnTo>
                  <a:pt x="514" y="452"/>
                </a:lnTo>
                <a:lnTo>
                  <a:pt x="501" y="428"/>
                </a:lnTo>
                <a:lnTo>
                  <a:pt x="478" y="425"/>
                </a:lnTo>
                <a:lnTo>
                  <a:pt x="459" y="448"/>
                </a:lnTo>
                <a:lnTo>
                  <a:pt x="452" y="427"/>
                </a:lnTo>
                <a:lnTo>
                  <a:pt x="458" y="406"/>
                </a:lnTo>
                <a:lnTo>
                  <a:pt x="485" y="384"/>
                </a:lnTo>
                <a:lnTo>
                  <a:pt x="480" y="374"/>
                </a:lnTo>
                <a:lnTo>
                  <a:pt x="446" y="380"/>
                </a:lnTo>
                <a:lnTo>
                  <a:pt x="448" y="363"/>
                </a:lnTo>
                <a:lnTo>
                  <a:pt x="478" y="356"/>
                </a:lnTo>
                <a:lnTo>
                  <a:pt x="484" y="326"/>
                </a:lnTo>
                <a:lnTo>
                  <a:pt x="490" y="322"/>
                </a:lnTo>
                <a:lnTo>
                  <a:pt x="494" y="278"/>
                </a:lnTo>
                <a:lnTo>
                  <a:pt x="560" y="169"/>
                </a:lnTo>
                <a:lnTo>
                  <a:pt x="564" y="139"/>
                </a:lnTo>
                <a:lnTo>
                  <a:pt x="554" y="65"/>
                </a:lnTo>
                <a:lnTo>
                  <a:pt x="579" y="10"/>
                </a:lnTo>
                <a:lnTo>
                  <a:pt x="574" y="0"/>
                </a:lnTo>
                <a:lnTo>
                  <a:pt x="466" y="44"/>
                </a:lnTo>
                <a:lnTo>
                  <a:pt x="400" y="99"/>
                </a:lnTo>
                <a:lnTo>
                  <a:pt x="384" y="135"/>
                </a:lnTo>
                <a:lnTo>
                  <a:pt x="341" y="160"/>
                </a:lnTo>
                <a:lnTo>
                  <a:pt x="185" y="166"/>
                </a:lnTo>
                <a:lnTo>
                  <a:pt x="148" y="195"/>
                </a:lnTo>
                <a:lnTo>
                  <a:pt x="40" y="408"/>
                </a:lnTo>
                <a:lnTo>
                  <a:pt x="21" y="558"/>
                </a:lnTo>
                <a:lnTo>
                  <a:pt x="28" y="597"/>
                </a:lnTo>
                <a:lnTo>
                  <a:pt x="0" y="709"/>
                </a:lnTo>
                <a:lnTo>
                  <a:pt x="18" y="712"/>
                </a:lnTo>
                <a:lnTo>
                  <a:pt x="33" y="705"/>
                </a:lnTo>
                <a:lnTo>
                  <a:pt x="65" y="733"/>
                </a:lnTo>
                <a:lnTo>
                  <a:pt x="86" y="764"/>
                </a:lnTo>
                <a:lnTo>
                  <a:pt x="98" y="803"/>
                </a:lnTo>
                <a:lnTo>
                  <a:pt x="79" y="963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0" name="Freeform 195" descr="Large grid">
            <a:extLst>
              <a:ext uri="{FF2B5EF4-FFF2-40B4-BE49-F238E27FC236}">
                <a16:creationId xmlns:a16="http://schemas.microsoft.com/office/drawing/2014/main" id="{46447CA7-8CD8-4B97-87BD-0AB9CD34806A}"/>
              </a:ext>
            </a:extLst>
          </p:cNvPr>
          <p:cNvSpPr>
            <a:spLocks/>
          </p:cNvSpPr>
          <p:nvPr/>
        </p:nvSpPr>
        <p:spPr bwMode="auto">
          <a:xfrm rot="21249101">
            <a:off x="6518714" y="3055898"/>
            <a:ext cx="247791" cy="381764"/>
          </a:xfrm>
          <a:custGeom>
            <a:avLst/>
            <a:gdLst>
              <a:gd name="T0" fmla="*/ 2147483647 w 596"/>
              <a:gd name="T1" fmla="*/ 2147483647 h 1001"/>
              <a:gd name="T2" fmla="*/ 2147483647 w 596"/>
              <a:gd name="T3" fmla="*/ 2147483647 h 1001"/>
              <a:gd name="T4" fmla="*/ 2147483647 w 596"/>
              <a:gd name="T5" fmla="*/ 2147483647 h 1001"/>
              <a:gd name="T6" fmla="*/ 2147483647 w 596"/>
              <a:gd name="T7" fmla="*/ 2147483647 h 1001"/>
              <a:gd name="T8" fmla="*/ 2147483647 w 596"/>
              <a:gd name="T9" fmla="*/ 2147483647 h 1001"/>
              <a:gd name="T10" fmla="*/ 2147483647 w 596"/>
              <a:gd name="T11" fmla="*/ 2147483647 h 1001"/>
              <a:gd name="T12" fmla="*/ 2147483647 w 596"/>
              <a:gd name="T13" fmla="*/ 2147483647 h 1001"/>
              <a:gd name="T14" fmla="*/ 2147483647 w 596"/>
              <a:gd name="T15" fmla="*/ 2147483647 h 1001"/>
              <a:gd name="T16" fmla="*/ 2147483647 w 596"/>
              <a:gd name="T17" fmla="*/ 2147483647 h 1001"/>
              <a:gd name="T18" fmla="*/ 2147483647 w 596"/>
              <a:gd name="T19" fmla="*/ 2147483647 h 1001"/>
              <a:gd name="T20" fmla="*/ 2147483647 w 596"/>
              <a:gd name="T21" fmla="*/ 2147483647 h 1001"/>
              <a:gd name="T22" fmla="*/ 2147483647 w 596"/>
              <a:gd name="T23" fmla="*/ 2147483647 h 1001"/>
              <a:gd name="T24" fmla="*/ 2147483647 w 596"/>
              <a:gd name="T25" fmla="*/ 2147483647 h 1001"/>
              <a:gd name="T26" fmla="*/ 2147483647 w 596"/>
              <a:gd name="T27" fmla="*/ 2147483647 h 1001"/>
              <a:gd name="T28" fmla="*/ 2147483647 w 596"/>
              <a:gd name="T29" fmla="*/ 2147483647 h 1001"/>
              <a:gd name="T30" fmla="*/ 2147483647 w 596"/>
              <a:gd name="T31" fmla="*/ 2147483647 h 1001"/>
              <a:gd name="T32" fmla="*/ 2147483647 w 596"/>
              <a:gd name="T33" fmla="*/ 2147483647 h 1001"/>
              <a:gd name="T34" fmla="*/ 2147483647 w 596"/>
              <a:gd name="T35" fmla="*/ 2147483647 h 1001"/>
              <a:gd name="T36" fmla="*/ 2147483647 w 596"/>
              <a:gd name="T37" fmla="*/ 2147483647 h 1001"/>
              <a:gd name="T38" fmla="*/ 2147483647 w 596"/>
              <a:gd name="T39" fmla="*/ 2147483647 h 1001"/>
              <a:gd name="T40" fmla="*/ 2147483647 w 596"/>
              <a:gd name="T41" fmla="*/ 2147483647 h 1001"/>
              <a:gd name="T42" fmla="*/ 2147483647 w 596"/>
              <a:gd name="T43" fmla="*/ 2147483647 h 1001"/>
              <a:gd name="T44" fmla="*/ 2147483647 w 596"/>
              <a:gd name="T45" fmla="*/ 2147483647 h 1001"/>
              <a:gd name="T46" fmla="*/ 2147483647 w 596"/>
              <a:gd name="T47" fmla="*/ 2147483647 h 1001"/>
              <a:gd name="T48" fmla="*/ 2147483647 w 596"/>
              <a:gd name="T49" fmla="*/ 2147483647 h 1001"/>
              <a:gd name="T50" fmla="*/ 2147483647 w 596"/>
              <a:gd name="T51" fmla="*/ 2147483647 h 1001"/>
              <a:gd name="T52" fmla="*/ 2147483647 w 596"/>
              <a:gd name="T53" fmla="*/ 2147483647 h 1001"/>
              <a:gd name="T54" fmla="*/ 2147483647 w 596"/>
              <a:gd name="T55" fmla="*/ 2147483647 h 1001"/>
              <a:gd name="T56" fmla="*/ 2147483647 w 596"/>
              <a:gd name="T57" fmla="*/ 2147483647 h 1001"/>
              <a:gd name="T58" fmla="*/ 2147483647 w 596"/>
              <a:gd name="T59" fmla="*/ 0 h 1001"/>
              <a:gd name="T60" fmla="*/ 2147483647 w 596"/>
              <a:gd name="T61" fmla="*/ 2147483647 h 1001"/>
              <a:gd name="T62" fmla="*/ 2147483647 w 596"/>
              <a:gd name="T63" fmla="*/ 2147483647 h 1001"/>
              <a:gd name="T64" fmla="*/ 2147483647 w 596"/>
              <a:gd name="T65" fmla="*/ 2147483647 h 1001"/>
              <a:gd name="T66" fmla="*/ 2147483647 w 596"/>
              <a:gd name="T67" fmla="*/ 2147483647 h 1001"/>
              <a:gd name="T68" fmla="*/ 0 w 596"/>
              <a:gd name="T69" fmla="*/ 2147483647 h 1001"/>
              <a:gd name="T70" fmla="*/ 2147483647 w 596"/>
              <a:gd name="T71" fmla="*/ 2147483647 h 1001"/>
              <a:gd name="T72" fmla="*/ 2147483647 w 596"/>
              <a:gd name="T73" fmla="*/ 2147483647 h 1001"/>
              <a:gd name="T74" fmla="*/ 2147483647 w 596"/>
              <a:gd name="T75" fmla="*/ 2147483647 h 100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96"/>
              <a:gd name="T115" fmla="*/ 0 h 1001"/>
              <a:gd name="T116" fmla="*/ 596 w 596"/>
              <a:gd name="T117" fmla="*/ 1001 h 100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96" h="1001">
                <a:moveTo>
                  <a:pt x="79" y="963"/>
                </a:moveTo>
                <a:lnTo>
                  <a:pt x="110" y="965"/>
                </a:lnTo>
                <a:lnTo>
                  <a:pt x="195" y="1001"/>
                </a:lnTo>
                <a:lnTo>
                  <a:pt x="244" y="987"/>
                </a:lnTo>
                <a:lnTo>
                  <a:pt x="249" y="981"/>
                </a:lnTo>
                <a:lnTo>
                  <a:pt x="259" y="980"/>
                </a:lnTo>
                <a:lnTo>
                  <a:pt x="264" y="991"/>
                </a:lnTo>
                <a:lnTo>
                  <a:pt x="282" y="996"/>
                </a:lnTo>
                <a:lnTo>
                  <a:pt x="284" y="979"/>
                </a:lnTo>
                <a:lnTo>
                  <a:pt x="277" y="962"/>
                </a:lnTo>
                <a:lnTo>
                  <a:pt x="264" y="946"/>
                </a:lnTo>
                <a:lnTo>
                  <a:pt x="238" y="943"/>
                </a:lnTo>
                <a:lnTo>
                  <a:pt x="244" y="892"/>
                </a:lnTo>
                <a:lnTo>
                  <a:pt x="284" y="872"/>
                </a:lnTo>
                <a:lnTo>
                  <a:pt x="286" y="859"/>
                </a:lnTo>
                <a:lnTo>
                  <a:pt x="277" y="857"/>
                </a:lnTo>
                <a:lnTo>
                  <a:pt x="279" y="826"/>
                </a:lnTo>
                <a:lnTo>
                  <a:pt x="294" y="786"/>
                </a:lnTo>
                <a:lnTo>
                  <a:pt x="286" y="771"/>
                </a:lnTo>
                <a:lnTo>
                  <a:pt x="327" y="738"/>
                </a:lnTo>
                <a:lnTo>
                  <a:pt x="326" y="724"/>
                </a:lnTo>
                <a:lnTo>
                  <a:pt x="305" y="696"/>
                </a:lnTo>
                <a:lnTo>
                  <a:pt x="329" y="691"/>
                </a:lnTo>
                <a:lnTo>
                  <a:pt x="375" y="704"/>
                </a:lnTo>
                <a:lnTo>
                  <a:pt x="382" y="680"/>
                </a:lnTo>
                <a:lnTo>
                  <a:pt x="369" y="649"/>
                </a:lnTo>
                <a:lnTo>
                  <a:pt x="386" y="637"/>
                </a:lnTo>
                <a:lnTo>
                  <a:pt x="432" y="649"/>
                </a:lnTo>
                <a:lnTo>
                  <a:pt x="454" y="625"/>
                </a:lnTo>
                <a:lnTo>
                  <a:pt x="451" y="579"/>
                </a:lnTo>
                <a:lnTo>
                  <a:pt x="473" y="536"/>
                </a:lnTo>
                <a:lnTo>
                  <a:pt x="494" y="533"/>
                </a:lnTo>
                <a:lnTo>
                  <a:pt x="491" y="551"/>
                </a:lnTo>
                <a:lnTo>
                  <a:pt x="501" y="576"/>
                </a:lnTo>
                <a:lnTo>
                  <a:pt x="527" y="551"/>
                </a:lnTo>
                <a:lnTo>
                  <a:pt x="530" y="564"/>
                </a:lnTo>
                <a:lnTo>
                  <a:pt x="589" y="522"/>
                </a:lnTo>
                <a:lnTo>
                  <a:pt x="596" y="483"/>
                </a:lnTo>
                <a:lnTo>
                  <a:pt x="594" y="456"/>
                </a:lnTo>
                <a:lnTo>
                  <a:pt x="578" y="444"/>
                </a:lnTo>
                <a:lnTo>
                  <a:pt x="541" y="444"/>
                </a:lnTo>
                <a:lnTo>
                  <a:pt x="514" y="452"/>
                </a:lnTo>
                <a:lnTo>
                  <a:pt x="501" y="428"/>
                </a:lnTo>
                <a:lnTo>
                  <a:pt x="478" y="425"/>
                </a:lnTo>
                <a:lnTo>
                  <a:pt x="459" y="448"/>
                </a:lnTo>
                <a:lnTo>
                  <a:pt x="452" y="427"/>
                </a:lnTo>
                <a:lnTo>
                  <a:pt x="458" y="406"/>
                </a:lnTo>
                <a:lnTo>
                  <a:pt x="485" y="384"/>
                </a:lnTo>
                <a:lnTo>
                  <a:pt x="480" y="374"/>
                </a:lnTo>
                <a:lnTo>
                  <a:pt x="446" y="380"/>
                </a:lnTo>
                <a:lnTo>
                  <a:pt x="448" y="363"/>
                </a:lnTo>
                <a:lnTo>
                  <a:pt x="478" y="356"/>
                </a:lnTo>
                <a:lnTo>
                  <a:pt x="484" y="326"/>
                </a:lnTo>
                <a:lnTo>
                  <a:pt x="490" y="322"/>
                </a:lnTo>
                <a:lnTo>
                  <a:pt x="494" y="278"/>
                </a:lnTo>
                <a:lnTo>
                  <a:pt x="560" y="169"/>
                </a:lnTo>
                <a:lnTo>
                  <a:pt x="564" y="139"/>
                </a:lnTo>
                <a:lnTo>
                  <a:pt x="554" y="65"/>
                </a:lnTo>
                <a:lnTo>
                  <a:pt x="579" y="10"/>
                </a:lnTo>
                <a:lnTo>
                  <a:pt x="574" y="0"/>
                </a:lnTo>
                <a:lnTo>
                  <a:pt x="466" y="44"/>
                </a:lnTo>
                <a:lnTo>
                  <a:pt x="400" y="99"/>
                </a:lnTo>
                <a:lnTo>
                  <a:pt x="384" y="135"/>
                </a:lnTo>
                <a:lnTo>
                  <a:pt x="341" y="160"/>
                </a:lnTo>
                <a:lnTo>
                  <a:pt x="185" y="166"/>
                </a:lnTo>
                <a:lnTo>
                  <a:pt x="148" y="195"/>
                </a:lnTo>
                <a:lnTo>
                  <a:pt x="40" y="408"/>
                </a:lnTo>
                <a:lnTo>
                  <a:pt x="21" y="558"/>
                </a:lnTo>
                <a:lnTo>
                  <a:pt x="28" y="597"/>
                </a:lnTo>
                <a:lnTo>
                  <a:pt x="0" y="709"/>
                </a:lnTo>
                <a:lnTo>
                  <a:pt x="18" y="712"/>
                </a:lnTo>
                <a:lnTo>
                  <a:pt x="33" y="705"/>
                </a:lnTo>
                <a:lnTo>
                  <a:pt x="65" y="733"/>
                </a:lnTo>
                <a:lnTo>
                  <a:pt x="86" y="764"/>
                </a:lnTo>
                <a:lnTo>
                  <a:pt x="98" y="803"/>
                </a:lnTo>
                <a:lnTo>
                  <a:pt x="79" y="963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1" name="Freeform 196">
            <a:extLst>
              <a:ext uri="{FF2B5EF4-FFF2-40B4-BE49-F238E27FC236}">
                <a16:creationId xmlns:a16="http://schemas.microsoft.com/office/drawing/2014/main" id="{F42AE58D-F7C6-42E5-8F88-1E129BA7A888}"/>
              </a:ext>
            </a:extLst>
          </p:cNvPr>
          <p:cNvSpPr>
            <a:spLocks/>
          </p:cNvSpPr>
          <p:nvPr/>
        </p:nvSpPr>
        <p:spPr bwMode="auto">
          <a:xfrm rot="21249101">
            <a:off x="6233216" y="4075031"/>
            <a:ext cx="62846" cy="86839"/>
          </a:xfrm>
          <a:custGeom>
            <a:avLst/>
            <a:gdLst>
              <a:gd name="T0" fmla="*/ 2147483647 w 148"/>
              <a:gd name="T1" fmla="*/ 2147483647 h 230"/>
              <a:gd name="T2" fmla="*/ 2147483647 w 148"/>
              <a:gd name="T3" fmla="*/ 2147483647 h 230"/>
              <a:gd name="T4" fmla="*/ 2147483647 w 148"/>
              <a:gd name="T5" fmla="*/ 2147483647 h 230"/>
              <a:gd name="T6" fmla="*/ 2147483647 w 148"/>
              <a:gd name="T7" fmla="*/ 2147483647 h 230"/>
              <a:gd name="T8" fmla="*/ 2147483647 w 148"/>
              <a:gd name="T9" fmla="*/ 2147483647 h 230"/>
              <a:gd name="T10" fmla="*/ 2147483647 w 148"/>
              <a:gd name="T11" fmla="*/ 2147483647 h 230"/>
              <a:gd name="T12" fmla="*/ 2147483647 w 148"/>
              <a:gd name="T13" fmla="*/ 2147483647 h 230"/>
              <a:gd name="T14" fmla="*/ 2147483647 w 148"/>
              <a:gd name="T15" fmla="*/ 2147483647 h 230"/>
              <a:gd name="T16" fmla="*/ 2147483647 w 148"/>
              <a:gd name="T17" fmla="*/ 0 h 230"/>
              <a:gd name="T18" fmla="*/ 2147483647 w 148"/>
              <a:gd name="T19" fmla="*/ 2147483647 h 230"/>
              <a:gd name="T20" fmla="*/ 2147483647 w 148"/>
              <a:gd name="T21" fmla="*/ 2147483647 h 230"/>
              <a:gd name="T22" fmla="*/ 2147483647 w 148"/>
              <a:gd name="T23" fmla="*/ 2147483647 h 230"/>
              <a:gd name="T24" fmla="*/ 0 w 148"/>
              <a:gd name="T25" fmla="*/ 2147483647 h 230"/>
              <a:gd name="T26" fmla="*/ 2147483647 w 148"/>
              <a:gd name="T27" fmla="*/ 2147483647 h 2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48"/>
              <a:gd name="T43" fmla="*/ 0 h 230"/>
              <a:gd name="T44" fmla="*/ 148 w 148"/>
              <a:gd name="T45" fmla="*/ 230 h 2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48" h="230">
                <a:moveTo>
                  <a:pt x="66" y="224"/>
                </a:moveTo>
                <a:lnTo>
                  <a:pt x="118" y="230"/>
                </a:lnTo>
                <a:lnTo>
                  <a:pt x="143" y="207"/>
                </a:lnTo>
                <a:lnTo>
                  <a:pt x="148" y="155"/>
                </a:lnTo>
                <a:lnTo>
                  <a:pt x="125" y="88"/>
                </a:lnTo>
                <a:lnTo>
                  <a:pt x="128" y="57"/>
                </a:lnTo>
                <a:lnTo>
                  <a:pt x="144" y="28"/>
                </a:lnTo>
                <a:lnTo>
                  <a:pt x="116" y="3"/>
                </a:lnTo>
                <a:lnTo>
                  <a:pt x="87" y="0"/>
                </a:lnTo>
                <a:lnTo>
                  <a:pt x="41" y="22"/>
                </a:lnTo>
                <a:lnTo>
                  <a:pt x="5" y="71"/>
                </a:lnTo>
                <a:lnTo>
                  <a:pt x="12" y="127"/>
                </a:lnTo>
                <a:lnTo>
                  <a:pt x="0" y="191"/>
                </a:lnTo>
                <a:lnTo>
                  <a:pt x="66" y="224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>
            <a:solidFill>
              <a:srgbClr val="FFFFFF"/>
            </a:solidFill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2" name="Freeform 197">
            <a:extLst>
              <a:ext uri="{FF2B5EF4-FFF2-40B4-BE49-F238E27FC236}">
                <a16:creationId xmlns:a16="http://schemas.microsoft.com/office/drawing/2014/main" id="{4D1EF07A-5179-4025-811F-A097500DBC8E}"/>
              </a:ext>
            </a:extLst>
          </p:cNvPr>
          <p:cNvSpPr>
            <a:spLocks/>
          </p:cNvSpPr>
          <p:nvPr/>
        </p:nvSpPr>
        <p:spPr bwMode="auto">
          <a:xfrm rot="21249101">
            <a:off x="6233216" y="4075031"/>
            <a:ext cx="62846" cy="86839"/>
          </a:xfrm>
          <a:custGeom>
            <a:avLst/>
            <a:gdLst>
              <a:gd name="T0" fmla="*/ 2147483647 w 148"/>
              <a:gd name="T1" fmla="*/ 2147483647 h 230"/>
              <a:gd name="T2" fmla="*/ 2147483647 w 148"/>
              <a:gd name="T3" fmla="*/ 2147483647 h 230"/>
              <a:gd name="T4" fmla="*/ 2147483647 w 148"/>
              <a:gd name="T5" fmla="*/ 2147483647 h 230"/>
              <a:gd name="T6" fmla="*/ 2147483647 w 148"/>
              <a:gd name="T7" fmla="*/ 2147483647 h 230"/>
              <a:gd name="T8" fmla="*/ 2147483647 w 148"/>
              <a:gd name="T9" fmla="*/ 2147483647 h 230"/>
              <a:gd name="T10" fmla="*/ 2147483647 w 148"/>
              <a:gd name="T11" fmla="*/ 2147483647 h 230"/>
              <a:gd name="T12" fmla="*/ 2147483647 w 148"/>
              <a:gd name="T13" fmla="*/ 2147483647 h 230"/>
              <a:gd name="T14" fmla="*/ 2147483647 w 148"/>
              <a:gd name="T15" fmla="*/ 2147483647 h 230"/>
              <a:gd name="T16" fmla="*/ 2147483647 w 148"/>
              <a:gd name="T17" fmla="*/ 0 h 230"/>
              <a:gd name="T18" fmla="*/ 2147483647 w 148"/>
              <a:gd name="T19" fmla="*/ 2147483647 h 230"/>
              <a:gd name="T20" fmla="*/ 2147483647 w 148"/>
              <a:gd name="T21" fmla="*/ 2147483647 h 230"/>
              <a:gd name="T22" fmla="*/ 2147483647 w 148"/>
              <a:gd name="T23" fmla="*/ 2147483647 h 230"/>
              <a:gd name="T24" fmla="*/ 0 w 148"/>
              <a:gd name="T25" fmla="*/ 2147483647 h 230"/>
              <a:gd name="T26" fmla="*/ 2147483647 w 148"/>
              <a:gd name="T27" fmla="*/ 2147483647 h 2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48"/>
              <a:gd name="T43" fmla="*/ 0 h 230"/>
              <a:gd name="T44" fmla="*/ 148 w 148"/>
              <a:gd name="T45" fmla="*/ 230 h 2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48" h="230">
                <a:moveTo>
                  <a:pt x="66" y="224"/>
                </a:moveTo>
                <a:lnTo>
                  <a:pt x="118" y="230"/>
                </a:lnTo>
                <a:lnTo>
                  <a:pt x="143" y="207"/>
                </a:lnTo>
                <a:lnTo>
                  <a:pt x="148" y="155"/>
                </a:lnTo>
                <a:lnTo>
                  <a:pt x="125" y="88"/>
                </a:lnTo>
                <a:lnTo>
                  <a:pt x="128" y="57"/>
                </a:lnTo>
                <a:lnTo>
                  <a:pt x="144" y="28"/>
                </a:lnTo>
                <a:lnTo>
                  <a:pt x="116" y="3"/>
                </a:lnTo>
                <a:lnTo>
                  <a:pt x="87" y="0"/>
                </a:lnTo>
                <a:lnTo>
                  <a:pt x="41" y="22"/>
                </a:lnTo>
                <a:lnTo>
                  <a:pt x="5" y="71"/>
                </a:lnTo>
                <a:lnTo>
                  <a:pt x="12" y="127"/>
                </a:lnTo>
                <a:lnTo>
                  <a:pt x="0" y="191"/>
                </a:lnTo>
                <a:lnTo>
                  <a:pt x="66" y="224"/>
                </a:lnTo>
              </a:path>
            </a:pathLst>
          </a:custGeom>
          <a:solidFill>
            <a:schemeClr val="bg1">
              <a:lumMod val="85000"/>
            </a:scheme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3" name="Freeform 198">
            <a:extLst>
              <a:ext uri="{FF2B5EF4-FFF2-40B4-BE49-F238E27FC236}">
                <a16:creationId xmlns:a16="http://schemas.microsoft.com/office/drawing/2014/main" id="{71BB7F56-BBBB-4A66-89F5-30D0A4D7EAC9}"/>
              </a:ext>
            </a:extLst>
          </p:cNvPr>
          <p:cNvSpPr>
            <a:spLocks/>
          </p:cNvSpPr>
          <p:nvPr/>
        </p:nvSpPr>
        <p:spPr bwMode="auto">
          <a:xfrm rot="21249101">
            <a:off x="5672995" y="5072863"/>
            <a:ext cx="35912" cy="32769"/>
          </a:xfrm>
          <a:custGeom>
            <a:avLst/>
            <a:gdLst>
              <a:gd name="T0" fmla="*/ 2147483647 w 86"/>
              <a:gd name="T1" fmla="*/ 2147483647 h 82"/>
              <a:gd name="T2" fmla="*/ 2147483647 w 86"/>
              <a:gd name="T3" fmla="*/ 2147483647 h 82"/>
              <a:gd name="T4" fmla="*/ 2147483647 w 86"/>
              <a:gd name="T5" fmla="*/ 2147483647 h 82"/>
              <a:gd name="T6" fmla="*/ 2147483647 w 86"/>
              <a:gd name="T7" fmla="*/ 2147483647 h 82"/>
              <a:gd name="T8" fmla="*/ 2147483647 w 86"/>
              <a:gd name="T9" fmla="*/ 2147483647 h 82"/>
              <a:gd name="T10" fmla="*/ 0 w 86"/>
              <a:gd name="T11" fmla="*/ 0 h 82"/>
              <a:gd name="T12" fmla="*/ 2147483647 w 86"/>
              <a:gd name="T13" fmla="*/ 2147483647 h 82"/>
              <a:gd name="T14" fmla="*/ 2147483647 w 86"/>
              <a:gd name="T15" fmla="*/ 2147483647 h 8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6"/>
              <a:gd name="T25" fmla="*/ 0 h 82"/>
              <a:gd name="T26" fmla="*/ 86 w 86"/>
              <a:gd name="T27" fmla="*/ 82 h 8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6" h="82">
                <a:moveTo>
                  <a:pt x="80" y="56"/>
                </a:moveTo>
                <a:lnTo>
                  <a:pt x="86" y="79"/>
                </a:lnTo>
                <a:lnTo>
                  <a:pt x="63" y="82"/>
                </a:lnTo>
                <a:lnTo>
                  <a:pt x="32" y="72"/>
                </a:lnTo>
                <a:lnTo>
                  <a:pt x="24" y="40"/>
                </a:lnTo>
                <a:lnTo>
                  <a:pt x="0" y="0"/>
                </a:lnTo>
                <a:lnTo>
                  <a:pt x="61" y="23"/>
                </a:lnTo>
                <a:lnTo>
                  <a:pt x="80" y="56"/>
                </a:lnTo>
                <a:close/>
              </a:path>
            </a:pathLst>
          </a:custGeom>
          <a:solidFill>
            <a:srgbClr val="FFFFFF">
              <a:lumMod val="95000"/>
            </a:srgb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4" name="Freeform 199">
            <a:extLst>
              <a:ext uri="{FF2B5EF4-FFF2-40B4-BE49-F238E27FC236}">
                <a16:creationId xmlns:a16="http://schemas.microsoft.com/office/drawing/2014/main" id="{F32ED187-1037-486D-83C5-2AC6CCC92D1F}"/>
              </a:ext>
            </a:extLst>
          </p:cNvPr>
          <p:cNvSpPr>
            <a:spLocks/>
          </p:cNvSpPr>
          <p:nvPr/>
        </p:nvSpPr>
        <p:spPr bwMode="auto">
          <a:xfrm rot="21249101">
            <a:off x="5672995" y="5072863"/>
            <a:ext cx="35912" cy="32769"/>
          </a:xfrm>
          <a:custGeom>
            <a:avLst/>
            <a:gdLst>
              <a:gd name="T0" fmla="*/ 2147483647 w 86"/>
              <a:gd name="T1" fmla="*/ 2147483647 h 82"/>
              <a:gd name="T2" fmla="*/ 2147483647 w 86"/>
              <a:gd name="T3" fmla="*/ 2147483647 h 82"/>
              <a:gd name="T4" fmla="*/ 2147483647 w 86"/>
              <a:gd name="T5" fmla="*/ 2147483647 h 82"/>
              <a:gd name="T6" fmla="*/ 2147483647 w 86"/>
              <a:gd name="T7" fmla="*/ 2147483647 h 82"/>
              <a:gd name="T8" fmla="*/ 2147483647 w 86"/>
              <a:gd name="T9" fmla="*/ 2147483647 h 82"/>
              <a:gd name="T10" fmla="*/ 0 w 86"/>
              <a:gd name="T11" fmla="*/ 0 h 82"/>
              <a:gd name="T12" fmla="*/ 2147483647 w 86"/>
              <a:gd name="T13" fmla="*/ 2147483647 h 82"/>
              <a:gd name="T14" fmla="*/ 2147483647 w 86"/>
              <a:gd name="T15" fmla="*/ 2147483647 h 8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6"/>
              <a:gd name="T25" fmla="*/ 0 h 82"/>
              <a:gd name="T26" fmla="*/ 86 w 86"/>
              <a:gd name="T27" fmla="*/ 82 h 8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6" h="82">
                <a:moveTo>
                  <a:pt x="80" y="56"/>
                </a:moveTo>
                <a:lnTo>
                  <a:pt x="86" y="79"/>
                </a:lnTo>
                <a:lnTo>
                  <a:pt x="63" y="82"/>
                </a:lnTo>
                <a:lnTo>
                  <a:pt x="32" y="72"/>
                </a:lnTo>
                <a:lnTo>
                  <a:pt x="24" y="40"/>
                </a:lnTo>
                <a:lnTo>
                  <a:pt x="0" y="0"/>
                </a:lnTo>
                <a:lnTo>
                  <a:pt x="61" y="23"/>
                </a:lnTo>
                <a:lnTo>
                  <a:pt x="80" y="56"/>
                </a:lnTo>
              </a:path>
            </a:pathLst>
          </a:custGeom>
          <a:solidFill>
            <a:srgbClr val="FFFFFF">
              <a:lumMod val="95000"/>
            </a:srgbClr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5" name="Freeform 92">
            <a:extLst>
              <a:ext uri="{FF2B5EF4-FFF2-40B4-BE49-F238E27FC236}">
                <a16:creationId xmlns:a16="http://schemas.microsoft.com/office/drawing/2014/main" id="{55BDE630-1D47-4B5A-988D-525E12B97FB5}"/>
              </a:ext>
            </a:extLst>
          </p:cNvPr>
          <p:cNvSpPr>
            <a:spLocks/>
          </p:cNvSpPr>
          <p:nvPr/>
        </p:nvSpPr>
        <p:spPr bwMode="auto">
          <a:xfrm rot="21249101">
            <a:off x="6218852" y="4432218"/>
            <a:ext cx="468647" cy="255603"/>
          </a:xfrm>
          <a:custGeom>
            <a:avLst/>
            <a:gdLst>
              <a:gd name="T0" fmla="*/ 2147483647 w 1128"/>
              <a:gd name="T1" fmla="*/ 2147483647 h 667"/>
              <a:gd name="T2" fmla="*/ 2147483647 w 1128"/>
              <a:gd name="T3" fmla="*/ 2147483647 h 667"/>
              <a:gd name="T4" fmla="*/ 2147483647 w 1128"/>
              <a:gd name="T5" fmla="*/ 2147483647 h 667"/>
              <a:gd name="T6" fmla="*/ 2147483647 w 1128"/>
              <a:gd name="T7" fmla="*/ 2147483647 h 667"/>
              <a:gd name="T8" fmla="*/ 2147483647 w 1128"/>
              <a:gd name="T9" fmla="*/ 2147483647 h 667"/>
              <a:gd name="T10" fmla="*/ 2147483647 w 1128"/>
              <a:gd name="T11" fmla="*/ 2147483647 h 667"/>
              <a:gd name="T12" fmla="*/ 2147483647 w 1128"/>
              <a:gd name="T13" fmla="*/ 2147483647 h 667"/>
              <a:gd name="T14" fmla="*/ 2147483647 w 1128"/>
              <a:gd name="T15" fmla="*/ 2147483647 h 667"/>
              <a:gd name="T16" fmla="*/ 0 w 1128"/>
              <a:gd name="T17" fmla="*/ 2147483647 h 667"/>
              <a:gd name="T18" fmla="*/ 2147483647 w 1128"/>
              <a:gd name="T19" fmla="*/ 2147483647 h 667"/>
              <a:gd name="T20" fmla="*/ 2147483647 w 1128"/>
              <a:gd name="T21" fmla="*/ 2147483647 h 667"/>
              <a:gd name="T22" fmla="*/ 2147483647 w 1128"/>
              <a:gd name="T23" fmla="*/ 2147483647 h 667"/>
              <a:gd name="T24" fmla="*/ 2147483647 w 1128"/>
              <a:gd name="T25" fmla="*/ 2147483647 h 667"/>
              <a:gd name="T26" fmla="*/ 2147483647 w 1128"/>
              <a:gd name="T27" fmla="*/ 2147483647 h 667"/>
              <a:gd name="T28" fmla="*/ 2147483647 w 1128"/>
              <a:gd name="T29" fmla="*/ 2147483647 h 667"/>
              <a:gd name="T30" fmla="*/ 2147483647 w 1128"/>
              <a:gd name="T31" fmla="*/ 2147483647 h 667"/>
              <a:gd name="T32" fmla="*/ 2147483647 w 1128"/>
              <a:gd name="T33" fmla="*/ 2147483647 h 667"/>
              <a:gd name="T34" fmla="*/ 2147483647 w 1128"/>
              <a:gd name="T35" fmla="*/ 2147483647 h 667"/>
              <a:gd name="T36" fmla="*/ 2147483647 w 1128"/>
              <a:gd name="T37" fmla="*/ 2147483647 h 667"/>
              <a:gd name="T38" fmla="*/ 2147483647 w 1128"/>
              <a:gd name="T39" fmla="*/ 2147483647 h 667"/>
              <a:gd name="T40" fmla="*/ 2147483647 w 1128"/>
              <a:gd name="T41" fmla="*/ 0 h 667"/>
              <a:gd name="T42" fmla="*/ 2147483647 w 1128"/>
              <a:gd name="T43" fmla="*/ 2147483647 h 667"/>
              <a:gd name="T44" fmla="*/ 2147483647 w 1128"/>
              <a:gd name="T45" fmla="*/ 2147483647 h 667"/>
              <a:gd name="T46" fmla="*/ 2147483647 w 1128"/>
              <a:gd name="T47" fmla="*/ 2147483647 h 667"/>
              <a:gd name="T48" fmla="*/ 2147483647 w 1128"/>
              <a:gd name="T49" fmla="*/ 2147483647 h 667"/>
              <a:gd name="T50" fmla="*/ 2147483647 w 1128"/>
              <a:gd name="T51" fmla="*/ 2147483647 h 667"/>
              <a:gd name="T52" fmla="*/ 2147483647 w 1128"/>
              <a:gd name="T53" fmla="*/ 2147483647 h 667"/>
              <a:gd name="T54" fmla="*/ 2147483647 w 1128"/>
              <a:gd name="T55" fmla="*/ 2147483647 h 667"/>
              <a:gd name="T56" fmla="*/ 2147483647 w 1128"/>
              <a:gd name="T57" fmla="*/ 2147483647 h 667"/>
              <a:gd name="T58" fmla="*/ 2147483647 w 1128"/>
              <a:gd name="T59" fmla="*/ 2147483647 h 667"/>
              <a:gd name="T60" fmla="*/ 2147483647 w 1128"/>
              <a:gd name="T61" fmla="*/ 2147483647 h 667"/>
              <a:gd name="T62" fmla="*/ 2147483647 w 1128"/>
              <a:gd name="T63" fmla="*/ 2147483647 h 667"/>
              <a:gd name="T64" fmla="*/ 2147483647 w 1128"/>
              <a:gd name="T65" fmla="*/ 2147483647 h 667"/>
              <a:gd name="T66" fmla="*/ 2147483647 w 1128"/>
              <a:gd name="T67" fmla="*/ 2147483647 h 667"/>
              <a:gd name="T68" fmla="*/ 2147483647 w 1128"/>
              <a:gd name="T69" fmla="*/ 2147483647 h 667"/>
              <a:gd name="T70" fmla="*/ 2147483647 w 1128"/>
              <a:gd name="T71" fmla="*/ 2147483647 h 667"/>
              <a:gd name="T72" fmla="*/ 2147483647 w 1128"/>
              <a:gd name="T73" fmla="*/ 2147483647 h 667"/>
              <a:gd name="T74" fmla="*/ 2147483647 w 1128"/>
              <a:gd name="T75" fmla="*/ 2147483647 h 667"/>
              <a:gd name="T76" fmla="*/ 2147483647 w 1128"/>
              <a:gd name="T77" fmla="*/ 2147483647 h 667"/>
              <a:gd name="T78" fmla="*/ 2147483647 w 1128"/>
              <a:gd name="T79" fmla="*/ 2147483647 h 667"/>
              <a:gd name="T80" fmla="*/ 2147483647 w 1128"/>
              <a:gd name="T81" fmla="*/ 2147483647 h 667"/>
              <a:gd name="T82" fmla="*/ 2147483647 w 1128"/>
              <a:gd name="T83" fmla="*/ 2147483647 h 667"/>
              <a:gd name="T84" fmla="*/ 2147483647 w 1128"/>
              <a:gd name="T85" fmla="*/ 2147483647 h 667"/>
              <a:gd name="T86" fmla="*/ 2147483647 w 1128"/>
              <a:gd name="T87" fmla="*/ 2147483647 h 667"/>
              <a:gd name="T88" fmla="*/ 2147483647 w 1128"/>
              <a:gd name="T89" fmla="*/ 2147483647 h 667"/>
              <a:gd name="T90" fmla="*/ 2147483647 w 1128"/>
              <a:gd name="T91" fmla="*/ 2147483647 h 667"/>
              <a:gd name="T92" fmla="*/ 2147483647 w 1128"/>
              <a:gd name="T93" fmla="*/ 2147483647 h 667"/>
              <a:gd name="T94" fmla="*/ 2147483647 w 1128"/>
              <a:gd name="T95" fmla="*/ 2147483647 h 667"/>
              <a:gd name="T96" fmla="*/ 2147483647 w 1128"/>
              <a:gd name="T97" fmla="*/ 2147483647 h 667"/>
              <a:gd name="T98" fmla="*/ 2147483647 w 1128"/>
              <a:gd name="T99" fmla="*/ 2147483647 h 667"/>
              <a:gd name="T100" fmla="*/ 2147483647 w 1128"/>
              <a:gd name="T101" fmla="*/ 2147483647 h 667"/>
              <a:gd name="T102" fmla="*/ 2147483647 w 1128"/>
              <a:gd name="T103" fmla="*/ 2147483647 h 667"/>
              <a:gd name="T104" fmla="*/ 2147483647 w 1128"/>
              <a:gd name="T105" fmla="*/ 2147483647 h 667"/>
              <a:gd name="T106" fmla="*/ 2147483647 w 1128"/>
              <a:gd name="T107" fmla="*/ 2147483647 h 667"/>
              <a:gd name="T108" fmla="*/ 2147483647 w 1128"/>
              <a:gd name="T109" fmla="*/ 2147483647 h 66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28"/>
              <a:gd name="T166" fmla="*/ 0 h 667"/>
              <a:gd name="T167" fmla="*/ 1128 w 1128"/>
              <a:gd name="T168" fmla="*/ 667 h 66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28" h="667">
                <a:moveTo>
                  <a:pt x="229" y="602"/>
                </a:moveTo>
                <a:lnTo>
                  <a:pt x="223" y="550"/>
                </a:lnTo>
                <a:lnTo>
                  <a:pt x="191" y="536"/>
                </a:lnTo>
                <a:lnTo>
                  <a:pt x="202" y="408"/>
                </a:lnTo>
                <a:lnTo>
                  <a:pt x="190" y="398"/>
                </a:lnTo>
                <a:lnTo>
                  <a:pt x="111" y="383"/>
                </a:lnTo>
                <a:lnTo>
                  <a:pt x="49" y="450"/>
                </a:lnTo>
                <a:lnTo>
                  <a:pt x="14" y="464"/>
                </a:lnTo>
                <a:lnTo>
                  <a:pt x="0" y="451"/>
                </a:lnTo>
                <a:lnTo>
                  <a:pt x="51" y="300"/>
                </a:lnTo>
                <a:lnTo>
                  <a:pt x="72" y="286"/>
                </a:lnTo>
                <a:lnTo>
                  <a:pt x="93" y="260"/>
                </a:lnTo>
                <a:lnTo>
                  <a:pt x="127" y="246"/>
                </a:lnTo>
                <a:lnTo>
                  <a:pt x="138" y="235"/>
                </a:lnTo>
                <a:lnTo>
                  <a:pt x="156" y="193"/>
                </a:lnTo>
                <a:lnTo>
                  <a:pt x="312" y="65"/>
                </a:lnTo>
                <a:lnTo>
                  <a:pt x="300" y="38"/>
                </a:lnTo>
                <a:lnTo>
                  <a:pt x="323" y="12"/>
                </a:lnTo>
                <a:lnTo>
                  <a:pt x="400" y="31"/>
                </a:lnTo>
                <a:lnTo>
                  <a:pt x="431" y="22"/>
                </a:lnTo>
                <a:lnTo>
                  <a:pt x="468" y="0"/>
                </a:lnTo>
                <a:lnTo>
                  <a:pt x="496" y="33"/>
                </a:lnTo>
                <a:lnTo>
                  <a:pt x="768" y="31"/>
                </a:lnTo>
                <a:lnTo>
                  <a:pt x="926" y="117"/>
                </a:lnTo>
                <a:lnTo>
                  <a:pt x="955" y="156"/>
                </a:lnTo>
                <a:lnTo>
                  <a:pt x="923" y="237"/>
                </a:lnTo>
                <a:lnTo>
                  <a:pt x="950" y="297"/>
                </a:lnTo>
                <a:lnTo>
                  <a:pt x="1020" y="348"/>
                </a:lnTo>
                <a:lnTo>
                  <a:pt x="1060" y="359"/>
                </a:lnTo>
                <a:lnTo>
                  <a:pt x="1096" y="344"/>
                </a:lnTo>
                <a:lnTo>
                  <a:pt x="1128" y="374"/>
                </a:lnTo>
                <a:lnTo>
                  <a:pt x="1108" y="421"/>
                </a:lnTo>
                <a:lnTo>
                  <a:pt x="1107" y="451"/>
                </a:lnTo>
                <a:lnTo>
                  <a:pt x="1087" y="463"/>
                </a:lnTo>
                <a:lnTo>
                  <a:pt x="1038" y="459"/>
                </a:lnTo>
                <a:lnTo>
                  <a:pt x="1025" y="487"/>
                </a:lnTo>
                <a:lnTo>
                  <a:pt x="1026" y="520"/>
                </a:lnTo>
                <a:lnTo>
                  <a:pt x="1038" y="549"/>
                </a:lnTo>
                <a:lnTo>
                  <a:pt x="1026" y="568"/>
                </a:lnTo>
                <a:lnTo>
                  <a:pt x="883" y="527"/>
                </a:lnTo>
                <a:lnTo>
                  <a:pt x="860" y="498"/>
                </a:lnTo>
                <a:lnTo>
                  <a:pt x="829" y="478"/>
                </a:lnTo>
                <a:lnTo>
                  <a:pt x="811" y="525"/>
                </a:lnTo>
                <a:lnTo>
                  <a:pt x="751" y="607"/>
                </a:lnTo>
                <a:lnTo>
                  <a:pt x="735" y="649"/>
                </a:lnTo>
                <a:lnTo>
                  <a:pt x="722" y="667"/>
                </a:lnTo>
                <a:lnTo>
                  <a:pt x="693" y="643"/>
                </a:lnTo>
                <a:lnTo>
                  <a:pt x="672" y="602"/>
                </a:lnTo>
                <a:lnTo>
                  <a:pt x="625" y="557"/>
                </a:lnTo>
                <a:lnTo>
                  <a:pt x="611" y="465"/>
                </a:lnTo>
                <a:lnTo>
                  <a:pt x="557" y="484"/>
                </a:lnTo>
                <a:lnTo>
                  <a:pt x="525" y="516"/>
                </a:lnTo>
                <a:lnTo>
                  <a:pt x="518" y="557"/>
                </a:lnTo>
                <a:lnTo>
                  <a:pt x="442" y="610"/>
                </a:lnTo>
                <a:lnTo>
                  <a:pt x="229" y="602"/>
                </a:lnTo>
              </a:path>
            </a:pathLst>
          </a:custGeom>
          <a:solidFill>
            <a:srgbClr val="0070C0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6" name="Freeform 143">
            <a:extLst>
              <a:ext uri="{FF2B5EF4-FFF2-40B4-BE49-F238E27FC236}">
                <a16:creationId xmlns:a16="http://schemas.microsoft.com/office/drawing/2014/main" id="{CD09043E-D4B6-4C9E-B573-9230778B0772}"/>
              </a:ext>
            </a:extLst>
          </p:cNvPr>
          <p:cNvSpPr>
            <a:spLocks/>
          </p:cNvSpPr>
          <p:nvPr/>
        </p:nvSpPr>
        <p:spPr bwMode="auto">
          <a:xfrm rot="21249101">
            <a:off x="7588075" y="4594045"/>
            <a:ext cx="449294" cy="578676"/>
          </a:xfrm>
          <a:custGeom>
            <a:avLst/>
            <a:gdLst>
              <a:gd name="T0" fmla="*/ 2147483647 w 1173"/>
              <a:gd name="T1" fmla="*/ 2147483647 h 1576"/>
              <a:gd name="T2" fmla="*/ 2147483647 w 1173"/>
              <a:gd name="T3" fmla="*/ 2147483647 h 1576"/>
              <a:gd name="T4" fmla="*/ 2147483647 w 1173"/>
              <a:gd name="T5" fmla="*/ 2147483647 h 1576"/>
              <a:gd name="T6" fmla="*/ 2147483647 w 1173"/>
              <a:gd name="T7" fmla="*/ 2147483647 h 1576"/>
              <a:gd name="T8" fmla="*/ 2147483647 w 1173"/>
              <a:gd name="T9" fmla="*/ 2147483647 h 1576"/>
              <a:gd name="T10" fmla="*/ 2147483647 w 1173"/>
              <a:gd name="T11" fmla="*/ 2147483647 h 1576"/>
              <a:gd name="T12" fmla="*/ 2147483647 w 1173"/>
              <a:gd name="T13" fmla="*/ 2147483647 h 1576"/>
              <a:gd name="T14" fmla="*/ 2147483647 w 1173"/>
              <a:gd name="T15" fmla="*/ 2147483647 h 1576"/>
              <a:gd name="T16" fmla="*/ 2147483647 w 1173"/>
              <a:gd name="T17" fmla="*/ 2147483647 h 1576"/>
              <a:gd name="T18" fmla="*/ 2147483647 w 1173"/>
              <a:gd name="T19" fmla="*/ 2147483647 h 1576"/>
              <a:gd name="T20" fmla="*/ 2147483647 w 1173"/>
              <a:gd name="T21" fmla="*/ 2147483647 h 1576"/>
              <a:gd name="T22" fmla="*/ 2147483647 w 1173"/>
              <a:gd name="T23" fmla="*/ 2147483647 h 1576"/>
              <a:gd name="T24" fmla="*/ 2147483647 w 1173"/>
              <a:gd name="T25" fmla="*/ 2147483647 h 1576"/>
              <a:gd name="T26" fmla="*/ 2147483647 w 1173"/>
              <a:gd name="T27" fmla="*/ 2147483647 h 1576"/>
              <a:gd name="T28" fmla="*/ 2147483647 w 1173"/>
              <a:gd name="T29" fmla="*/ 2147483647 h 1576"/>
              <a:gd name="T30" fmla="*/ 2147483647 w 1173"/>
              <a:gd name="T31" fmla="*/ 2147483647 h 1576"/>
              <a:gd name="T32" fmla="*/ 2147483647 w 1173"/>
              <a:gd name="T33" fmla="*/ 2147483647 h 1576"/>
              <a:gd name="T34" fmla="*/ 2147483647 w 1173"/>
              <a:gd name="T35" fmla="*/ 2147483647 h 1576"/>
              <a:gd name="T36" fmla="*/ 2147483647 w 1173"/>
              <a:gd name="T37" fmla="*/ 2147483647 h 1576"/>
              <a:gd name="T38" fmla="*/ 2147483647 w 1173"/>
              <a:gd name="T39" fmla="*/ 2147483647 h 1576"/>
              <a:gd name="T40" fmla="*/ 2147483647 w 1173"/>
              <a:gd name="T41" fmla="*/ 2147483647 h 1576"/>
              <a:gd name="T42" fmla="*/ 2147483647 w 1173"/>
              <a:gd name="T43" fmla="*/ 2147483647 h 1576"/>
              <a:gd name="T44" fmla="*/ 2147483647 w 1173"/>
              <a:gd name="T45" fmla="*/ 2147483647 h 1576"/>
              <a:gd name="T46" fmla="*/ 2147483647 w 1173"/>
              <a:gd name="T47" fmla="*/ 2147483647 h 1576"/>
              <a:gd name="T48" fmla="*/ 2147483647 w 1173"/>
              <a:gd name="T49" fmla="*/ 2147483647 h 1576"/>
              <a:gd name="T50" fmla="*/ 2147483647 w 1173"/>
              <a:gd name="T51" fmla="*/ 2147483647 h 1576"/>
              <a:gd name="T52" fmla="*/ 2147483647 w 1173"/>
              <a:gd name="T53" fmla="*/ 2147483647 h 1576"/>
              <a:gd name="T54" fmla="*/ 2147483647 w 1173"/>
              <a:gd name="T55" fmla="*/ 2147483647 h 1576"/>
              <a:gd name="T56" fmla="*/ 2147483647 w 1173"/>
              <a:gd name="T57" fmla="*/ 2147483647 h 1576"/>
              <a:gd name="T58" fmla="*/ 2147483647 w 1173"/>
              <a:gd name="T59" fmla="*/ 2147483647 h 1576"/>
              <a:gd name="T60" fmla="*/ 2147483647 w 1173"/>
              <a:gd name="T61" fmla="*/ 2147483647 h 1576"/>
              <a:gd name="T62" fmla="*/ 2147483647 w 1173"/>
              <a:gd name="T63" fmla="*/ 2147483647 h 1576"/>
              <a:gd name="T64" fmla="*/ 2147483647 w 1173"/>
              <a:gd name="T65" fmla="*/ 2147483647 h 1576"/>
              <a:gd name="T66" fmla="*/ 2147483647 w 1173"/>
              <a:gd name="T67" fmla="*/ 2147483647 h 1576"/>
              <a:gd name="T68" fmla="*/ 2147483647 w 1173"/>
              <a:gd name="T69" fmla="*/ 2147483647 h 1576"/>
              <a:gd name="T70" fmla="*/ 2147483647 w 1173"/>
              <a:gd name="T71" fmla="*/ 2147483647 h 1576"/>
              <a:gd name="T72" fmla="*/ 2147483647 w 1173"/>
              <a:gd name="T73" fmla="*/ 2147483647 h 1576"/>
              <a:gd name="T74" fmla="*/ 2147483647 w 1173"/>
              <a:gd name="T75" fmla="*/ 2147483647 h 1576"/>
              <a:gd name="T76" fmla="*/ 2147483647 w 1173"/>
              <a:gd name="T77" fmla="*/ 2147483647 h 1576"/>
              <a:gd name="T78" fmla="*/ 2147483647 w 1173"/>
              <a:gd name="T79" fmla="*/ 2147483647 h 1576"/>
              <a:gd name="T80" fmla="*/ 2147483647 w 1173"/>
              <a:gd name="T81" fmla="*/ 2147483647 h 1576"/>
              <a:gd name="T82" fmla="*/ 2147483647 w 1173"/>
              <a:gd name="T83" fmla="*/ 2147483647 h 1576"/>
              <a:gd name="T84" fmla="*/ 2147483647 w 1173"/>
              <a:gd name="T85" fmla="*/ 2147483647 h 1576"/>
              <a:gd name="T86" fmla="*/ 2147483647 w 1173"/>
              <a:gd name="T87" fmla="*/ 2147483647 h 1576"/>
              <a:gd name="T88" fmla="*/ 2147483647 w 1173"/>
              <a:gd name="T89" fmla="*/ 2147483647 h 1576"/>
              <a:gd name="T90" fmla="*/ 2147483647 w 1173"/>
              <a:gd name="T91" fmla="*/ 2147483647 h 1576"/>
              <a:gd name="T92" fmla="*/ 2147483647 w 1173"/>
              <a:gd name="T93" fmla="*/ 2147483647 h 1576"/>
              <a:gd name="T94" fmla="*/ 2147483647 w 1173"/>
              <a:gd name="T95" fmla="*/ 2147483647 h 1576"/>
              <a:gd name="T96" fmla="*/ 2147483647 w 1173"/>
              <a:gd name="T97" fmla="*/ 2147483647 h 1576"/>
              <a:gd name="T98" fmla="*/ 2147483647 w 1173"/>
              <a:gd name="T99" fmla="*/ 0 h 1576"/>
              <a:gd name="T100" fmla="*/ 2147483647 w 1173"/>
              <a:gd name="T101" fmla="*/ 2147483647 h 1576"/>
              <a:gd name="T102" fmla="*/ 2147483647 w 1173"/>
              <a:gd name="T103" fmla="*/ 2147483647 h 157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173"/>
              <a:gd name="T157" fmla="*/ 0 h 1576"/>
              <a:gd name="T158" fmla="*/ 1173 w 1173"/>
              <a:gd name="T159" fmla="*/ 1576 h 1576"/>
              <a:gd name="connsiteX0" fmla="*/ 776 w 10000"/>
              <a:gd name="connsiteY0" fmla="*/ 641 h 10000"/>
              <a:gd name="connsiteX1" fmla="*/ 1074 w 10000"/>
              <a:gd name="connsiteY1" fmla="*/ 857 h 10000"/>
              <a:gd name="connsiteX2" fmla="*/ 1091 w 10000"/>
              <a:gd name="connsiteY2" fmla="*/ 958 h 10000"/>
              <a:gd name="connsiteX3" fmla="*/ 1032 w 10000"/>
              <a:gd name="connsiteY3" fmla="*/ 1022 h 10000"/>
              <a:gd name="connsiteX4" fmla="*/ 1125 w 10000"/>
              <a:gd name="connsiteY4" fmla="*/ 1091 h 10000"/>
              <a:gd name="connsiteX5" fmla="*/ 1134 w 10000"/>
              <a:gd name="connsiteY5" fmla="*/ 1187 h 10000"/>
              <a:gd name="connsiteX6" fmla="*/ 1023 w 10000"/>
              <a:gd name="connsiteY6" fmla="*/ 1301 h 10000"/>
              <a:gd name="connsiteX7" fmla="*/ 1040 w 10000"/>
              <a:gd name="connsiteY7" fmla="*/ 1377 h 10000"/>
              <a:gd name="connsiteX8" fmla="*/ 1168 w 10000"/>
              <a:gd name="connsiteY8" fmla="*/ 1428 h 10000"/>
              <a:gd name="connsiteX9" fmla="*/ 1253 w 10000"/>
              <a:gd name="connsiteY9" fmla="*/ 1364 h 10000"/>
              <a:gd name="connsiteX10" fmla="*/ 1330 w 10000"/>
              <a:gd name="connsiteY10" fmla="*/ 1364 h 10000"/>
              <a:gd name="connsiteX11" fmla="*/ 1449 w 10000"/>
              <a:gd name="connsiteY11" fmla="*/ 1434 h 10000"/>
              <a:gd name="connsiteX12" fmla="*/ 1449 w 10000"/>
              <a:gd name="connsiteY12" fmla="*/ 1478 h 10000"/>
              <a:gd name="connsiteX13" fmla="*/ 1373 w 10000"/>
              <a:gd name="connsiteY13" fmla="*/ 1523 h 10000"/>
              <a:gd name="connsiteX14" fmla="*/ 1296 w 10000"/>
              <a:gd name="connsiteY14" fmla="*/ 1523 h 10000"/>
              <a:gd name="connsiteX15" fmla="*/ 1262 w 10000"/>
              <a:gd name="connsiteY15" fmla="*/ 1599 h 10000"/>
              <a:gd name="connsiteX16" fmla="*/ 1313 w 10000"/>
              <a:gd name="connsiteY16" fmla="*/ 1656 h 10000"/>
              <a:gd name="connsiteX17" fmla="*/ 1253 w 10000"/>
              <a:gd name="connsiteY17" fmla="*/ 1796 h 10000"/>
              <a:gd name="connsiteX18" fmla="*/ 1313 w 10000"/>
              <a:gd name="connsiteY18" fmla="*/ 1846 h 10000"/>
              <a:gd name="connsiteX19" fmla="*/ 1466 w 10000"/>
              <a:gd name="connsiteY19" fmla="*/ 1846 h 10000"/>
              <a:gd name="connsiteX20" fmla="*/ 1645 w 10000"/>
              <a:gd name="connsiteY20" fmla="*/ 1986 h 10000"/>
              <a:gd name="connsiteX21" fmla="*/ 1824 w 10000"/>
              <a:gd name="connsiteY21" fmla="*/ 1973 h 10000"/>
              <a:gd name="connsiteX22" fmla="*/ 1969 w 10000"/>
              <a:gd name="connsiteY22" fmla="*/ 2030 h 10000"/>
              <a:gd name="connsiteX23" fmla="*/ 2140 w 10000"/>
              <a:gd name="connsiteY23" fmla="*/ 2024 h 10000"/>
              <a:gd name="connsiteX24" fmla="*/ 2225 w 10000"/>
              <a:gd name="connsiteY24" fmla="*/ 2056 h 10000"/>
              <a:gd name="connsiteX25" fmla="*/ 2242 w 10000"/>
              <a:gd name="connsiteY25" fmla="*/ 2119 h 10000"/>
              <a:gd name="connsiteX26" fmla="*/ 2097 w 10000"/>
              <a:gd name="connsiteY26" fmla="*/ 2176 h 10000"/>
              <a:gd name="connsiteX27" fmla="*/ 1799 w 10000"/>
              <a:gd name="connsiteY27" fmla="*/ 2126 h 10000"/>
              <a:gd name="connsiteX28" fmla="*/ 1714 w 10000"/>
              <a:gd name="connsiteY28" fmla="*/ 2138 h 10000"/>
              <a:gd name="connsiteX29" fmla="*/ 1662 w 10000"/>
              <a:gd name="connsiteY29" fmla="*/ 2278 h 10000"/>
              <a:gd name="connsiteX30" fmla="*/ 1569 w 10000"/>
              <a:gd name="connsiteY30" fmla="*/ 2367 h 10000"/>
              <a:gd name="connsiteX31" fmla="*/ 1620 w 10000"/>
              <a:gd name="connsiteY31" fmla="*/ 2646 h 10000"/>
              <a:gd name="connsiteX32" fmla="*/ 1705 w 10000"/>
              <a:gd name="connsiteY32" fmla="*/ 2690 h 10000"/>
              <a:gd name="connsiteX33" fmla="*/ 1654 w 10000"/>
              <a:gd name="connsiteY33" fmla="*/ 2830 h 10000"/>
              <a:gd name="connsiteX34" fmla="*/ 2131 w 10000"/>
              <a:gd name="connsiteY34" fmla="*/ 2862 h 10000"/>
              <a:gd name="connsiteX35" fmla="*/ 2225 w 10000"/>
              <a:gd name="connsiteY35" fmla="*/ 2951 h 10000"/>
              <a:gd name="connsiteX36" fmla="*/ 2157 w 10000"/>
              <a:gd name="connsiteY36" fmla="*/ 3052 h 10000"/>
              <a:gd name="connsiteX37" fmla="*/ 2157 w 10000"/>
              <a:gd name="connsiteY37" fmla="*/ 3179 h 10000"/>
              <a:gd name="connsiteX38" fmla="*/ 1765 w 10000"/>
              <a:gd name="connsiteY38" fmla="*/ 3712 h 10000"/>
              <a:gd name="connsiteX39" fmla="*/ 1671 w 10000"/>
              <a:gd name="connsiteY39" fmla="*/ 3750 h 10000"/>
              <a:gd name="connsiteX40" fmla="*/ 1671 w 10000"/>
              <a:gd name="connsiteY40" fmla="*/ 3839 h 10000"/>
              <a:gd name="connsiteX41" fmla="*/ 1731 w 10000"/>
              <a:gd name="connsiteY41" fmla="*/ 3902 h 10000"/>
              <a:gd name="connsiteX42" fmla="*/ 1594 w 10000"/>
              <a:gd name="connsiteY42" fmla="*/ 4055 h 10000"/>
              <a:gd name="connsiteX43" fmla="*/ 1671 w 10000"/>
              <a:gd name="connsiteY43" fmla="*/ 4251 h 10000"/>
              <a:gd name="connsiteX44" fmla="*/ 1807 w 10000"/>
              <a:gd name="connsiteY44" fmla="*/ 4277 h 10000"/>
              <a:gd name="connsiteX45" fmla="*/ 1910 w 10000"/>
              <a:gd name="connsiteY45" fmla="*/ 4334 h 10000"/>
              <a:gd name="connsiteX46" fmla="*/ 2063 w 10000"/>
              <a:gd name="connsiteY46" fmla="*/ 4308 h 10000"/>
              <a:gd name="connsiteX47" fmla="*/ 2131 w 10000"/>
              <a:gd name="connsiteY47" fmla="*/ 4397 h 10000"/>
              <a:gd name="connsiteX48" fmla="*/ 2165 w 10000"/>
              <a:gd name="connsiteY48" fmla="*/ 4499 h 10000"/>
              <a:gd name="connsiteX49" fmla="*/ 2327 w 10000"/>
              <a:gd name="connsiteY49" fmla="*/ 4626 h 10000"/>
              <a:gd name="connsiteX50" fmla="*/ 2438 w 10000"/>
              <a:gd name="connsiteY50" fmla="*/ 4613 h 10000"/>
              <a:gd name="connsiteX51" fmla="*/ 2481 w 10000"/>
              <a:gd name="connsiteY51" fmla="*/ 4645 h 10000"/>
              <a:gd name="connsiteX52" fmla="*/ 2472 w 10000"/>
              <a:gd name="connsiteY52" fmla="*/ 4721 h 10000"/>
              <a:gd name="connsiteX53" fmla="*/ 2634 w 10000"/>
              <a:gd name="connsiteY53" fmla="*/ 4797 h 10000"/>
              <a:gd name="connsiteX54" fmla="*/ 2737 w 10000"/>
              <a:gd name="connsiteY54" fmla="*/ 4816 h 10000"/>
              <a:gd name="connsiteX55" fmla="*/ 2754 w 10000"/>
              <a:gd name="connsiteY55" fmla="*/ 4918 h 10000"/>
              <a:gd name="connsiteX56" fmla="*/ 2583 w 10000"/>
              <a:gd name="connsiteY56" fmla="*/ 5044 h 10000"/>
              <a:gd name="connsiteX57" fmla="*/ 2268 w 10000"/>
              <a:gd name="connsiteY57" fmla="*/ 5051 h 10000"/>
              <a:gd name="connsiteX58" fmla="*/ 2063 w 10000"/>
              <a:gd name="connsiteY58" fmla="*/ 4956 h 10000"/>
              <a:gd name="connsiteX59" fmla="*/ 1952 w 10000"/>
              <a:gd name="connsiteY59" fmla="*/ 4956 h 10000"/>
              <a:gd name="connsiteX60" fmla="*/ 1910 w 10000"/>
              <a:gd name="connsiteY60" fmla="*/ 4994 h 10000"/>
              <a:gd name="connsiteX61" fmla="*/ 2455 w 10000"/>
              <a:gd name="connsiteY61" fmla="*/ 5539 h 10000"/>
              <a:gd name="connsiteX62" fmla="*/ 2532 w 10000"/>
              <a:gd name="connsiteY62" fmla="*/ 5571 h 10000"/>
              <a:gd name="connsiteX63" fmla="*/ 2506 w 10000"/>
              <a:gd name="connsiteY63" fmla="*/ 5799 h 10000"/>
              <a:gd name="connsiteX64" fmla="*/ 2464 w 10000"/>
              <a:gd name="connsiteY64" fmla="*/ 5888 h 10000"/>
              <a:gd name="connsiteX65" fmla="*/ 2336 w 10000"/>
              <a:gd name="connsiteY65" fmla="*/ 5926 h 10000"/>
              <a:gd name="connsiteX66" fmla="*/ 2242 w 10000"/>
              <a:gd name="connsiteY66" fmla="*/ 5863 h 10000"/>
              <a:gd name="connsiteX67" fmla="*/ 2148 w 10000"/>
              <a:gd name="connsiteY67" fmla="*/ 5857 h 10000"/>
              <a:gd name="connsiteX68" fmla="*/ 2038 w 10000"/>
              <a:gd name="connsiteY68" fmla="*/ 5977 h 10000"/>
              <a:gd name="connsiteX69" fmla="*/ 1858 w 10000"/>
              <a:gd name="connsiteY69" fmla="*/ 6041 h 10000"/>
              <a:gd name="connsiteX70" fmla="*/ 1688 w 10000"/>
              <a:gd name="connsiteY70" fmla="*/ 6041 h 10000"/>
              <a:gd name="connsiteX71" fmla="*/ 1603 w 10000"/>
              <a:gd name="connsiteY71" fmla="*/ 6091 h 10000"/>
              <a:gd name="connsiteX72" fmla="*/ 1500 w 10000"/>
              <a:gd name="connsiteY72" fmla="*/ 6085 h 10000"/>
              <a:gd name="connsiteX73" fmla="*/ 1458 w 10000"/>
              <a:gd name="connsiteY73" fmla="*/ 6003 h 10000"/>
              <a:gd name="connsiteX74" fmla="*/ 1313 w 10000"/>
              <a:gd name="connsiteY74" fmla="*/ 6009 h 10000"/>
              <a:gd name="connsiteX75" fmla="*/ 1194 w 10000"/>
              <a:gd name="connsiteY75" fmla="*/ 6110 h 10000"/>
              <a:gd name="connsiteX76" fmla="*/ 1245 w 10000"/>
              <a:gd name="connsiteY76" fmla="*/ 6199 h 10000"/>
              <a:gd name="connsiteX77" fmla="*/ 1381 w 10000"/>
              <a:gd name="connsiteY77" fmla="*/ 6244 h 10000"/>
              <a:gd name="connsiteX78" fmla="*/ 1424 w 10000"/>
              <a:gd name="connsiteY78" fmla="*/ 6402 h 10000"/>
              <a:gd name="connsiteX79" fmla="*/ 1500 w 10000"/>
              <a:gd name="connsiteY79" fmla="*/ 6491 h 10000"/>
              <a:gd name="connsiteX80" fmla="*/ 1500 w 10000"/>
              <a:gd name="connsiteY80" fmla="*/ 6662 h 10000"/>
              <a:gd name="connsiteX81" fmla="*/ 1449 w 10000"/>
              <a:gd name="connsiteY81" fmla="*/ 6726 h 10000"/>
              <a:gd name="connsiteX82" fmla="*/ 1338 w 10000"/>
              <a:gd name="connsiteY82" fmla="*/ 6713 h 10000"/>
              <a:gd name="connsiteX83" fmla="*/ 1270 w 10000"/>
              <a:gd name="connsiteY83" fmla="*/ 6662 h 10000"/>
              <a:gd name="connsiteX84" fmla="*/ 1219 w 10000"/>
              <a:gd name="connsiteY84" fmla="*/ 6497 h 10000"/>
              <a:gd name="connsiteX85" fmla="*/ 1151 w 10000"/>
              <a:gd name="connsiteY85" fmla="*/ 6447 h 10000"/>
              <a:gd name="connsiteX86" fmla="*/ 963 w 10000"/>
              <a:gd name="connsiteY86" fmla="*/ 6447 h 10000"/>
              <a:gd name="connsiteX87" fmla="*/ 614 w 10000"/>
              <a:gd name="connsiteY87" fmla="*/ 6675 h 10000"/>
              <a:gd name="connsiteX88" fmla="*/ 554 w 10000"/>
              <a:gd name="connsiteY88" fmla="*/ 6834 h 10000"/>
              <a:gd name="connsiteX89" fmla="*/ 486 w 10000"/>
              <a:gd name="connsiteY89" fmla="*/ 6897 h 10000"/>
              <a:gd name="connsiteX90" fmla="*/ 486 w 10000"/>
              <a:gd name="connsiteY90" fmla="*/ 7132 h 10000"/>
              <a:gd name="connsiteX91" fmla="*/ 392 w 10000"/>
              <a:gd name="connsiteY91" fmla="*/ 7189 h 10000"/>
              <a:gd name="connsiteX92" fmla="*/ 213 w 10000"/>
              <a:gd name="connsiteY92" fmla="*/ 7189 h 10000"/>
              <a:gd name="connsiteX93" fmla="*/ 94 w 10000"/>
              <a:gd name="connsiteY93" fmla="*/ 7284 h 10000"/>
              <a:gd name="connsiteX94" fmla="*/ 68 w 10000"/>
              <a:gd name="connsiteY94" fmla="*/ 7563 h 10000"/>
              <a:gd name="connsiteX95" fmla="*/ 17 w 10000"/>
              <a:gd name="connsiteY95" fmla="*/ 7589 h 10000"/>
              <a:gd name="connsiteX96" fmla="*/ 34 w 10000"/>
              <a:gd name="connsiteY96" fmla="*/ 7684 h 10000"/>
              <a:gd name="connsiteX97" fmla="*/ 247 w 10000"/>
              <a:gd name="connsiteY97" fmla="*/ 7925 h 10000"/>
              <a:gd name="connsiteX98" fmla="*/ 239 w 10000"/>
              <a:gd name="connsiteY98" fmla="*/ 8065 h 10000"/>
              <a:gd name="connsiteX99" fmla="*/ 17 w 10000"/>
              <a:gd name="connsiteY99" fmla="*/ 8299 h 10000"/>
              <a:gd name="connsiteX100" fmla="*/ 0 w 10000"/>
              <a:gd name="connsiteY100" fmla="*/ 8534 h 10000"/>
              <a:gd name="connsiteX101" fmla="*/ 1500 w 10000"/>
              <a:gd name="connsiteY101" fmla="*/ 9448 h 10000"/>
              <a:gd name="connsiteX102" fmla="*/ 1748 w 10000"/>
              <a:gd name="connsiteY102" fmla="*/ 9867 h 10000"/>
              <a:gd name="connsiteX103" fmla="*/ 1969 w 10000"/>
              <a:gd name="connsiteY103" fmla="*/ 10000 h 10000"/>
              <a:gd name="connsiteX104" fmla="*/ 2208 w 10000"/>
              <a:gd name="connsiteY104" fmla="*/ 9511 h 10000"/>
              <a:gd name="connsiteX105" fmla="*/ 2140 w 10000"/>
              <a:gd name="connsiteY105" fmla="*/ 9169 h 10000"/>
              <a:gd name="connsiteX106" fmla="*/ 2319 w 10000"/>
              <a:gd name="connsiteY106" fmla="*/ 8718 h 10000"/>
              <a:gd name="connsiteX107" fmla="*/ 2626 w 10000"/>
              <a:gd name="connsiteY107" fmla="*/ 8534 h 10000"/>
              <a:gd name="connsiteX108" fmla="*/ 2899 w 10000"/>
              <a:gd name="connsiteY108" fmla="*/ 8236 h 10000"/>
              <a:gd name="connsiteX109" fmla="*/ 3269 w 10000"/>
              <a:gd name="connsiteY109" fmla="*/ 7965 h 10000"/>
              <a:gd name="connsiteX110" fmla="*/ 3811 w 10000"/>
              <a:gd name="connsiteY110" fmla="*/ 8515 h 10000"/>
              <a:gd name="connsiteX111" fmla="*/ 4058 w 10000"/>
              <a:gd name="connsiteY111" fmla="*/ 8871 h 10000"/>
              <a:gd name="connsiteX112" fmla="*/ 4484 w 10000"/>
              <a:gd name="connsiteY112" fmla="*/ 9004 h 10000"/>
              <a:gd name="connsiteX113" fmla="*/ 4979 w 10000"/>
              <a:gd name="connsiteY113" fmla="*/ 9486 h 10000"/>
              <a:gd name="connsiteX114" fmla="*/ 5072 w 10000"/>
              <a:gd name="connsiteY114" fmla="*/ 9543 h 10000"/>
              <a:gd name="connsiteX115" fmla="*/ 5234 w 10000"/>
              <a:gd name="connsiteY115" fmla="*/ 9549 h 10000"/>
              <a:gd name="connsiteX116" fmla="*/ 5388 w 10000"/>
              <a:gd name="connsiteY116" fmla="*/ 9461 h 10000"/>
              <a:gd name="connsiteX117" fmla="*/ 5422 w 10000"/>
              <a:gd name="connsiteY117" fmla="*/ 9181 h 10000"/>
              <a:gd name="connsiteX118" fmla="*/ 6121 w 10000"/>
              <a:gd name="connsiteY118" fmla="*/ 9016 h 10000"/>
              <a:gd name="connsiteX119" fmla="*/ 6266 w 10000"/>
              <a:gd name="connsiteY119" fmla="*/ 9036 h 10000"/>
              <a:gd name="connsiteX120" fmla="*/ 6522 w 10000"/>
              <a:gd name="connsiteY120" fmla="*/ 9251 h 10000"/>
              <a:gd name="connsiteX121" fmla="*/ 6633 w 10000"/>
              <a:gd name="connsiteY121" fmla="*/ 9239 h 10000"/>
              <a:gd name="connsiteX122" fmla="*/ 6641 w 10000"/>
              <a:gd name="connsiteY122" fmla="*/ 9112 h 10000"/>
              <a:gd name="connsiteX123" fmla="*/ 6957 w 10000"/>
              <a:gd name="connsiteY123" fmla="*/ 8959 h 10000"/>
              <a:gd name="connsiteX124" fmla="*/ 7630 w 10000"/>
              <a:gd name="connsiteY124" fmla="*/ 9048 h 10000"/>
              <a:gd name="connsiteX125" fmla="*/ 7775 w 10000"/>
              <a:gd name="connsiteY125" fmla="*/ 8915 h 10000"/>
              <a:gd name="connsiteX126" fmla="*/ 8397 w 10000"/>
              <a:gd name="connsiteY126" fmla="*/ 8991 h 10000"/>
              <a:gd name="connsiteX127" fmla="*/ 8841 w 10000"/>
              <a:gd name="connsiteY127" fmla="*/ 8934 h 10000"/>
              <a:gd name="connsiteX128" fmla="*/ 9096 w 10000"/>
              <a:gd name="connsiteY128" fmla="*/ 9016 h 10000"/>
              <a:gd name="connsiteX129" fmla="*/ 9071 w 10000"/>
              <a:gd name="connsiteY129" fmla="*/ 8274 h 10000"/>
              <a:gd name="connsiteX130" fmla="*/ 9548 w 10000"/>
              <a:gd name="connsiteY130" fmla="*/ 7475 h 10000"/>
              <a:gd name="connsiteX131" fmla="*/ 10000 w 10000"/>
              <a:gd name="connsiteY131" fmla="*/ 7113 h 10000"/>
              <a:gd name="connsiteX132" fmla="*/ 8986 w 10000"/>
              <a:gd name="connsiteY132" fmla="*/ 6174 h 10000"/>
              <a:gd name="connsiteX133" fmla="*/ 8968 w 10000"/>
              <a:gd name="connsiteY133" fmla="*/ 4886 h 10000"/>
              <a:gd name="connsiteX134" fmla="*/ 9633 w 10000"/>
              <a:gd name="connsiteY134" fmla="*/ 4638 h 10000"/>
              <a:gd name="connsiteX135" fmla="*/ 9250 w 10000"/>
              <a:gd name="connsiteY135" fmla="*/ 4575 h 10000"/>
              <a:gd name="connsiteX136" fmla="*/ 8900 w 10000"/>
              <a:gd name="connsiteY136" fmla="*/ 4093 h 10000"/>
              <a:gd name="connsiteX137" fmla="*/ 9301 w 10000"/>
              <a:gd name="connsiteY137" fmla="*/ 3763 h 10000"/>
              <a:gd name="connsiteX138" fmla="*/ 9003 w 10000"/>
              <a:gd name="connsiteY138" fmla="*/ 3433 h 10000"/>
              <a:gd name="connsiteX139" fmla="*/ 8551 w 10000"/>
              <a:gd name="connsiteY139" fmla="*/ 3718 h 10000"/>
              <a:gd name="connsiteX140" fmla="*/ 7391 w 10000"/>
              <a:gd name="connsiteY140" fmla="*/ 3433 h 10000"/>
              <a:gd name="connsiteX141" fmla="*/ 6777 w 10000"/>
              <a:gd name="connsiteY141" fmla="*/ 3084 h 10000"/>
              <a:gd name="connsiteX142" fmla="*/ 6616 w 10000"/>
              <a:gd name="connsiteY142" fmla="*/ 2354 h 10000"/>
              <a:gd name="connsiteX143" fmla="*/ 6292 w 10000"/>
              <a:gd name="connsiteY143" fmla="*/ 2202 h 10000"/>
              <a:gd name="connsiteX144" fmla="*/ 5857 w 10000"/>
              <a:gd name="connsiteY144" fmla="*/ 2132 h 10000"/>
              <a:gd name="connsiteX145" fmla="*/ 5499 w 10000"/>
              <a:gd name="connsiteY145" fmla="*/ 1739 h 10000"/>
              <a:gd name="connsiteX146" fmla="*/ 5081 w 10000"/>
              <a:gd name="connsiteY146" fmla="*/ 863 h 10000"/>
              <a:gd name="connsiteX147" fmla="*/ 4672 w 10000"/>
              <a:gd name="connsiteY147" fmla="*/ 501 h 10000"/>
              <a:gd name="connsiteX148" fmla="*/ 3905 w 10000"/>
              <a:gd name="connsiteY148" fmla="*/ 209 h 10000"/>
              <a:gd name="connsiteX149" fmla="*/ 3717 w 10000"/>
              <a:gd name="connsiteY149" fmla="*/ 0 h 10000"/>
              <a:gd name="connsiteX150" fmla="*/ 3248 w 10000"/>
              <a:gd name="connsiteY150" fmla="*/ 121 h 10000"/>
              <a:gd name="connsiteX151" fmla="*/ 2771 w 10000"/>
              <a:gd name="connsiteY151" fmla="*/ 140 h 10000"/>
              <a:gd name="connsiteX152" fmla="*/ 2148 w 10000"/>
              <a:gd name="connsiteY152" fmla="*/ 438 h 10000"/>
              <a:gd name="connsiteX153" fmla="*/ 1586 w 10000"/>
              <a:gd name="connsiteY153" fmla="*/ 451 h 10000"/>
              <a:gd name="connsiteX154" fmla="*/ 1321 w 10000"/>
              <a:gd name="connsiteY154" fmla="*/ 603 h 10000"/>
              <a:gd name="connsiteX155" fmla="*/ 776 w 10000"/>
              <a:gd name="connsiteY155" fmla="*/ 641 h 10000"/>
              <a:gd name="connsiteX0" fmla="*/ 776 w 10000"/>
              <a:gd name="connsiteY0" fmla="*/ 641 h 10000"/>
              <a:gd name="connsiteX1" fmla="*/ 1074 w 10000"/>
              <a:gd name="connsiteY1" fmla="*/ 857 h 10000"/>
              <a:gd name="connsiteX2" fmla="*/ 1091 w 10000"/>
              <a:gd name="connsiteY2" fmla="*/ 958 h 10000"/>
              <a:gd name="connsiteX3" fmla="*/ 1032 w 10000"/>
              <a:gd name="connsiteY3" fmla="*/ 1022 h 10000"/>
              <a:gd name="connsiteX4" fmla="*/ 1125 w 10000"/>
              <a:gd name="connsiteY4" fmla="*/ 1091 h 10000"/>
              <a:gd name="connsiteX5" fmla="*/ 1134 w 10000"/>
              <a:gd name="connsiteY5" fmla="*/ 1187 h 10000"/>
              <a:gd name="connsiteX6" fmla="*/ 1023 w 10000"/>
              <a:gd name="connsiteY6" fmla="*/ 1301 h 10000"/>
              <a:gd name="connsiteX7" fmla="*/ 1040 w 10000"/>
              <a:gd name="connsiteY7" fmla="*/ 1377 h 10000"/>
              <a:gd name="connsiteX8" fmla="*/ 1168 w 10000"/>
              <a:gd name="connsiteY8" fmla="*/ 1428 h 10000"/>
              <a:gd name="connsiteX9" fmla="*/ 1253 w 10000"/>
              <a:gd name="connsiteY9" fmla="*/ 1364 h 10000"/>
              <a:gd name="connsiteX10" fmla="*/ 1330 w 10000"/>
              <a:gd name="connsiteY10" fmla="*/ 1364 h 10000"/>
              <a:gd name="connsiteX11" fmla="*/ 1449 w 10000"/>
              <a:gd name="connsiteY11" fmla="*/ 1434 h 10000"/>
              <a:gd name="connsiteX12" fmla="*/ 1449 w 10000"/>
              <a:gd name="connsiteY12" fmla="*/ 1478 h 10000"/>
              <a:gd name="connsiteX13" fmla="*/ 1373 w 10000"/>
              <a:gd name="connsiteY13" fmla="*/ 1523 h 10000"/>
              <a:gd name="connsiteX14" fmla="*/ 1296 w 10000"/>
              <a:gd name="connsiteY14" fmla="*/ 1523 h 10000"/>
              <a:gd name="connsiteX15" fmla="*/ 1262 w 10000"/>
              <a:gd name="connsiteY15" fmla="*/ 1599 h 10000"/>
              <a:gd name="connsiteX16" fmla="*/ 1313 w 10000"/>
              <a:gd name="connsiteY16" fmla="*/ 1656 h 10000"/>
              <a:gd name="connsiteX17" fmla="*/ 1253 w 10000"/>
              <a:gd name="connsiteY17" fmla="*/ 1796 h 10000"/>
              <a:gd name="connsiteX18" fmla="*/ 1313 w 10000"/>
              <a:gd name="connsiteY18" fmla="*/ 1846 h 10000"/>
              <a:gd name="connsiteX19" fmla="*/ 1466 w 10000"/>
              <a:gd name="connsiteY19" fmla="*/ 1846 h 10000"/>
              <a:gd name="connsiteX20" fmla="*/ 1645 w 10000"/>
              <a:gd name="connsiteY20" fmla="*/ 1986 h 10000"/>
              <a:gd name="connsiteX21" fmla="*/ 1824 w 10000"/>
              <a:gd name="connsiteY21" fmla="*/ 1973 h 10000"/>
              <a:gd name="connsiteX22" fmla="*/ 1969 w 10000"/>
              <a:gd name="connsiteY22" fmla="*/ 2030 h 10000"/>
              <a:gd name="connsiteX23" fmla="*/ 2140 w 10000"/>
              <a:gd name="connsiteY23" fmla="*/ 2024 h 10000"/>
              <a:gd name="connsiteX24" fmla="*/ 2225 w 10000"/>
              <a:gd name="connsiteY24" fmla="*/ 2056 h 10000"/>
              <a:gd name="connsiteX25" fmla="*/ 2242 w 10000"/>
              <a:gd name="connsiteY25" fmla="*/ 2119 h 10000"/>
              <a:gd name="connsiteX26" fmla="*/ 2097 w 10000"/>
              <a:gd name="connsiteY26" fmla="*/ 2176 h 10000"/>
              <a:gd name="connsiteX27" fmla="*/ 1799 w 10000"/>
              <a:gd name="connsiteY27" fmla="*/ 2126 h 10000"/>
              <a:gd name="connsiteX28" fmla="*/ 1714 w 10000"/>
              <a:gd name="connsiteY28" fmla="*/ 2138 h 10000"/>
              <a:gd name="connsiteX29" fmla="*/ 1662 w 10000"/>
              <a:gd name="connsiteY29" fmla="*/ 2278 h 10000"/>
              <a:gd name="connsiteX30" fmla="*/ 1569 w 10000"/>
              <a:gd name="connsiteY30" fmla="*/ 2367 h 10000"/>
              <a:gd name="connsiteX31" fmla="*/ 1620 w 10000"/>
              <a:gd name="connsiteY31" fmla="*/ 2646 h 10000"/>
              <a:gd name="connsiteX32" fmla="*/ 1705 w 10000"/>
              <a:gd name="connsiteY32" fmla="*/ 2690 h 10000"/>
              <a:gd name="connsiteX33" fmla="*/ 1654 w 10000"/>
              <a:gd name="connsiteY33" fmla="*/ 2830 h 10000"/>
              <a:gd name="connsiteX34" fmla="*/ 2131 w 10000"/>
              <a:gd name="connsiteY34" fmla="*/ 2862 h 10000"/>
              <a:gd name="connsiteX35" fmla="*/ 2225 w 10000"/>
              <a:gd name="connsiteY35" fmla="*/ 2951 h 10000"/>
              <a:gd name="connsiteX36" fmla="*/ 2157 w 10000"/>
              <a:gd name="connsiteY36" fmla="*/ 3052 h 10000"/>
              <a:gd name="connsiteX37" fmla="*/ 2157 w 10000"/>
              <a:gd name="connsiteY37" fmla="*/ 3179 h 10000"/>
              <a:gd name="connsiteX38" fmla="*/ 1765 w 10000"/>
              <a:gd name="connsiteY38" fmla="*/ 3712 h 10000"/>
              <a:gd name="connsiteX39" fmla="*/ 1671 w 10000"/>
              <a:gd name="connsiteY39" fmla="*/ 3750 h 10000"/>
              <a:gd name="connsiteX40" fmla="*/ 1671 w 10000"/>
              <a:gd name="connsiteY40" fmla="*/ 3839 h 10000"/>
              <a:gd name="connsiteX41" fmla="*/ 1731 w 10000"/>
              <a:gd name="connsiteY41" fmla="*/ 3902 h 10000"/>
              <a:gd name="connsiteX42" fmla="*/ 1594 w 10000"/>
              <a:gd name="connsiteY42" fmla="*/ 4055 h 10000"/>
              <a:gd name="connsiteX43" fmla="*/ 1671 w 10000"/>
              <a:gd name="connsiteY43" fmla="*/ 4251 h 10000"/>
              <a:gd name="connsiteX44" fmla="*/ 1807 w 10000"/>
              <a:gd name="connsiteY44" fmla="*/ 4277 h 10000"/>
              <a:gd name="connsiteX45" fmla="*/ 1910 w 10000"/>
              <a:gd name="connsiteY45" fmla="*/ 4334 h 10000"/>
              <a:gd name="connsiteX46" fmla="*/ 2063 w 10000"/>
              <a:gd name="connsiteY46" fmla="*/ 4308 h 10000"/>
              <a:gd name="connsiteX47" fmla="*/ 2131 w 10000"/>
              <a:gd name="connsiteY47" fmla="*/ 4397 h 10000"/>
              <a:gd name="connsiteX48" fmla="*/ 2165 w 10000"/>
              <a:gd name="connsiteY48" fmla="*/ 4499 h 10000"/>
              <a:gd name="connsiteX49" fmla="*/ 2327 w 10000"/>
              <a:gd name="connsiteY49" fmla="*/ 4626 h 10000"/>
              <a:gd name="connsiteX50" fmla="*/ 2438 w 10000"/>
              <a:gd name="connsiteY50" fmla="*/ 4613 h 10000"/>
              <a:gd name="connsiteX51" fmla="*/ 2481 w 10000"/>
              <a:gd name="connsiteY51" fmla="*/ 4645 h 10000"/>
              <a:gd name="connsiteX52" fmla="*/ 2472 w 10000"/>
              <a:gd name="connsiteY52" fmla="*/ 4721 h 10000"/>
              <a:gd name="connsiteX53" fmla="*/ 2634 w 10000"/>
              <a:gd name="connsiteY53" fmla="*/ 4797 h 10000"/>
              <a:gd name="connsiteX54" fmla="*/ 2737 w 10000"/>
              <a:gd name="connsiteY54" fmla="*/ 4816 h 10000"/>
              <a:gd name="connsiteX55" fmla="*/ 2754 w 10000"/>
              <a:gd name="connsiteY55" fmla="*/ 4918 h 10000"/>
              <a:gd name="connsiteX56" fmla="*/ 2583 w 10000"/>
              <a:gd name="connsiteY56" fmla="*/ 5044 h 10000"/>
              <a:gd name="connsiteX57" fmla="*/ 2268 w 10000"/>
              <a:gd name="connsiteY57" fmla="*/ 5051 h 10000"/>
              <a:gd name="connsiteX58" fmla="*/ 2063 w 10000"/>
              <a:gd name="connsiteY58" fmla="*/ 4956 h 10000"/>
              <a:gd name="connsiteX59" fmla="*/ 1952 w 10000"/>
              <a:gd name="connsiteY59" fmla="*/ 4956 h 10000"/>
              <a:gd name="connsiteX60" fmla="*/ 1910 w 10000"/>
              <a:gd name="connsiteY60" fmla="*/ 4994 h 10000"/>
              <a:gd name="connsiteX61" fmla="*/ 2455 w 10000"/>
              <a:gd name="connsiteY61" fmla="*/ 5539 h 10000"/>
              <a:gd name="connsiteX62" fmla="*/ 2532 w 10000"/>
              <a:gd name="connsiteY62" fmla="*/ 5571 h 10000"/>
              <a:gd name="connsiteX63" fmla="*/ 2506 w 10000"/>
              <a:gd name="connsiteY63" fmla="*/ 5799 h 10000"/>
              <a:gd name="connsiteX64" fmla="*/ 2464 w 10000"/>
              <a:gd name="connsiteY64" fmla="*/ 5888 h 10000"/>
              <a:gd name="connsiteX65" fmla="*/ 2336 w 10000"/>
              <a:gd name="connsiteY65" fmla="*/ 5926 h 10000"/>
              <a:gd name="connsiteX66" fmla="*/ 2242 w 10000"/>
              <a:gd name="connsiteY66" fmla="*/ 5863 h 10000"/>
              <a:gd name="connsiteX67" fmla="*/ 2148 w 10000"/>
              <a:gd name="connsiteY67" fmla="*/ 5857 h 10000"/>
              <a:gd name="connsiteX68" fmla="*/ 2038 w 10000"/>
              <a:gd name="connsiteY68" fmla="*/ 5977 h 10000"/>
              <a:gd name="connsiteX69" fmla="*/ 1858 w 10000"/>
              <a:gd name="connsiteY69" fmla="*/ 6041 h 10000"/>
              <a:gd name="connsiteX70" fmla="*/ 1688 w 10000"/>
              <a:gd name="connsiteY70" fmla="*/ 6041 h 10000"/>
              <a:gd name="connsiteX71" fmla="*/ 1603 w 10000"/>
              <a:gd name="connsiteY71" fmla="*/ 6091 h 10000"/>
              <a:gd name="connsiteX72" fmla="*/ 1500 w 10000"/>
              <a:gd name="connsiteY72" fmla="*/ 6085 h 10000"/>
              <a:gd name="connsiteX73" fmla="*/ 1458 w 10000"/>
              <a:gd name="connsiteY73" fmla="*/ 6003 h 10000"/>
              <a:gd name="connsiteX74" fmla="*/ 1313 w 10000"/>
              <a:gd name="connsiteY74" fmla="*/ 6009 h 10000"/>
              <a:gd name="connsiteX75" fmla="*/ 1194 w 10000"/>
              <a:gd name="connsiteY75" fmla="*/ 6110 h 10000"/>
              <a:gd name="connsiteX76" fmla="*/ 1245 w 10000"/>
              <a:gd name="connsiteY76" fmla="*/ 6199 h 10000"/>
              <a:gd name="connsiteX77" fmla="*/ 1381 w 10000"/>
              <a:gd name="connsiteY77" fmla="*/ 6244 h 10000"/>
              <a:gd name="connsiteX78" fmla="*/ 1424 w 10000"/>
              <a:gd name="connsiteY78" fmla="*/ 6402 h 10000"/>
              <a:gd name="connsiteX79" fmla="*/ 1500 w 10000"/>
              <a:gd name="connsiteY79" fmla="*/ 6491 h 10000"/>
              <a:gd name="connsiteX80" fmla="*/ 1500 w 10000"/>
              <a:gd name="connsiteY80" fmla="*/ 6662 h 10000"/>
              <a:gd name="connsiteX81" fmla="*/ 1449 w 10000"/>
              <a:gd name="connsiteY81" fmla="*/ 6726 h 10000"/>
              <a:gd name="connsiteX82" fmla="*/ 1338 w 10000"/>
              <a:gd name="connsiteY82" fmla="*/ 6713 h 10000"/>
              <a:gd name="connsiteX83" fmla="*/ 1270 w 10000"/>
              <a:gd name="connsiteY83" fmla="*/ 6662 h 10000"/>
              <a:gd name="connsiteX84" fmla="*/ 1219 w 10000"/>
              <a:gd name="connsiteY84" fmla="*/ 6497 h 10000"/>
              <a:gd name="connsiteX85" fmla="*/ 1151 w 10000"/>
              <a:gd name="connsiteY85" fmla="*/ 6447 h 10000"/>
              <a:gd name="connsiteX86" fmla="*/ 963 w 10000"/>
              <a:gd name="connsiteY86" fmla="*/ 6447 h 10000"/>
              <a:gd name="connsiteX87" fmla="*/ 614 w 10000"/>
              <a:gd name="connsiteY87" fmla="*/ 6675 h 10000"/>
              <a:gd name="connsiteX88" fmla="*/ 554 w 10000"/>
              <a:gd name="connsiteY88" fmla="*/ 6834 h 10000"/>
              <a:gd name="connsiteX89" fmla="*/ 486 w 10000"/>
              <a:gd name="connsiteY89" fmla="*/ 6897 h 10000"/>
              <a:gd name="connsiteX90" fmla="*/ 486 w 10000"/>
              <a:gd name="connsiteY90" fmla="*/ 7132 h 10000"/>
              <a:gd name="connsiteX91" fmla="*/ 392 w 10000"/>
              <a:gd name="connsiteY91" fmla="*/ 7189 h 10000"/>
              <a:gd name="connsiteX92" fmla="*/ 213 w 10000"/>
              <a:gd name="connsiteY92" fmla="*/ 7189 h 10000"/>
              <a:gd name="connsiteX93" fmla="*/ 94 w 10000"/>
              <a:gd name="connsiteY93" fmla="*/ 7284 h 10000"/>
              <a:gd name="connsiteX94" fmla="*/ 68 w 10000"/>
              <a:gd name="connsiteY94" fmla="*/ 7563 h 10000"/>
              <a:gd name="connsiteX95" fmla="*/ 17 w 10000"/>
              <a:gd name="connsiteY95" fmla="*/ 7589 h 10000"/>
              <a:gd name="connsiteX96" fmla="*/ 34 w 10000"/>
              <a:gd name="connsiteY96" fmla="*/ 7684 h 10000"/>
              <a:gd name="connsiteX97" fmla="*/ 247 w 10000"/>
              <a:gd name="connsiteY97" fmla="*/ 7925 h 10000"/>
              <a:gd name="connsiteX98" fmla="*/ 239 w 10000"/>
              <a:gd name="connsiteY98" fmla="*/ 8065 h 10000"/>
              <a:gd name="connsiteX99" fmla="*/ 17 w 10000"/>
              <a:gd name="connsiteY99" fmla="*/ 8299 h 10000"/>
              <a:gd name="connsiteX100" fmla="*/ 0 w 10000"/>
              <a:gd name="connsiteY100" fmla="*/ 8534 h 10000"/>
              <a:gd name="connsiteX101" fmla="*/ 1500 w 10000"/>
              <a:gd name="connsiteY101" fmla="*/ 9448 h 10000"/>
              <a:gd name="connsiteX102" fmla="*/ 1748 w 10000"/>
              <a:gd name="connsiteY102" fmla="*/ 9867 h 10000"/>
              <a:gd name="connsiteX103" fmla="*/ 1969 w 10000"/>
              <a:gd name="connsiteY103" fmla="*/ 10000 h 10000"/>
              <a:gd name="connsiteX104" fmla="*/ 2208 w 10000"/>
              <a:gd name="connsiteY104" fmla="*/ 9511 h 10000"/>
              <a:gd name="connsiteX105" fmla="*/ 2140 w 10000"/>
              <a:gd name="connsiteY105" fmla="*/ 9169 h 10000"/>
              <a:gd name="connsiteX106" fmla="*/ 2319 w 10000"/>
              <a:gd name="connsiteY106" fmla="*/ 8718 h 10000"/>
              <a:gd name="connsiteX107" fmla="*/ 2626 w 10000"/>
              <a:gd name="connsiteY107" fmla="*/ 8534 h 10000"/>
              <a:gd name="connsiteX108" fmla="*/ 2899 w 10000"/>
              <a:gd name="connsiteY108" fmla="*/ 8236 h 10000"/>
              <a:gd name="connsiteX109" fmla="*/ 3766 w 10000"/>
              <a:gd name="connsiteY109" fmla="*/ 8177 h 10000"/>
              <a:gd name="connsiteX110" fmla="*/ 3811 w 10000"/>
              <a:gd name="connsiteY110" fmla="*/ 8515 h 10000"/>
              <a:gd name="connsiteX111" fmla="*/ 4058 w 10000"/>
              <a:gd name="connsiteY111" fmla="*/ 8871 h 10000"/>
              <a:gd name="connsiteX112" fmla="*/ 4484 w 10000"/>
              <a:gd name="connsiteY112" fmla="*/ 9004 h 10000"/>
              <a:gd name="connsiteX113" fmla="*/ 4979 w 10000"/>
              <a:gd name="connsiteY113" fmla="*/ 9486 h 10000"/>
              <a:gd name="connsiteX114" fmla="*/ 5072 w 10000"/>
              <a:gd name="connsiteY114" fmla="*/ 9543 h 10000"/>
              <a:gd name="connsiteX115" fmla="*/ 5234 w 10000"/>
              <a:gd name="connsiteY115" fmla="*/ 9549 h 10000"/>
              <a:gd name="connsiteX116" fmla="*/ 5388 w 10000"/>
              <a:gd name="connsiteY116" fmla="*/ 9461 h 10000"/>
              <a:gd name="connsiteX117" fmla="*/ 5422 w 10000"/>
              <a:gd name="connsiteY117" fmla="*/ 9181 h 10000"/>
              <a:gd name="connsiteX118" fmla="*/ 6121 w 10000"/>
              <a:gd name="connsiteY118" fmla="*/ 9016 h 10000"/>
              <a:gd name="connsiteX119" fmla="*/ 6266 w 10000"/>
              <a:gd name="connsiteY119" fmla="*/ 9036 h 10000"/>
              <a:gd name="connsiteX120" fmla="*/ 6522 w 10000"/>
              <a:gd name="connsiteY120" fmla="*/ 9251 h 10000"/>
              <a:gd name="connsiteX121" fmla="*/ 6633 w 10000"/>
              <a:gd name="connsiteY121" fmla="*/ 9239 h 10000"/>
              <a:gd name="connsiteX122" fmla="*/ 6641 w 10000"/>
              <a:gd name="connsiteY122" fmla="*/ 9112 h 10000"/>
              <a:gd name="connsiteX123" fmla="*/ 6957 w 10000"/>
              <a:gd name="connsiteY123" fmla="*/ 8959 h 10000"/>
              <a:gd name="connsiteX124" fmla="*/ 7630 w 10000"/>
              <a:gd name="connsiteY124" fmla="*/ 9048 h 10000"/>
              <a:gd name="connsiteX125" fmla="*/ 7775 w 10000"/>
              <a:gd name="connsiteY125" fmla="*/ 8915 h 10000"/>
              <a:gd name="connsiteX126" fmla="*/ 8397 w 10000"/>
              <a:gd name="connsiteY126" fmla="*/ 8991 h 10000"/>
              <a:gd name="connsiteX127" fmla="*/ 8841 w 10000"/>
              <a:gd name="connsiteY127" fmla="*/ 8934 h 10000"/>
              <a:gd name="connsiteX128" fmla="*/ 9096 w 10000"/>
              <a:gd name="connsiteY128" fmla="*/ 9016 h 10000"/>
              <a:gd name="connsiteX129" fmla="*/ 9071 w 10000"/>
              <a:gd name="connsiteY129" fmla="*/ 8274 h 10000"/>
              <a:gd name="connsiteX130" fmla="*/ 9548 w 10000"/>
              <a:gd name="connsiteY130" fmla="*/ 7475 h 10000"/>
              <a:gd name="connsiteX131" fmla="*/ 10000 w 10000"/>
              <a:gd name="connsiteY131" fmla="*/ 7113 h 10000"/>
              <a:gd name="connsiteX132" fmla="*/ 8986 w 10000"/>
              <a:gd name="connsiteY132" fmla="*/ 6174 h 10000"/>
              <a:gd name="connsiteX133" fmla="*/ 8968 w 10000"/>
              <a:gd name="connsiteY133" fmla="*/ 4886 h 10000"/>
              <a:gd name="connsiteX134" fmla="*/ 9633 w 10000"/>
              <a:gd name="connsiteY134" fmla="*/ 4638 h 10000"/>
              <a:gd name="connsiteX135" fmla="*/ 9250 w 10000"/>
              <a:gd name="connsiteY135" fmla="*/ 4575 h 10000"/>
              <a:gd name="connsiteX136" fmla="*/ 8900 w 10000"/>
              <a:gd name="connsiteY136" fmla="*/ 4093 h 10000"/>
              <a:gd name="connsiteX137" fmla="*/ 9301 w 10000"/>
              <a:gd name="connsiteY137" fmla="*/ 3763 h 10000"/>
              <a:gd name="connsiteX138" fmla="*/ 9003 w 10000"/>
              <a:gd name="connsiteY138" fmla="*/ 3433 h 10000"/>
              <a:gd name="connsiteX139" fmla="*/ 8551 w 10000"/>
              <a:gd name="connsiteY139" fmla="*/ 3718 h 10000"/>
              <a:gd name="connsiteX140" fmla="*/ 7391 w 10000"/>
              <a:gd name="connsiteY140" fmla="*/ 3433 h 10000"/>
              <a:gd name="connsiteX141" fmla="*/ 6777 w 10000"/>
              <a:gd name="connsiteY141" fmla="*/ 3084 h 10000"/>
              <a:gd name="connsiteX142" fmla="*/ 6616 w 10000"/>
              <a:gd name="connsiteY142" fmla="*/ 2354 h 10000"/>
              <a:gd name="connsiteX143" fmla="*/ 6292 w 10000"/>
              <a:gd name="connsiteY143" fmla="*/ 2202 h 10000"/>
              <a:gd name="connsiteX144" fmla="*/ 5857 w 10000"/>
              <a:gd name="connsiteY144" fmla="*/ 2132 h 10000"/>
              <a:gd name="connsiteX145" fmla="*/ 5499 w 10000"/>
              <a:gd name="connsiteY145" fmla="*/ 1739 h 10000"/>
              <a:gd name="connsiteX146" fmla="*/ 5081 w 10000"/>
              <a:gd name="connsiteY146" fmla="*/ 863 h 10000"/>
              <a:gd name="connsiteX147" fmla="*/ 4672 w 10000"/>
              <a:gd name="connsiteY147" fmla="*/ 501 h 10000"/>
              <a:gd name="connsiteX148" fmla="*/ 3905 w 10000"/>
              <a:gd name="connsiteY148" fmla="*/ 209 h 10000"/>
              <a:gd name="connsiteX149" fmla="*/ 3717 w 10000"/>
              <a:gd name="connsiteY149" fmla="*/ 0 h 10000"/>
              <a:gd name="connsiteX150" fmla="*/ 3248 w 10000"/>
              <a:gd name="connsiteY150" fmla="*/ 121 h 10000"/>
              <a:gd name="connsiteX151" fmla="*/ 2771 w 10000"/>
              <a:gd name="connsiteY151" fmla="*/ 140 h 10000"/>
              <a:gd name="connsiteX152" fmla="*/ 2148 w 10000"/>
              <a:gd name="connsiteY152" fmla="*/ 438 h 10000"/>
              <a:gd name="connsiteX153" fmla="*/ 1586 w 10000"/>
              <a:gd name="connsiteY153" fmla="*/ 451 h 10000"/>
              <a:gd name="connsiteX154" fmla="*/ 1321 w 10000"/>
              <a:gd name="connsiteY154" fmla="*/ 603 h 10000"/>
              <a:gd name="connsiteX155" fmla="*/ 776 w 10000"/>
              <a:gd name="connsiteY155" fmla="*/ 641 h 10000"/>
              <a:gd name="connsiteX0" fmla="*/ 776 w 10000"/>
              <a:gd name="connsiteY0" fmla="*/ 641 h 10000"/>
              <a:gd name="connsiteX1" fmla="*/ 1074 w 10000"/>
              <a:gd name="connsiteY1" fmla="*/ 857 h 10000"/>
              <a:gd name="connsiteX2" fmla="*/ 1091 w 10000"/>
              <a:gd name="connsiteY2" fmla="*/ 958 h 10000"/>
              <a:gd name="connsiteX3" fmla="*/ 1032 w 10000"/>
              <a:gd name="connsiteY3" fmla="*/ 1022 h 10000"/>
              <a:gd name="connsiteX4" fmla="*/ 1125 w 10000"/>
              <a:gd name="connsiteY4" fmla="*/ 1091 h 10000"/>
              <a:gd name="connsiteX5" fmla="*/ 1134 w 10000"/>
              <a:gd name="connsiteY5" fmla="*/ 1187 h 10000"/>
              <a:gd name="connsiteX6" fmla="*/ 1023 w 10000"/>
              <a:gd name="connsiteY6" fmla="*/ 1301 h 10000"/>
              <a:gd name="connsiteX7" fmla="*/ 1040 w 10000"/>
              <a:gd name="connsiteY7" fmla="*/ 1377 h 10000"/>
              <a:gd name="connsiteX8" fmla="*/ 1168 w 10000"/>
              <a:gd name="connsiteY8" fmla="*/ 1428 h 10000"/>
              <a:gd name="connsiteX9" fmla="*/ 1253 w 10000"/>
              <a:gd name="connsiteY9" fmla="*/ 1364 h 10000"/>
              <a:gd name="connsiteX10" fmla="*/ 1330 w 10000"/>
              <a:gd name="connsiteY10" fmla="*/ 1364 h 10000"/>
              <a:gd name="connsiteX11" fmla="*/ 1449 w 10000"/>
              <a:gd name="connsiteY11" fmla="*/ 1434 h 10000"/>
              <a:gd name="connsiteX12" fmla="*/ 1449 w 10000"/>
              <a:gd name="connsiteY12" fmla="*/ 1478 h 10000"/>
              <a:gd name="connsiteX13" fmla="*/ 1373 w 10000"/>
              <a:gd name="connsiteY13" fmla="*/ 1523 h 10000"/>
              <a:gd name="connsiteX14" fmla="*/ 1296 w 10000"/>
              <a:gd name="connsiteY14" fmla="*/ 1523 h 10000"/>
              <a:gd name="connsiteX15" fmla="*/ 1262 w 10000"/>
              <a:gd name="connsiteY15" fmla="*/ 1599 h 10000"/>
              <a:gd name="connsiteX16" fmla="*/ 1313 w 10000"/>
              <a:gd name="connsiteY16" fmla="*/ 1656 h 10000"/>
              <a:gd name="connsiteX17" fmla="*/ 1253 w 10000"/>
              <a:gd name="connsiteY17" fmla="*/ 1796 h 10000"/>
              <a:gd name="connsiteX18" fmla="*/ 1313 w 10000"/>
              <a:gd name="connsiteY18" fmla="*/ 1846 h 10000"/>
              <a:gd name="connsiteX19" fmla="*/ 1466 w 10000"/>
              <a:gd name="connsiteY19" fmla="*/ 1846 h 10000"/>
              <a:gd name="connsiteX20" fmla="*/ 1645 w 10000"/>
              <a:gd name="connsiteY20" fmla="*/ 1986 h 10000"/>
              <a:gd name="connsiteX21" fmla="*/ 1824 w 10000"/>
              <a:gd name="connsiteY21" fmla="*/ 1973 h 10000"/>
              <a:gd name="connsiteX22" fmla="*/ 1969 w 10000"/>
              <a:gd name="connsiteY22" fmla="*/ 2030 h 10000"/>
              <a:gd name="connsiteX23" fmla="*/ 2140 w 10000"/>
              <a:gd name="connsiteY23" fmla="*/ 2024 h 10000"/>
              <a:gd name="connsiteX24" fmla="*/ 2225 w 10000"/>
              <a:gd name="connsiteY24" fmla="*/ 2056 h 10000"/>
              <a:gd name="connsiteX25" fmla="*/ 2242 w 10000"/>
              <a:gd name="connsiteY25" fmla="*/ 2119 h 10000"/>
              <a:gd name="connsiteX26" fmla="*/ 2097 w 10000"/>
              <a:gd name="connsiteY26" fmla="*/ 2176 h 10000"/>
              <a:gd name="connsiteX27" fmla="*/ 1799 w 10000"/>
              <a:gd name="connsiteY27" fmla="*/ 2126 h 10000"/>
              <a:gd name="connsiteX28" fmla="*/ 1714 w 10000"/>
              <a:gd name="connsiteY28" fmla="*/ 2138 h 10000"/>
              <a:gd name="connsiteX29" fmla="*/ 1662 w 10000"/>
              <a:gd name="connsiteY29" fmla="*/ 2278 h 10000"/>
              <a:gd name="connsiteX30" fmla="*/ 1569 w 10000"/>
              <a:gd name="connsiteY30" fmla="*/ 2367 h 10000"/>
              <a:gd name="connsiteX31" fmla="*/ 1620 w 10000"/>
              <a:gd name="connsiteY31" fmla="*/ 2646 h 10000"/>
              <a:gd name="connsiteX32" fmla="*/ 1705 w 10000"/>
              <a:gd name="connsiteY32" fmla="*/ 2690 h 10000"/>
              <a:gd name="connsiteX33" fmla="*/ 1654 w 10000"/>
              <a:gd name="connsiteY33" fmla="*/ 2830 h 10000"/>
              <a:gd name="connsiteX34" fmla="*/ 2131 w 10000"/>
              <a:gd name="connsiteY34" fmla="*/ 2862 h 10000"/>
              <a:gd name="connsiteX35" fmla="*/ 2225 w 10000"/>
              <a:gd name="connsiteY35" fmla="*/ 2951 h 10000"/>
              <a:gd name="connsiteX36" fmla="*/ 2157 w 10000"/>
              <a:gd name="connsiteY36" fmla="*/ 3052 h 10000"/>
              <a:gd name="connsiteX37" fmla="*/ 2157 w 10000"/>
              <a:gd name="connsiteY37" fmla="*/ 3179 h 10000"/>
              <a:gd name="connsiteX38" fmla="*/ 1765 w 10000"/>
              <a:gd name="connsiteY38" fmla="*/ 3712 h 10000"/>
              <a:gd name="connsiteX39" fmla="*/ 1671 w 10000"/>
              <a:gd name="connsiteY39" fmla="*/ 3750 h 10000"/>
              <a:gd name="connsiteX40" fmla="*/ 1671 w 10000"/>
              <a:gd name="connsiteY40" fmla="*/ 3839 h 10000"/>
              <a:gd name="connsiteX41" fmla="*/ 1731 w 10000"/>
              <a:gd name="connsiteY41" fmla="*/ 3902 h 10000"/>
              <a:gd name="connsiteX42" fmla="*/ 1594 w 10000"/>
              <a:gd name="connsiteY42" fmla="*/ 4055 h 10000"/>
              <a:gd name="connsiteX43" fmla="*/ 1671 w 10000"/>
              <a:gd name="connsiteY43" fmla="*/ 4251 h 10000"/>
              <a:gd name="connsiteX44" fmla="*/ 1807 w 10000"/>
              <a:gd name="connsiteY44" fmla="*/ 4277 h 10000"/>
              <a:gd name="connsiteX45" fmla="*/ 1910 w 10000"/>
              <a:gd name="connsiteY45" fmla="*/ 4334 h 10000"/>
              <a:gd name="connsiteX46" fmla="*/ 2063 w 10000"/>
              <a:gd name="connsiteY46" fmla="*/ 4308 h 10000"/>
              <a:gd name="connsiteX47" fmla="*/ 2131 w 10000"/>
              <a:gd name="connsiteY47" fmla="*/ 4397 h 10000"/>
              <a:gd name="connsiteX48" fmla="*/ 2165 w 10000"/>
              <a:gd name="connsiteY48" fmla="*/ 4499 h 10000"/>
              <a:gd name="connsiteX49" fmla="*/ 2327 w 10000"/>
              <a:gd name="connsiteY49" fmla="*/ 4626 h 10000"/>
              <a:gd name="connsiteX50" fmla="*/ 2438 w 10000"/>
              <a:gd name="connsiteY50" fmla="*/ 4613 h 10000"/>
              <a:gd name="connsiteX51" fmla="*/ 2481 w 10000"/>
              <a:gd name="connsiteY51" fmla="*/ 4645 h 10000"/>
              <a:gd name="connsiteX52" fmla="*/ 2472 w 10000"/>
              <a:gd name="connsiteY52" fmla="*/ 4721 h 10000"/>
              <a:gd name="connsiteX53" fmla="*/ 2634 w 10000"/>
              <a:gd name="connsiteY53" fmla="*/ 4797 h 10000"/>
              <a:gd name="connsiteX54" fmla="*/ 2737 w 10000"/>
              <a:gd name="connsiteY54" fmla="*/ 4816 h 10000"/>
              <a:gd name="connsiteX55" fmla="*/ 2754 w 10000"/>
              <a:gd name="connsiteY55" fmla="*/ 4918 h 10000"/>
              <a:gd name="connsiteX56" fmla="*/ 2583 w 10000"/>
              <a:gd name="connsiteY56" fmla="*/ 5044 h 10000"/>
              <a:gd name="connsiteX57" fmla="*/ 2268 w 10000"/>
              <a:gd name="connsiteY57" fmla="*/ 5051 h 10000"/>
              <a:gd name="connsiteX58" fmla="*/ 2063 w 10000"/>
              <a:gd name="connsiteY58" fmla="*/ 4956 h 10000"/>
              <a:gd name="connsiteX59" fmla="*/ 1952 w 10000"/>
              <a:gd name="connsiteY59" fmla="*/ 4956 h 10000"/>
              <a:gd name="connsiteX60" fmla="*/ 1910 w 10000"/>
              <a:gd name="connsiteY60" fmla="*/ 4994 h 10000"/>
              <a:gd name="connsiteX61" fmla="*/ 2455 w 10000"/>
              <a:gd name="connsiteY61" fmla="*/ 5539 h 10000"/>
              <a:gd name="connsiteX62" fmla="*/ 2532 w 10000"/>
              <a:gd name="connsiteY62" fmla="*/ 5571 h 10000"/>
              <a:gd name="connsiteX63" fmla="*/ 2506 w 10000"/>
              <a:gd name="connsiteY63" fmla="*/ 5799 h 10000"/>
              <a:gd name="connsiteX64" fmla="*/ 2464 w 10000"/>
              <a:gd name="connsiteY64" fmla="*/ 5888 h 10000"/>
              <a:gd name="connsiteX65" fmla="*/ 2336 w 10000"/>
              <a:gd name="connsiteY65" fmla="*/ 5926 h 10000"/>
              <a:gd name="connsiteX66" fmla="*/ 2242 w 10000"/>
              <a:gd name="connsiteY66" fmla="*/ 5863 h 10000"/>
              <a:gd name="connsiteX67" fmla="*/ 2148 w 10000"/>
              <a:gd name="connsiteY67" fmla="*/ 5857 h 10000"/>
              <a:gd name="connsiteX68" fmla="*/ 2038 w 10000"/>
              <a:gd name="connsiteY68" fmla="*/ 5977 h 10000"/>
              <a:gd name="connsiteX69" fmla="*/ 1858 w 10000"/>
              <a:gd name="connsiteY69" fmla="*/ 6041 h 10000"/>
              <a:gd name="connsiteX70" fmla="*/ 1688 w 10000"/>
              <a:gd name="connsiteY70" fmla="*/ 6041 h 10000"/>
              <a:gd name="connsiteX71" fmla="*/ 1603 w 10000"/>
              <a:gd name="connsiteY71" fmla="*/ 6091 h 10000"/>
              <a:gd name="connsiteX72" fmla="*/ 1500 w 10000"/>
              <a:gd name="connsiteY72" fmla="*/ 6085 h 10000"/>
              <a:gd name="connsiteX73" fmla="*/ 1458 w 10000"/>
              <a:gd name="connsiteY73" fmla="*/ 6003 h 10000"/>
              <a:gd name="connsiteX74" fmla="*/ 1313 w 10000"/>
              <a:gd name="connsiteY74" fmla="*/ 6009 h 10000"/>
              <a:gd name="connsiteX75" fmla="*/ 1194 w 10000"/>
              <a:gd name="connsiteY75" fmla="*/ 6110 h 10000"/>
              <a:gd name="connsiteX76" fmla="*/ 1245 w 10000"/>
              <a:gd name="connsiteY76" fmla="*/ 6199 h 10000"/>
              <a:gd name="connsiteX77" fmla="*/ 1381 w 10000"/>
              <a:gd name="connsiteY77" fmla="*/ 6244 h 10000"/>
              <a:gd name="connsiteX78" fmla="*/ 1424 w 10000"/>
              <a:gd name="connsiteY78" fmla="*/ 6402 h 10000"/>
              <a:gd name="connsiteX79" fmla="*/ 1500 w 10000"/>
              <a:gd name="connsiteY79" fmla="*/ 6491 h 10000"/>
              <a:gd name="connsiteX80" fmla="*/ 1500 w 10000"/>
              <a:gd name="connsiteY80" fmla="*/ 6662 h 10000"/>
              <a:gd name="connsiteX81" fmla="*/ 1449 w 10000"/>
              <a:gd name="connsiteY81" fmla="*/ 6726 h 10000"/>
              <a:gd name="connsiteX82" fmla="*/ 1338 w 10000"/>
              <a:gd name="connsiteY82" fmla="*/ 6713 h 10000"/>
              <a:gd name="connsiteX83" fmla="*/ 1270 w 10000"/>
              <a:gd name="connsiteY83" fmla="*/ 6662 h 10000"/>
              <a:gd name="connsiteX84" fmla="*/ 1219 w 10000"/>
              <a:gd name="connsiteY84" fmla="*/ 6497 h 10000"/>
              <a:gd name="connsiteX85" fmla="*/ 1151 w 10000"/>
              <a:gd name="connsiteY85" fmla="*/ 6447 h 10000"/>
              <a:gd name="connsiteX86" fmla="*/ 963 w 10000"/>
              <a:gd name="connsiteY86" fmla="*/ 6447 h 10000"/>
              <a:gd name="connsiteX87" fmla="*/ 614 w 10000"/>
              <a:gd name="connsiteY87" fmla="*/ 6675 h 10000"/>
              <a:gd name="connsiteX88" fmla="*/ 554 w 10000"/>
              <a:gd name="connsiteY88" fmla="*/ 6834 h 10000"/>
              <a:gd name="connsiteX89" fmla="*/ 486 w 10000"/>
              <a:gd name="connsiteY89" fmla="*/ 6897 h 10000"/>
              <a:gd name="connsiteX90" fmla="*/ 486 w 10000"/>
              <a:gd name="connsiteY90" fmla="*/ 7132 h 10000"/>
              <a:gd name="connsiteX91" fmla="*/ 392 w 10000"/>
              <a:gd name="connsiteY91" fmla="*/ 7189 h 10000"/>
              <a:gd name="connsiteX92" fmla="*/ 213 w 10000"/>
              <a:gd name="connsiteY92" fmla="*/ 7189 h 10000"/>
              <a:gd name="connsiteX93" fmla="*/ 94 w 10000"/>
              <a:gd name="connsiteY93" fmla="*/ 7284 h 10000"/>
              <a:gd name="connsiteX94" fmla="*/ 68 w 10000"/>
              <a:gd name="connsiteY94" fmla="*/ 7563 h 10000"/>
              <a:gd name="connsiteX95" fmla="*/ 17 w 10000"/>
              <a:gd name="connsiteY95" fmla="*/ 7589 h 10000"/>
              <a:gd name="connsiteX96" fmla="*/ 34 w 10000"/>
              <a:gd name="connsiteY96" fmla="*/ 7684 h 10000"/>
              <a:gd name="connsiteX97" fmla="*/ 247 w 10000"/>
              <a:gd name="connsiteY97" fmla="*/ 7925 h 10000"/>
              <a:gd name="connsiteX98" fmla="*/ 239 w 10000"/>
              <a:gd name="connsiteY98" fmla="*/ 8065 h 10000"/>
              <a:gd name="connsiteX99" fmla="*/ 17 w 10000"/>
              <a:gd name="connsiteY99" fmla="*/ 8299 h 10000"/>
              <a:gd name="connsiteX100" fmla="*/ 0 w 10000"/>
              <a:gd name="connsiteY100" fmla="*/ 8534 h 10000"/>
              <a:gd name="connsiteX101" fmla="*/ 1500 w 10000"/>
              <a:gd name="connsiteY101" fmla="*/ 9448 h 10000"/>
              <a:gd name="connsiteX102" fmla="*/ 1748 w 10000"/>
              <a:gd name="connsiteY102" fmla="*/ 9867 h 10000"/>
              <a:gd name="connsiteX103" fmla="*/ 1969 w 10000"/>
              <a:gd name="connsiteY103" fmla="*/ 10000 h 10000"/>
              <a:gd name="connsiteX104" fmla="*/ 2208 w 10000"/>
              <a:gd name="connsiteY104" fmla="*/ 9511 h 10000"/>
              <a:gd name="connsiteX105" fmla="*/ 2140 w 10000"/>
              <a:gd name="connsiteY105" fmla="*/ 9169 h 10000"/>
              <a:gd name="connsiteX106" fmla="*/ 2319 w 10000"/>
              <a:gd name="connsiteY106" fmla="*/ 8718 h 10000"/>
              <a:gd name="connsiteX107" fmla="*/ 2626 w 10000"/>
              <a:gd name="connsiteY107" fmla="*/ 8534 h 10000"/>
              <a:gd name="connsiteX108" fmla="*/ 3118 w 10000"/>
              <a:gd name="connsiteY108" fmla="*/ 7743 h 10000"/>
              <a:gd name="connsiteX109" fmla="*/ 3766 w 10000"/>
              <a:gd name="connsiteY109" fmla="*/ 8177 h 10000"/>
              <a:gd name="connsiteX110" fmla="*/ 3811 w 10000"/>
              <a:gd name="connsiteY110" fmla="*/ 8515 h 10000"/>
              <a:gd name="connsiteX111" fmla="*/ 4058 w 10000"/>
              <a:gd name="connsiteY111" fmla="*/ 8871 h 10000"/>
              <a:gd name="connsiteX112" fmla="*/ 4484 w 10000"/>
              <a:gd name="connsiteY112" fmla="*/ 9004 h 10000"/>
              <a:gd name="connsiteX113" fmla="*/ 4979 w 10000"/>
              <a:gd name="connsiteY113" fmla="*/ 9486 h 10000"/>
              <a:gd name="connsiteX114" fmla="*/ 5072 w 10000"/>
              <a:gd name="connsiteY114" fmla="*/ 9543 h 10000"/>
              <a:gd name="connsiteX115" fmla="*/ 5234 w 10000"/>
              <a:gd name="connsiteY115" fmla="*/ 9549 h 10000"/>
              <a:gd name="connsiteX116" fmla="*/ 5388 w 10000"/>
              <a:gd name="connsiteY116" fmla="*/ 9461 h 10000"/>
              <a:gd name="connsiteX117" fmla="*/ 5422 w 10000"/>
              <a:gd name="connsiteY117" fmla="*/ 9181 h 10000"/>
              <a:gd name="connsiteX118" fmla="*/ 6121 w 10000"/>
              <a:gd name="connsiteY118" fmla="*/ 9016 h 10000"/>
              <a:gd name="connsiteX119" fmla="*/ 6266 w 10000"/>
              <a:gd name="connsiteY119" fmla="*/ 9036 h 10000"/>
              <a:gd name="connsiteX120" fmla="*/ 6522 w 10000"/>
              <a:gd name="connsiteY120" fmla="*/ 9251 h 10000"/>
              <a:gd name="connsiteX121" fmla="*/ 6633 w 10000"/>
              <a:gd name="connsiteY121" fmla="*/ 9239 h 10000"/>
              <a:gd name="connsiteX122" fmla="*/ 6641 w 10000"/>
              <a:gd name="connsiteY122" fmla="*/ 9112 h 10000"/>
              <a:gd name="connsiteX123" fmla="*/ 6957 w 10000"/>
              <a:gd name="connsiteY123" fmla="*/ 8959 h 10000"/>
              <a:gd name="connsiteX124" fmla="*/ 7630 w 10000"/>
              <a:gd name="connsiteY124" fmla="*/ 9048 h 10000"/>
              <a:gd name="connsiteX125" fmla="*/ 7775 w 10000"/>
              <a:gd name="connsiteY125" fmla="*/ 8915 h 10000"/>
              <a:gd name="connsiteX126" fmla="*/ 8397 w 10000"/>
              <a:gd name="connsiteY126" fmla="*/ 8991 h 10000"/>
              <a:gd name="connsiteX127" fmla="*/ 8841 w 10000"/>
              <a:gd name="connsiteY127" fmla="*/ 8934 h 10000"/>
              <a:gd name="connsiteX128" fmla="*/ 9096 w 10000"/>
              <a:gd name="connsiteY128" fmla="*/ 9016 h 10000"/>
              <a:gd name="connsiteX129" fmla="*/ 9071 w 10000"/>
              <a:gd name="connsiteY129" fmla="*/ 8274 h 10000"/>
              <a:gd name="connsiteX130" fmla="*/ 9548 w 10000"/>
              <a:gd name="connsiteY130" fmla="*/ 7475 h 10000"/>
              <a:gd name="connsiteX131" fmla="*/ 10000 w 10000"/>
              <a:gd name="connsiteY131" fmla="*/ 7113 h 10000"/>
              <a:gd name="connsiteX132" fmla="*/ 8986 w 10000"/>
              <a:gd name="connsiteY132" fmla="*/ 6174 h 10000"/>
              <a:gd name="connsiteX133" fmla="*/ 8968 w 10000"/>
              <a:gd name="connsiteY133" fmla="*/ 4886 h 10000"/>
              <a:gd name="connsiteX134" fmla="*/ 9633 w 10000"/>
              <a:gd name="connsiteY134" fmla="*/ 4638 h 10000"/>
              <a:gd name="connsiteX135" fmla="*/ 9250 w 10000"/>
              <a:gd name="connsiteY135" fmla="*/ 4575 h 10000"/>
              <a:gd name="connsiteX136" fmla="*/ 8900 w 10000"/>
              <a:gd name="connsiteY136" fmla="*/ 4093 h 10000"/>
              <a:gd name="connsiteX137" fmla="*/ 9301 w 10000"/>
              <a:gd name="connsiteY137" fmla="*/ 3763 h 10000"/>
              <a:gd name="connsiteX138" fmla="*/ 9003 w 10000"/>
              <a:gd name="connsiteY138" fmla="*/ 3433 h 10000"/>
              <a:gd name="connsiteX139" fmla="*/ 8551 w 10000"/>
              <a:gd name="connsiteY139" fmla="*/ 3718 h 10000"/>
              <a:gd name="connsiteX140" fmla="*/ 7391 w 10000"/>
              <a:gd name="connsiteY140" fmla="*/ 3433 h 10000"/>
              <a:gd name="connsiteX141" fmla="*/ 6777 w 10000"/>
              <a:gd name="connsiteY141" fmla="*/ 3084 h 10000"/>
              <a:gd name="connsiteX142" fmla="*/ 6616 w 10000"/>
              <a:gd name="connsiteY142" fmla="*/ 2354 h 10000"/>
              <a:gd name="connsiteX143" fmla="*/ 6292 w 10000"/>
              <a:gd name="connsiteY143" fmla="*/ 2202 h 10000"/>
              <a:gd name="connsiteX144" fmla="*/ 5857 w 10000"/>
              <a:gd name="connsiteY144" fmla="*/ 2132 h 10000"/>
              <a:gd name="connsiteX145" fmla="*/ 5499 w 10000"/>
              <a:gd name="connsiteY145" fmla="*/ 1739 h 10000"/>
              <a:gd name="connsiteX146" fmla="*/ 5081 w 10000"/>
              <a:gd name="connsiteY146" fmla="*/ 863 h 10000"/>
              <a:gd name="connsiteX147" fmla="*/ 4672 w 10000"/>
              <a:gd name="connsiteY147" fmla="*/ 501 h 10000"/>
              <a:gd name="connsiteX148" fmla="*/ 3905 w 10000"/>
              <a:gd name="connsiteY148" fmla="*/ 209 h 10000"/>
              <a:gd name="connsiteX149" fmla="*/ 3717 w 10000"/>
              <a:gd name="connsiteY149" fmla="*/ 0 h 10000"/>
              <a:gd name="connsiteX150" fmla="*/ 3248 w 10000"/>
              <a:gd name="connsiteY150" fmla="*/ 121 h 10000"/>
              <a:gd name="connsiteX151" fmla="*/ 2771 w 10000"/>
              <a:gd name="connsiteY151" fmla="*/ 140 h 10000"/>
              <a:gd name="connsiteX152" fmla="*/ 2148 w 10000"/>
              <a:gd name="connsiteY152" fmla="*/ 438 h 10000"/>
              <a:gd name="connsiteX153" fmla="*/ 1586 w 10000"/>
              <a:gd name="connsiteY153" fmla="*/ 451 h 10000"/>
              <a:gd name="connsiteX154" fmla="*/ 1321 w 10000"/>
              <a:gd name="connsiteY154" fmla="*/ 603 h 10000"/>
              <a:gd name="connsiteX155" fmla="*/ 776 w 10000"/>
              <a:gd name="connsiteY155" fmla="*/ 641 h 10000"/>
              <a:gd name="connsiteX0" fmla="*/ 776 w 10000"/>
              <a:gd name="connsiteY0" fmla="*/ 641 h 10000"/>
              <a:gd name="connsiteX1" fmla="*/ 1074 w 10000"/>
              <a:gd name="connsiteY1" fmla="*/ 857 h 10000"/>
              <a:gd name="connsiteX2" fmla="*/ 1091 w 10000"/>
              <a:gd name="connsiteY2" fmla="*/ 958 h 10000"/>
              <a:gd name="connsiteX3" fmla="*/ 1032 w 10000"/>
              <a:gd name="connsiteY3" fmla="*/ 1022 h 10000"/>
              <a:gd name="connsiteX4" fmla="*/ 1125 w 10000"/>
              <a:gd name="connsiteY4" fmla="*/ 1091 h 10000"/>
              <a:gd name="connsiteX5" fmla="*/ 1134 w 10000"/>
              <a:gd name="connsiteY5" fmla="*/ 1187 h 10000"/>
              <a:gd name="connsiteX6" fmla="*/ 1023 w 10000"/>
              <a:gd name="connsiteY6" fmla="*/ 1301 h 10000"/>
              <a:gd name="connsiteX7" fmla="*/ 1040 w 10000"/>
              <a:gd name="connsiteY7" fmla="*/ 1377 h 10000"/>
              <a:gd name="connsiteX8" fmla="*/ 1168 w 10000"/>
              <a:gd name="connsiteY8" fmla="*/ 1428 h 10000"/>
              <a:gd name="connsiteX9" fmla="*/ 1253 w 10000"/>
              <a:gd name="connsiteY9" fmla="*/ 1364 h 10000"/>
              <a:gd name="connsiteX10" fmla="*/ 1330 w 10000"/>
              <a:gd name="connsiteY10" fmla="*/ 1364 h 10000"/>
              <a:gd name="connsiteX11" fmla="*/ 1449 w 10000"/>
              <a:gd name="connsiteY11" fmla="*/ 1434 h 10000"/>
              <a:gd name="connsiteX12" fmla="*/ 1449 w 10000"/>
              <a:gd name="connsiteY12" fmla="*/ 1478 h 10000"/>
              <a:gd name="connsiteX13" fmla="*/ 1373 w 10000"/>
              <a:gd name="connsiteY13" fmla="*/ 1523 h 10000"/>
              <a:gd name="connsiteX14" fmla="*/ 1296 w 10000"/>
              <a:gd name="connsiteY14" fmla="*/ 1523 h 10000"/>
              <a:gd name="connsiteX15" fmla="*/ 1262 w 10000"/>
              <a:gd name="connsiteY15" fmla="*/ 1599 h 10000"/>
              <a:gd name="connsiteX16" fmla="*/ 1313 w 10000"/>
              <a:gd name="connsiteY16" fmla="*/ 1656 h 10000"/>
              <a:gd name="connsiteX17" fmla="*/ 1253 w 10000"/>
              <a:gd name="connsiteY17" fmla="*/ 1796 h 10000"/>
              <a:gd name="connsiteX18" fmla="*/ 1313 w 10000"/>
              <a:gd name="connsiteY18" fmla="*/ 1846 h 10000"/>
              <a:gd name="connsiteX19" fmla="*/ 1466 w 10000"/>
              <a:gd name="connsiteY19" fmla="*/ 1846 h 10000"/>
              <a:gd name="connsiteX20" fmla="*/ 1645 w 10000"/>
              <a:gd name="connsiteY20" fmla="*/ 1986 h 10000"/>
              <a:gd name="connsiteX21" fmla="*/ 1824 w 10000"/>
              <a:gd name="connsiteY21" fmla="*/ 1973 h 10000"/>
              <a:gd name="connsiteX22" fmla="*/ 1969 w 10000"/>
              <a:gd name="connsiteY22" fmla="*/ 2030 h 10000"/>
              <a:gd name="connsiteX23" fmla="*/ 2140 w 10000"/>
              <a:gd name="connsiteY23" fmla="*/ 2024 h 10000"/>
              <a:gd name="connsiteX24" fmla="*/ 2225 w 10000"/>
              <a:gd name="connsiteY24" fmla="*/ 2056 h 10000"/>
              <a:gd name="connsiteX25" fmla="*/ 2242 w 10000"/>
              <a:gd name="connsiteY25" fmla="*/ 2119 h 10000"/>
              <a:gd name="connsiteX26" fmla="*/ 2097 w 10000"/>
              <a:gd name="connsiteY26" fmla="*/ 2176 h 10000"/>
              <a:gd name="connsiteX27" fmla="*/ 1799 w 10000"/>
              <a:gd name="connsiteY27" fmla="*/ 2126 h 10000"/>
              <a:gd name="connsiteX28" fmla="*/ 1714 w 10000"/>
              <a:gd name="connsiteY28" fmla="*/ 2138 h 10000"/>
              <a:gd name="connsiteX29" fmla="*/ 1662 w 10000"/>
              <a:gd name="connsiteY29" fmla="*/ 2278 h 10000"/>
              <a:gd name="connsiteX30" fmla="*/ 1569 w 10000"/>
              <a:gd name="connsiteY30" fmla="*/ 2367 h 10000"/>
              <a:gd name="connsiteX31" fmla="*/ 1620 w 10000"/>
              <a:gd name="connsiteY31" fmla="*/ 2646 h 10000"/>
              <a:gd name="connsiteX32" fmla="*/ 1705 w 10000"/>
              <a:gd name="connsiteY32" fmla="*/ 2690 h 10000"/>
              <a:gd name="connsiteX33" fmla="*/ 1654 w 10000"/>
              <a:gd name="connsiteY33" fmla="*/ 2830 h 10000"/>
              <a:gd name="connsiteX34" fmla="*/ 2131 w 10000"/>
              <a:gd name="connsiteY34" fmla="*/ 2862 h 10000"/>
              <a:gd name="connsiteX35" fmla="*/ 2225 w 10000"/>
              <a:gd name="connsiteY35" fmla="*/ 2951 h 10000"/>
              <a:gd name="connsiteX36" fmla="*/ 2157 w 10000"/>
              <a:gd name="connsiteY36" fmla="*/ 3052 h 10000"/>
              <a:gd name="connsiteX37" fmla="*/ 2157 w 10000"/>
              <a:gd name="connsiteY37" fmla="*/ 3179 h 10000"/>
              <a:gd name="connsiteX38" fmla="*/ 1765 w 10000"/>
              <a:gd name="connsiteY38" fmla="*/ 3712 h 10000"/>
              <a:gd name="connsiteX39" fmla="*/ 1671 w 10000"/>
              <a:gd name="connsiteY39" fmla="*/ 3750 h 10000"/>
              <a:gd name="connsiteX40" fmla="*/ 1671 w 10000"/>
              <a:gd name="connsiteY40" fmla="*/ 3839 h 10000"/>
              <a:gd name="connsiteX41" fmla="*/ 1731 w 10000"/>
              <a:gd name="connsiteY41" fmla="*/ 3902 h 10000"/>
              <a:gd name="connsiteX42" fmla="*/ 1594 w 10000"/>
              <a:gd name="connsiteY42" fmla="*/ 4055 h 10000"/>
              <a:gd name="connsiteX43" fmla="*/ 1671 w 10000"/>
              <a:gd name="connsiteY43" fmla="*/ 4251 h 10000"/>
              <a:gd name="connsiteX44" fmla="*/ 1807 w 10000"/>
              <a:gd name="connsiteY44" fmla="*/ 4277 h 10000"/>
              <a:gd name="connsiteX45" fmla="*/ 1910 w 10000"/>
              <a:gd name="connsiteY45" fmla="*/ 4334 h 10000"/>
              <a:gd name="connsiteX46" fmla="*/ 2063 w 10000"/>
              <a:gd name="connsiteY46" fmla="*/ 4308 h 10000"/>
              <a:gd name="connsiteX47" fmla="*/ 2131 w 10000"/>
              <a:gd name="connsiteY47" fmla="*/ 4397 h 10000"/>
              <a:gd name="connsiteX48" fmla="*/ 2165 w 10000"/>
              <a:gd name="connsiteY48" fmla="*/ 4499 h 10000"/>
              <a:gd name="connsiteX49" fmla="*/ 2327 w 10000"/>
              <a:gd name="connsiteY49" fmla="*/ 4626 h 10000"/>
              <a:gd name="connsiteX50" fmla="*/ 2438 w 10000"/>
              <a:gd name="connsiteY50" fmla="*/ 4613 h 10000"/>
              <a:gd name="connsiteX51" fmla="*/ 2481 w 10000"/>
              <a:gd name="connsiteY51" fmla="*/ 4645 h 10000"/>
              <a:gd name="connsiteX52" fmla="*/ 2472 w 10000"/>
              <a:gd name="connsiteY52" fmla="*/ 4721 h 10000"/>
              <a:gd name="connsiteX53" fmla="*/ 2634 w 10000"/>
              <a:gd name="connsiteY53" fmla="*/ 4797 h 10000"/>
              <a:gd name="connsiteX54" fmla="*/ 2737 w 10000"/>
              <a:gd name="connsiteY54" fmla="*/ 4816 h 10000"/>
              <a:gd name="connsiteX55" fmla="*/ 2754 w 10000"/>
              <a:gd name="connsiteY55" fmla="*/ 4918 h 10000"/>
              <a:gd name="connsiteX56" fmla="*/ 2583 w 10000"/>
              <a:gd name="connsiteY56" fmla="*/ 5044 h 10000"/>
              <a:gd name="connsiteX57" fmla="*/ 2268 w 10000"/>
              <a:gd name="connsiteY57" fmla="*/ 5051 h 10000"/>
              <a:gd name="connsiteX58" fmla="*/ 2063 w 10000"/>
              <a:gd name="connsiteY58" fmla="*/ 4956 h 10000"/>
              <a:gd name="connsiteX59" fmla="*/ 1952 w 10000"/>
              <a:gd name="connsiteY59" fmla="*/ 4956 h 10000"/>
              <a:gd name="connsiteX60" fmla="*/ 1910 w 10000"/>
              <a:gd name="connsiteY60" fmla="*/ 4994 h 10000"/>
              <a:gd name="connsiteX61" fmla="*/ 2455 w 10000"/>
              <a:gd name="connsiteY61" fmla="*/ 5539 h 10000"/>
              <a:gd name="connsiteX62" fmla="*/ 2532 w 10000"/>
              <a:gd name="connsiteY62" fmla="*/ 5571 h 10000"/>
              <a:gd name="connsiteX63" fmla="*/ 2506 w 10000"/>
              <a:gd name="connsiteY63" fmla="*/ 5799 h 10000"/>
              <a:gd name="connsiteX64" fmla="*/ 2464 w 10000"/>
              <a:gd name="connsiteY64" fmla="*/ 5888 h 10000"/>
              <a:gd name="connsiteX65" fmla="*/ 2336 w 10000"/>
              <a:gd name="connsiteY65" fmla="*/ 5926 h 10000"/>
              <a:gd name="connsiteX66" fmla="*/ 2242 w 10000"/>
              <a:gd name="connsiteY66" fmla="*/ 5863 h 10000"/>
              <a:gd name="connsiteX67" fmla="*/ 2148 w 10000"/>
              <a:gd name="connsiteY67" fmla="*/ 5857 h 10000"/>
              <a:gd name="connsiteX68" fmla="*/ 2038 w 10000"/>
              <a:gd name="connsiteY68" fmla="*/ 5977 h 10000"/>
              <a:gd name="connsiteX69" fmla="*/ 1858 w 10000"/>
              <a:gd name="connsiteY69" fmla="*/ 6041 h 10000"/>
              <a:gd name="connsiteX70" fmla="*/ 1688 w 10000"/>
              <a:gd name="connsiteY70" fmla="*/ 6041 h 10000"/>
              <a:gd name="connsiteX71" fmla="*/ 1603 w 10000"/>
              <a:gd name="connsiteY71" fmla="*/ 6091 h 10000"/>
              <a:gd name="connsiteX72" fmla="*/ 1500 w 10000"/>
              <a:gd name="connsiteY72" fmla="*/ 6085 h 10000"/>
              <a:gd name="connsiteX73" fmla="*/ 1458 w 10000"/>
              <a:gd name="connsiteY73" fmla="*/ 6003 h 10000"/>
              <a:gd name="connsiteX74" fmla="*/ 1313 w 10000"/>
              <a:gd name="connsiteY74" fmla="*/ 6009 h 10000"/>
              <a:gd name="connsiteX75" fmla="*/ 1194 w 10000"/>
              <a:gd name="connsiteY75" fmla="*/ 6110 h 10000"/>
              <a:gd name="connsiteX76" fmla="*/ 1245 w 10000"/>
              <a:gd name="connsiteY76" fmla="*/ 6199 h 10000"/>
              <a:gd name="connsiteX77" fmla="*/ 1381 w 10000"/>
              <a:gd name="connsiteY77" fmla="*/ 6244 h 10000"/>
              <a:gd name="connsiteX78" fmla="*/ 1424 w 10000"/>
              <a:gd name="connsiteY78" fmla="*/ 6402 h 10000"/>
              <a:gd name="connsiteX79" fmla="*/ 1500 w 10000"/>
              <a:gd name="connsiteY79" fmla="*/ 6491 h 10000"/>
              <a:gd name="connsiteX80" fmla="*/ 1500 w 10000"/>
              <a:gd name="connsiteY80" fmla="*/ 6662 h 10000"/>
              <a:gd name="connsiteX81" fmla="*/ 1449 w 10000"/>
              <a:gd name="connsiteY81" fmla="*/ 6726 h 10000"/>
              <a:gd name="connsiteX82" fmla="*/ 1338 w 10000"/>
              <a:gd name="connsiteY82" fmla="*/ 6713 h 10000"/>
              <a:gd name="connsiteX83" fmla="*/ 1270 w 10000"/>
              <a:gd name="connsiteY83" fmla="*/ 6662 h 10000"/>
              <a:gd name="connsiteX84" fmla="*/ 1219 w 10000"/>
              <a:gd name="connsiteY84" fmla="*/ 6497 h 10000"/>
              <a:gd name="connsiteX85" fmla="*/ 1151 w 10000"/>
              <a:gd name="connsiteY85" fmla="*/ 6447 h 10000"/>
              <a:gd name="connsiteX86" fmla="*/ 963 w 10000"/>
              <a:gd name="connsiteY86" fmla="*/ 6447 h 10000"/>
              <a:gd name="connsiteX87" fmla="*/ 614 w 10000"/>
              <a:gd name="connsiteY87" fmla="*/ 6675 h 10000"/>
              <a:gd name="connsiteX88" fmla="*/ 554 w 10000"/>
              <a:gd name="connsiteY88" fmla="*/ 6834 h 10000"/>
              <a:gd name="connsiteX89" fmla="*/ 486 w 10000"/>
              <a:gd name="connsiteY89" fmla="*/ 6897 h 10000"/>
              <a:gd name="connsiteX90" fmla="*/ 486 w 10000"/>
              <a:gd name="connsiteY90" fmla="*/ 7132 h 10000"/>
              <a:gd name="connsiteX91" fmla="*/ 392 w 10000"/>
              <a:gd name="connsiteY91" fmla="*/ 7189 h 10000"/>
              <a:gd name="connsiteX92" fmla="*/ 213 w 10000"/>
              <a:gd name="connsiteY92" fmla="*/ 7189 h 10000"/>
              <a:gd name="connsiteX93" fmla="*/ 94 w 10000"/>
              <a:gd name="connsiteY93" fmla="*/ 7284 h 10000"/>
              <a:gd name="connsiteX94" fmla="*/ 68 w 10000"/>
              <a:gd name="connsiteY94" fmla="*/ 7563 h 10000"/>
              <a:gd name="connsiteX95" fmla="*/ 17 w 10000"/>
              <a:gd name="connsiteY95" fmla="*/ 7589 h 10000"/>
              <a:gd name="connsiteX96" fmla="*/ 34 w 10000"/>
              <a:gd name="connsiteY96" fmla="*/ 7684 h 10000"/>
              <a:gd name="connsiteX97" fmla="*/ 247 w 10000"/>
              <a:gd name="connsiteY97" fmla="*/ 7925 h 10000"/>
              <a:gd name="connsiteX98" fmla="*/ 239 w 10000"/>
              <a:gd name="connsiteY98" fmla="*/ 8065 h 10000"/>
              <a:gd name="connsiteX99" fmla="*/ 17 w 10000"/>
              <a:gd name="connsiteY99" fmla="*/ 8299 h 10000"/>
              <a:gd name="connsiteX100" fmla="*/ 0 w 10000"/>
              <a:gd name="connsiteY100" fmla="*/ 8534 h 10000"/>
              <a:gd name="connsiteX101" fmla="*/ 1500 w 10000"/>
              <a:gd name="connsiteY101" fmla="*/ 9448 h 10000"/>
              <a:gd name="connsiteX102" fmla="*/ 1748 w 10000"/>
              <a:gd name="connsiteY102" fmla="*/ 9867 h 10000"/>
              <a:gd name="connsiteX103" fmla="*/ 1969 w 10000"/>
              <a:gd name="connsiteY103" fmla="*/ 10000 h 10000"/>
              <a:gd name="connsiteX104" fmla="*/ 2208 w 10000"/>
              <a:gd name="connsiteY104" fmla="*/ 9511 h 10000"/>
              <a:gd name="connsiteX105" fmla="*/ 2140 w 10000"/>
              <a:gd name="connsiteY105" fmla="*/ 9169 h 10000"/>
              <a:gd name="connsiteX106" fmla="*/ 2319 w 10000"/>
              <a:gd name="connsiteY106" fmla="*/ 8718 h 10000"/>
              <a:gd name="connsiteX107" fmla="*/ 2946 w 10000"/>
              <a:gd name="connsiteY107" fmla="*/ 7241 h 10000"/>
              <a:gd name="connsiteX108" fmla="*/ 3118 w 10000"/>
              <a:gd name="connsiteY108" fmla="*/ 7743 h 10000"/>
              <a:gd name="connsiteX109" fmla="*/ 3766 w 10000"/>
              <a:gd name="connsiteY109" fmla="*/ 8177 h 10000"/>
              <a:gd name="connsiteX110" fmla="*/ 3811 w 10000"/>
              <a:gd name="connsiteY110" fmla="*/ 8515 h 10000"/>
              <a:gd name="connsiteX111" fmla="*/ 4058 w 10000"/>
              <a:gd name="connsiteY111" fmla="*/ 8871 h 10000"/>
              <a:gd name="connsiteX112" fmla="*/ 4484 w 10000"/>
              <a:gd name="connsiteY112" fmla="*/ 9004 h 10000"/>
              <a:gd name="connsiteX113" fmla="*/ 4979 w 10000"/>
              <a:gd name="connsiteY113" fmla="*/ 9486 h 10000"/>
              <a:gd name="connsiteX114" fmla="*/ 5072 w 10000"/>
              <a:gd name="connsiteY114" fmla="*/ 9543 h 10000"/>
              <a:gd name="connsiteX115" fmla="*/ 5234 w 10000"/>
              <a:gd name="connsiteY115" fmla="*/ 9549 h 10000"/>
              <a:gd name="connsiteX116" fmla="*/ 5388 w 10000"/>
              <a:gd name="connsiteY116" fmla="*/ 9461 h 10000"/>
              <a:gd name="connsiteX117" fmla="*/ 5422 w 10000"/>
              <a:gd name="connsiteY117" fmla="*/ 9181 h 10000"/>
              <a:gd name="connsiteX118" fmla="*/ 6121 w 10000"/>
              <a:gd name="connsiteY118" fmla="*/ 9016 h 10000"/>
              <a:gd name="connsiteX119" fmla="*/ 6266 w 10000"/>
              <a:gd name="connsiteY119" fmla="*/ 9036 h 10000"/>
              <a:gd name="connsiteX120" fmla="*/ 6522 w 10000"/>
              <a:gd name="connsiteY120" fmla="*/ 9251 h 10000"/>
              <a:gd name="connsiteX121" fmla="*/ 6633 w 10000"/>
              <a:gd name="connsiteY121" fmla="*/ 9239 h 10000"/>
              <a:gd name="connsiteX122" fmla="*/ 6641 w 10000"/>
              <a:gd name="connsiteY122" fmla="*/ 9112 h 10000"/>
              <a:gd name="connsiteX123" fmla="*/ 6957 w 10000"/>
              <a:gd name="connsiteY123" fmla="*/ 8959 h 10000"/>
              <a:gd name="connsiteX124" fmla="*/ 7630 w 10000"/>
              <a:gd name="connsiteY124" fmla="*/ 9048 h 10000"/>
              <a:gd name="connsiteX125" fmla="*/ 7775 w 10000"/>
              <a:gd name="connsiteY125" fmla="*/ 8915 h 10000"/>
              <a:gd name="connsiteX126" fmla="*/ 8397 w 10000"/>
              <a:gd name="connsiteY126" fmla="*/ 8991 h 10000"/>
              <a:gd name="connsiteX127" fmla="*/ 8841 w 10000"/>
              <a:gd name="connsiteY127" fmla="*/ 8934 h 10000"/>
              <a:gd name="connsiteX128" fmla="*/ 9096 w 10000"/>
              <a:gd name="connsiteY128" fmla="*/ 9016 h 10000"/>
              <a:gd name="connsiteX129" fmla="*/ 9071 w 10000"/>
              <a:gd name="connsiteY129" fmla="*/ 8274 h 10000"/>
              <a:gd name="connsiteX130" fmla="*/ 9548 w 10000"/>
              <a:gd name="connsiteY130" fmla="*/ 7475 h 10000"/>
              <a:gd name="connsiteX131" fmla="*/ 10000 w 10000"/>
              <a:gd name="connsiteY131" fmla="*/ 7113 h 10000"/>
              <a:gd name="connsiteX132" fmla="*/ 8986 w 10000"/>
              <a:gd name="connsiteY132" fmla="*/ 6174 h 10000"/>
              <a:gd name="connsiteX133" fmla="*/ 8968 w 10000"/>
              <a:gd name="connsiteY133" fmla="*/ 4886 h 10000"/>
              <a:gd name="connsiteX134" fmla="*/ 9633 w 10000"/>
              <a:gd name="connsiteY134" fmla="*/ 4638 h 10000"/>
              <a:gd name="connsiteX135" fmla="*/ 9250 w 10000"/>
              <a:gd name="connsiteY135" fmla="*/ 4575 h 10000"/>
              <a:gd name="connsiteX136" fmla="*/ 8900 w 10000"/>
              <a:gd name="connsiteY136" fmla="*/ 4093 h 10000"/>
              <a:gd name="connsiteX137" fmla="*/ 9301 w 10000"/>
              <a:gd name="connsiteY137" fmla="*/ 3763 h 10000"/>
              <a:gd name="connsiteX138" fmla="*/ 9003 w 10000"/>
              <a:gd name="connsiteY138" fmla="*/ 3433 h 10000"/>
              <a:gd name="connsiteX139" fmla="*/ 8551 w 10000"/>
              <a:gd name="connsiteY139" fmla="*/ 3718 h 10000"/>
              <a:gd name="connsiteX140" fmla="*/ 7391 w 10000"/>
              <a:gd name="connsiteY140" fmla="*/ 3433 h 10000"/>
              <a:gd name="connsiteX141" fmla="*/ 6777 w 10000"/>
              <a:gd name="connsiteY141" fmla="*/ 3084 h 10000"/>
              <a:gd name="connsiteX142" fmla="*/ 6616 w 10000"/>
              <a:gd name="connsiteY142" fmla="*/ 2354 h 10000"/>
              <a:gd name="connsiteX143" fmla="*/ 6292 w 10000"/>
              <a:gd name="connsiteY143" fmla="*/ 2202 h 10000"/>
              <a:gd name="connsiteX144" fmla="*/ 5857 w 10000"/>
              <a:gd name="connsiteY144" fmla="*/ 2132 h 10000"/>
              <a:gd name="connsiteX145" fmla="*/ 5499 w 10000"/>
              <a:gd name="connsiteY145" fmla="*/ 1739 h 10000"/>
              <a:gd name="connsiteX146" fmla="*/ 5081 w 10000"/>
              <a:gd name="connsiteY146" fmla="*/ 863 h 10000"/>
              <a:gd name="connsiteX147" fmla="*/ 4672 w 10000"/>
              <a:gd name="connsiteY147" fmla="*/ 501 h 10000"/>
              <a:gd name="connsiteX148" fmla="*/ 3905 w 10000"/>
              <a:gd name="connsiteY148" fmla="*/ 209 h 10000"/>
              <a:gd name="connsiteX149" fmla="*/ 3717 w 10000"/>
              <a:gd name="connsiteY149" fmla="*/ 0 h 10000"/>
              <a:gd name="connsiteX150" fmla="*/ 3248 w 10000"/>
              <a:gd name="connsiteY150" fmla="*/ 121 h 10000"/>
              <a:gd name="connsiteX151" fmla="*/ 2771 w 10000"/>
              <a:gd name="connsiteY151" fmla="*/ 140 h 10000"/>
              <a:gd name="connsiteX152" fmla="*/ 2148 w 10000"/>
              <a:gd name="connsiteY152" fmla="*/ 438 h 10000"/>
              <a:gd name="connsiteX153" fmla="*/ 1586 w 10000"/>
              <a:gd name="connsiteY153" fmla="*/ 451 h 10000"/>
              <a:gd name="connsiteX154" fmla="*/ 1321 w 10000"/>
              <a:gd name="connsiteY154" fmla="*/ 603 h 10000"/>
              <a:gd name="connsiteX155" fmla="*/ 776 w 10000"/>
              <a:gd name="connsiteY155" fmla="*/ 641 h 10000"/>
              <a:gd name="connsiteX0" fmla="*/ 776 w 10000"/>
              <a:gd name="connsiteY0" fmla="*/ 641 h 10000"/>
              <a:gd name="connsiteX1" fmla="*/ 1074 w 10000"/>
              <a:gd name="connsiteY1" fmla="*/ 857 h 10000"/>
              <a:gd name="connsiteX2" fmla="*/ 1091 w 10000"/>
              <a:gd name="connsiteY2" fmla="*/ 958 h 10000"/>
              <a:gd name="connsiteX3" fmla="*/ 1032 w 10000"/>
              <a:gd name="connsiteY3" fmla="*/ 1022 h 10000"/>
              <a:gd name="connsiteX4" fmla="*/ 1125 w 10000"/>
              <a:gd name="connsiteY4" fmla="*/ 1091 h 10000"/>
              <a:gd name="connsiteX5" fmla="*/ 1134 w 10000"/>
              <a:gd name="connsiteY5" fmla="*/ 1187 h 10000"/>
              <a:gd name="connsiteX6" fmla="*/ 1023 w 10000"/>
              <a:gd name="connsiteY6" fmla="*/ 1301 h 10000"/>
              <a:gd name="connsiteX7" fmla="*/ 1040 w 10000"/>
              <a:gd name="connsiteY7" fmla="*/ 1377 h 10000"/>
              <a:gd name="connsiteX8" fmla="*/ 1168 w 10000"/>
              <a:gd name="connsiteY8" fmla="*/ 1428 h 10000"/>
              <a:gd name="connsiteX9" fmla="*/ 1253 w 10000"/>
              <a:gd name="connsiteY9" fmla="*/ 1364 h 10000"/>
              <a:gd name="connsiteX10" fmla="*/ 1330 w 10000"/>
              <a:gd name="connsiteY10" fmla="*/ 1364 h 10000"/>
              <a:gd name="connsiteX11" fmla="*/ 1449 w 10000"/>
              <a:gd name="connsiteY11" fmla="*/ 1434 h 10000"/>
              <a:gd name="connsiteX12" fmla="*/ 1449 w 10000"/>
              <a:gd name="connsiteY12" fmla="*/ 1478 h 10000"/>
              <a:gd name="connsiteX13" fmla="*/ 1373 w 10000"/>
              <a:gd name="connsiteY13" fmla="*/ 1523 h 10000"/>
              <a:gd name="connsiteX14" fmla="*/ 1296 w 10000"/>
              <a:gd name="connsiteY14" fmla="*/ 1523 h 10000"/>
              <a:gd name="connsiteX15" fmla="*/ 1262 w 10000"/>
              <a:gd name="connsiteY15" fmla="*/ 1599 h 10000"/>
              <a:gd name="connsiteX16" fmla="*/ 1313 w 10000"/>
              <a:gd name="connsiteY16" fmla="*/ 1656 h 10000"/>
              <a:gd name="connsiteX17" fmla="*/ 1253 w 10000"/>
              <a:gd name="connsiteY17" fmla="*/ 1796 h 10000"/>
              <a:gd name="connsiteX18" fmla="*/ 1313 w 10000"/>
              <a:gd name="connsiteY18" fmla="*/ 1846 h 10000"/>
              <a:gd name="connsiteX19" fmla="*/ 1466 w 10000"/>
              <a:gd name="connsiteY19" fmla="*/ 1846 h 10000"/>
              <a:gd name="connsiteX20" fmla="*/ 1645 w 10000"/>
              <a:gd name="connsiteY20" fmla="*/ 1986 h 10000"/>
              <a:gd name="connsiteX21" fmla="*/ 1824 w 10000"/>
              <a:gd name="connsiteY21" fmla="*/ 1973 h 10000"/>
              <a:gd name="connsiteX22" fmla="*/ 1969 w 10000"/>
              <a:gd name="connsiteY22" fmla="*/ 2030 h 10000"/>
              <a:gd name="connsiteX23" fmla="*/ 2140 w 10000"/>
              <a:gd name="connsiteY23" fmla="*/ 2024 h 10000"/>
              <a:gd name="connsiteX24" fmla="*/ 2225 w 10000"/>
              <a:gd name="connsiteY24" fmla="*/ 2056 h 10000"/>
              <a:gd name="connsiteX25" fmla="*/ 2242 w 10000"/>
              <a:gd name="connsiteY25" fmla="*/ 2119 h 10000"/>
              <a:gd name="connsiteX26" fmla="*/ 2097 w 10000"/>
              <a:gd name="connsiteY26" fmla="*/ 2176 h 10000"/>
              <a:gd name="connsiteX27" fmla="*/ 1799 w 10000"/>
              <a:gd name="connsiteY27" fmla="*/ 2126 h 10000"/>
              <a:gd name="connsiteX28" fmla="*/ 1714 w 10000"/>
              <a:gd name="connsiteY28" fmla="*/ 2138 h 10000"/>
              <a:gd name="connsiteX29" fmla="*/ 1662 w 10000"/>
              <a:gd name="connsiteY29" fmla="*/ 2278 h 10000"/>
              <a:gd name="connsiteX30" fmla="*/ 1569 w 10000"/>
              <a:gd name="connsiteY30" fmla="*/ 2367 h 10000"/>
              <a:gd name="connsiteX31" fmla="*/ 1620 w 10000"/>
              <a:gd name="connsiteY31" fmla="*/ 2646 h 10000"/>
              <a:gd name="connsiteX32" fmla="*/ 1705 w 10000"/>
              <a:gd name="connsiteY32" fmla="*/ 2690 h 10000"/>
              <a:gd name="connsiteX33" fmla="*/ 1654 w 10000"/>
              <a:gd name="connsiteY33" fmla="*/ 2830 h 10000"/>
              <a:gd name="connsiteX34" fmla="*/ 2131 w 10000"/>
              <a:gd name="connsiteY34" fmla="*/ 2862 h 10000"/>
              <a:gd name="connsiteX35" fmla="*/ 2225 w 10000"/>
              <a:gd name="connsiteY35" fmla="*/ 2951 h 10000"/>
              <a:gd name="connsiteX36" fmla="*/ 2157 w 10000"/>
              <a:gd name="connsiteY36" fmla="*/ 3052 h 10000"/>
              <a:gd name="connsiteX37" fmla="*/ 2157 w 10000"/>
              <a:gd name="connsiteY37" fmla="*/ 3179 h 10000"/>
              <a:gd name="connsiteX38" fmla="*/ 1765 w 10000"/>
              <a:gd name="connsiteY38" fmla="*/ 3712 h 10000"/>
              <a:gd name="connsiteX39" fmla="*/ 1671 w 10000"/>
              <a:gd name="connsiteY39" fmla="*/ 3750 h 10000"/>
              <a:gd name="connsiteX40" fmla="*/ 1671 w 10000"/>
              <a:gd name="connsiteY40" fmla="*/ 3839 h 10000"/>
              <a:gd name="connsiteX41" fmla="*/ 1731 w 10000"/>
              <a:gd name="connsiteY41" fmla="*/ 3902 h 10000"/>
              <a:gd name="connsiteX42" fmla="*/ 1594 w 10000"/>
              <a:gd name="connsiteY42" fmla="*/ 4055 h 10000"/>
              <a:gd name="connsiteX43" fmla="*/ 1671 w 10000"/>
              <a:gd name="connsiteY43" fmla="*/ 4251 h 10000"/>
              <a:gd name="connsiteX44" fmla="*/ 1807 w 10000"/>
              <a:gd name="connsiteY44" fmla="*/ 4277 h 10000"/>
              <a:gd name="connsiteX45" fmla="*/ 1910 w 10000"/>
              <a:gd name="connsiteY45" fmla="*/ 4334 h 10000"/>
              <a:gd name="connsiteX46" fmla="*/ 2063 w 10000"/>
              <a:gd name="connsiteY46" fmla="*/ 4308 h 10000"/>
              <a:gd name="connsiteX47" fmla="*/ 2131 w 10000"/>
              <a:gd name="connsiteY47" fmla="*/ 4397 h 10000"/>
              <a:gd name="connsiteX48" fmla="*/ 2165 w 10000"/>
              <a:gd name="connsiteY48" fmla="*/ 4499 h 10000"/>
              <a:gd name="connsiteX49" fmla="*/ 2327 w 10000"/>
              <a:gd name="connsiteY49" fmla="*/ 4626 h 10000"/>
              <a:gd name="connsiteX50" fmla="*/ 2438 w 10000"/>
              <a:gd name="connsiteY50" fmla="*/ 4613 h 10000"/>
              <a:gd name="connsiteX51" fmla="*/ 2481 w 10000"/>
              <a:gd name="connsiteY51" fmla="*/ 4645 h 10000"/>
              <a:gd name="connsiteX52" fmla="*/ 2472 w 10000"/>
              <a:gd name="connsiteY52" fmla="*/ 4721 h 10000"/>
              <a:gd name="connsiteX53" fmla="*/ 2634 w 10000"/>
              <a:gd name="connsiteY53" fmla="*/ 4797 h 10000"/>
              <a:gd name="connsiteX54" fmla="*/ 2737 w 10000"/>
              <a:gd name="connsiteY54" fmla="*/ 4816 h 10000"/>
              <a:gd name="connsiteX55" fmla="*/ 2754 w 10000"/>
              <a:gd name="connsiteY55" fmla="*/ 4918 h 10000"/>
              <a:gd name="connsiteX56" fmla="*/ 2583 w 10000"/>
              <a:gd name="connsiteY56" fmla="*/ 5044 h 10000"/>
              <a:gd name="connsiteX57" fmla="*/ 2268 w 10000"/>
              <a:gd name="connsiteY57" fmla="*/ 5051 h 10000"/>
              <a:gd name="connsiteX58" fmla="*/ 2063 w 10000"/>
              <a:gd name="connsiteY58" fmla="*/ 4956 h 10000"/>
              <a:gd name="connsiteX59" fmla="*/ 1952 w 10000"/>
              <a:gd name="connsiteY59" fmla="*/ 4956 h 10000"/>
              <a:gd name="connsiteX60" fmla="*/ 1910 w 10000"/>
              <a:gd name="connsiteY60" fmla="*/ 4994 h 10000"/>
              <a:gd name="connsiteX61" fmla="*/ 2455 w 10000"/>
              <a:gd name="connsiteY61" fmla="*/ 5539 h 10000"/>
              <a:gd name="connsiteX62" fmla="*/ 2532 w 10000"/>
              <a:gd name="connsiteY62" fmla="*/ 5571 h 10000"/>
              <a:gd name="connsiteX63" fmla="*/ 2506 w 10000"/>
              <a:gd name="connsiteY63" fmla="*/ 5799 h 10000"/>
              <a:gd name="connsiteX64" fmla="*/ 2464 w 10000"/>
              <a:gd name="connsiteY64" fmla="*/ 5888 h 10000"/>
              <a:gd name="connsiteX65" fmla="*/ 2336 w 10000"/>
              <a:gd name="connsiteY65" fmla="*/ 5926 h 10000"/>
              <a:gd name="connsiteX66" fmla="*/ 2242 w 10000"/>
              <a:gd name="connsiteY66" fmla="*/ 5863 h 10000"/>
              <a:gd name="connsiteX67" fmla="*/ 2148 w 10000"/>
              <a:gd name="connsiteY67" fmla="*/ 5857 h 10000"/>
              <a:gd name="connsiteX68" fmla="*/ 2038 w 10000"/>
              <a:gd name="connsiteY68" fmla="*/ 5977 h 10000"/>
              <a:gd name="connsiteX69" fmla="*/ 1858 w 10000"/>
              <a:gd name="connsiteY69" fmla="*/ 6041 h 10000"/>
              <a:gd name="connsiteX70" fmla="*/ 1688 w 10000"/>
              <a:gd name="connsiteY70" fmla="*/ 6041 h 10000"/>
              <a:gd name="connsiteX71" fmla="*/ 1603 w 10000"/>
              <a:gd name="connsiteY71" fmla="*/ 6091 h 10000"/>
              <a:gd name="connsiteX72" fmla="*/ 1500 w 10000"/>
              <a:gd name="connsiteY72" fmla="*/ 6085 h 10000"/>
              <a:gd name="connsiteX73" fmla="*/ 1458 w 10000"/>
              <a:gd name="connsiteY73" fmla="*/ 6003 h 10000"/>
              <a:gd name="connsiteX74" fmla="*/ 1313 w 10000"/>
              <a:gd name="connsiteY74" fmla="*/ 6009 h 10000"/>
              <a:gd name="connsiteX75" fmla="*/ 1194 w 10000"/>
              <a:gd name="connsiteY75" fmla="*/ 6110 h 10000"/>
              <a:gd name="connsiteX76" fmla="*/ 1245 w 10000"/>
              <a:gd name="connsiteY76" fmla="*/ 6199 h 10000"/>
              <a:gd name="connsiteX77" fmla="*/ 1381 w 10000"/>
              <a:gd name="connsiteY77" fmla="*/ 6244 h 10000"/>
              <a:gd name="connsiteX78" fmla="*/ 1424 w 10000"/>
              <a:gd name="connsiteY78" fmla="*/ 6402 h 10000"/>
              <a:gd name="connsiteX79" fmla="*/ 1500 w 10000"/>
              <a:gd name="connsiteY79" fmla="*/ 6491 h 10000"/>
              <a:gd name="connsiteX80" fmla="*/ 1500 w 10000"/>
              <a:gd name="connsiteY80" fmla="*/ 6662 h 10000"/>
              <a:gd name="connsiteX81" fmla="*/ 1449 w 10000"/>
              <a:gd name="connsiteY81" fmla="*/ 6726 h 10000"/>
              <a:gd name="connsiteX82" fmla="*/ 1338 w 10000"/>
              <a:gd name="connsiteY82" fmla="*/ 6713 h 10000"/>
              <a:gd name="connsiteX83" fmla="*/ 1270 w 10000"/>
              <a:gd name="connsiteY83" fmla="*/ 6662 h 10000"/>
              <a:gd name="connsiteX84" fmla="*/ 1219 w 10000"/>
              <a:gd name="connsiteY84" fmla="*/ 6497 h 10000"/>
              <a:gd name="connsiteX85" fmla="*/ 1151 w 10000"/>
              <a:gd name="connsiteY85" fmla="*/ 6447 h 10000"/>
              <a:gd name="connsiteX86" fmla="*/ 963 w 10000"/>
              <a:gd name="connsiteY86" fmla="*/ 6447 h 10000"/>
              <a:gd name="connsiteX87" fmla="*/ 614 w 10000"/>
              <a:gd name="connsiteY87" fmla="*/ 6675 h 10000"/>
              <a:gd name="connsiteX88" fmla="*/ 554 w 10000"/>
              <a:gd name="connsiteY88" fmla="*/ 6834 h 10000"/>
              <a:gd name="connsiteX89" fmla="*/ 486 w 10000"/>
              <a:gd name="connsiteY89" fmla="*/ 6897 h 10000"/>
              <a:gd name="connsiteX90" fmla="*/ 486 w 10000"/>
              <a:gd name="connsiteY90" fmla="*/ 7132 h 10000"/>
              <a:gd name="connsiteX91" fmla="*/ 392 w 10000"/>
              <a:gd name="connsiteY91" fmla="*/ 7189 h 10000"/>
              <a:gd name="connsiteX92" fmla="*/ 213 w 10000"/>
              <a:gd name="connsiteY92" fmla="*/ 7189 h 10000"/>
              <a:gd name="connsiteX93" fmla="*/ 94 w 10000"/>
              <a:gd name="connsiteY93" fmla="*/ 7284 h 10000"/>
              <a:gd name="connsiteX94" fmla="*/ 68 w 10000"/>
              <a:gd name="connsiteY94" fmla="*/ 7563 h 10000"/>
              <a:gd name="connsiteX95" fmla="*/ 17 w 10000"/>
              <a:gd name="connsiteY95" fmla="*/ 7589 h 10000"/>
              <a:gd name="connsiteX96" fmla="*/ 34 w 10000"/>
              <a:gd name="connsiteY96" fmla="*/ 7684 h 10000"/>
              <a:gd name="connsiteX97" fmla="*/ 247 w 10000"/>
              <a:gd name="connsiteY97" fmla="*/ 7925 h 10000"/>
              <a:gd name="connsiteX98" fmla="*/ 239 w 10000"/>
              <a:gd name="connsiteY98" fmla="*/ 8065 h 10000"/>
              <a:gd name="connsiteX99" fmla="*/ 17 w 10000"/>
              <a:gd name="connsiteY99" fmla="*/ 8299 h 10000"/>
              <a:gd name="connsiteX100" fmla="*/ 0 w 10000"/>
              <a:gd name="connsiteY100" fmla="*/ 8534 h 10000"/>
              <a:gd name="connsiteX101" fmla="*/ 1500 w 10000"/>
              <a:gd name="connsiteY101" fmla="*/ 9448 h 10000"/>
              <a:gd name="connsiteX102" fmla="*/ 1748 w 10000"/>
              <a:gd name="connsiteY102" fmla="*/ 9867 h 10000"/>
              <a:gd name="connsiteX103" fmla="*/ 1969 w 10000"/>
              <a:gd name="connsiteY103" fmla="*/ 10000 h 10000"/>
              <a:gd name="connsiteX104" fmla="*/ 2208 w 10000"/>
              <a:gd name="connsiteY104" fmla="*/ 9511 h 10000"/>
              <a:gd name="connsiteX105" fmla="*/ 2140 w 10000"/>
              <a:gd name="connsiteY105" fmla="*/ 9169 h 10000"/>
              <a:gd name="connsiteX106" fmla="*/ 2698 w 10000"/>
              <a:gd name="connsiteY106" fmla="*/ 6961 h 10000"/>
              <a:gd name="connsiteX107" fmla="*/ 2946 w 10000"/>
              <a:gd name="connsiteY107" fmla="*/ 7241 h 10000"/>
              <a:gd name="connsiteX108" fmla="*/ 3118 w 10000"/>
              <a:gd name="connsiteY108" fmla="*/ 7743 h 10000"/>
              <a:gd name="connsiteX109" fmla="*/ 3766 w 10000"/>
              <a:gd name="connsiteY109" fmla="*/ 8177 h 10000"/>
              <a:gd name="connsiteX110" fmla="*/ 3811 w 10000"/>
              <a:gd name="connsiteY110" fmla="*/ 8515 h 10000"/>
              <a:gd name="connsiteX111" fmla="*/ 4058 w 10000"/>
              <a:gd name="connsiteY111" fmla="*/ 8871 h 10000"/>
              <a:gd name="connsiteX112" fmla="*/ 4484 w 10000"/>
              <a:gd name="connsiteY112" fmla="*/ 9004 h 10000"/>
              <a:gd name="connsiteX113" fmla="*/ 4979 w 10000"/>
              <a:gd name="connsiteY113" fmla="*/ 9486 h 10000"/>
              <a:gd name="connsiteX114" fmla="*/ 5072 w 10000"/>
              <a:gd name="connsiteY114" fmla="*/ 9543 h 10000"/>
              <a:gd name="connsiteX115" fmla="*/ 5234 w 10000"/>
              <a:gd name="connsiteY115" fmla="*/ 9549 h 10000"/>
              <a:gd name="connsiteX116" fmla="*/ 5388 w 10000"/>
              <a:gd name="connsiteY116" fmla="*/ 9461 h 10000"/>
              <a:gd name="connsiteX117" fmla="*/ 5422 w 10000"/>
              <a:gd name="connsiteY117" fmla="*/ 9181 h 10000"/>
              <a:gd name="connsiteX118" fmla="*/ 6121 w 10000"/>
              <a:gd name="connsiteY118" fmla="*/ 9016 h 10000"/>
              <a:gd name="connsiteX119" fmla="*/ 6266 w 10000"/>
              <a:gd name="connsiteY119" fmla="*/ 9036 h 10000"/>
              <a:gd name="connsiteX120" fmla="*/ 6522 w 10000"/>
              <a:gd name="connsiteY120" fmla="*/ 9251 h 10000"/>
              <a:gd name="connsiteX121" fmla="*/ 6633 w 10000"/>
              <a:gd name="connsiteY121" fmla="*/ 9239 h 10000"/>
              <a:gd name="connsiteX122" fmla="*/ 6641 w 10000"/>
              <a:gd name="connsiteY122" fmla="*/ 9112 h 10000"/>
              <a:gd name="connsiteX123" fmla="*/ 6957 w 10000"/>
              <a:gd name="connsiteY123" fmla="*/ 8959 h 10000"/>
              <a:gd name="connsiteX124" fmla="*/ 7630 w 10000"/>
              <a:gd name="connsiteY124" fmla="*/ 9048 h 10000"/>
              <a:gd name="connsiteX125" fmla="*/ 7775 w 10000"/>
              <a:gd name="connsiteY125" fmla="*/ 8915 h 10000"/>
              <a:gd name="connsiteX126" fmla="*/ 8397 w 10000"/>
              <a:gd name="connsiteY126" fmla="*/ 8991 h 10000"/>
              <a:gd name="connsiteX127" fmla="*/ 8841 w 10000"/>
              <a:gd name="connsiteY127" fmla="*/ 8934 h 10000"/>
              <a:gd name="connsiteX128" fmla="*/ 9096 w 10000"/>
              <a:gd name="connsiteY128" fmla="*/ 9016 h 10000"/>
              <a:gd name="connsiteX129" fmla="*/ 9071 w 10000"/>
              <a:gd name="connsiteY129" fmla="*/ 8274 h 10000"/>
              <a:gd name="connsiteX130" fmla="*/ 9548 w 10000"/>
              <a:gd name="connsiteY130" fmla="*/ 7475 h 10000"/>
              <a:gd name="connsiteX131" fmla="*/ 10000 w 10000"/>
              <a:gd name="connsiteY131" fmla="*/ 7113 h 10000"/>
              <a:gd name="connsiteX132" fmla="*/ 8986 w 10000"/>
              <a:gd name="connsiteY132" fmla="*/ 6174 h 10000"/>
              <a:gd name="connsiteX133" fmla="*/ 8968 w 10000"/>
              <a:gd name="connsiteY133" fmla="*/ 4886 h 10000"/>
              <a:gd name="connsiteX134" fmla="*/ 9633 w 10000"/>
              <a:gd name="connsiteY134" fmla="*/ 4638 h 10000"/>
              <a:gd name="connsiteX135" fmla="*/ 9250 w 10000"/>
              <a:gd name="connsiteY135" fmla="*/ 4575 h 10000"/>
              <a:gd name="connsiteX136" fmla="*/ 8900 w 10000"/>
              <a:gd name="connsiteY136" fmla="*/ 4093 h 10000"/>
              <a:gd name="connsiteX137" fmla="*/ 9301 w 10000"/>
              <a:gd name="connsiteY137" fmla="*/ 3763 h 10000"/>
              <a:gd name="connsiteX138" fmla="*/ 9003 w 10000"/>
              <a:gd name="connsiteY138" fmla="*/ 3433 h 10000"/>
              <a:gd name="connsiteX139" fmla="*/ 8551 w 10000"/>
              <a:gd name="connsiteY139" fmla="*/ 3718 h 10000"/>
              <a:gd name="connsiteX140" fmla="*/ 7391 w 10000"/>
              <a:gd name="connsiteY140" fmla="*/ 3433 h 10000"/>
              <a:gd name="connsiteX141" fmla="*/ 6777 w 10000"/>
              <a:gd name="connsiteY141" fmla="*/ 3084 h 10000"/>
              <a:gd name="connsiteX142" fmla="*/ 6616 w 10000"/>
              <a:gd name="connsiteY142" fmla="*/ 2354 h 10000"/>
              <a:gd name="connsiteX143" fmla="*/ 6292 w 10000"/>
              <a:gd name="connsiteY143" fmla="*/ 2202 h 10000"/>
              <a:gd name="connsiteX144" fmla="*/ 5857 w 10000"/>
              <a:gd name="connsiteY144" fmla="*/ 2132 h 10000"/>
              <a:gd name="connsiteX145" fmla="*/ 5499 w 10000"/>
              <a:gd name="connsiteY145" fmla="*/ 1739 h 10000"/>
              <a:gd name="connsiteX146" fmla="*/ 5081 w 10000"/>
              <a:gd name="connsiteY146" fmla="*/ 863 h 10000"/>
              <a:gd name="connsiteX147" fmla="*/ 4672 w 10000"/>
              <a:gd name="connsiteY147" fmla="*/ 501 h 10000"/>
              <a:gd name="connsiteX148" fmla="*/ 3905 w 10000"/>
              <a:gd name="connsiteY148" fmla="*/ 209 h 10000"/>
              <a:gd name="connsiteX149" fmla="*/ 3717 w 10000"/>
              <a:gd name="connsiteY149" fmla="*/ 0 h 10000"/>
              <a:gd name="connsiteX150" fmla="*/ 3248 w 10000"/>
              <a:gd name="connsiteY150" fmla="*/ 121 h 10000"/>
              <a:gd name="connsiteX151" fmla="*/ 2771 w 10000"/>
              <a:gd name="connsiteY151" fmla="*/ 140 h 10000"/>
              <a:gd name="connsiteX152" fmla="*/ 2148 w 10000"/>
              <a:gd name="connsiteY152" fmla="*/ 438 h 10000"/>
              <a:gd name="connsiteX153" fmla="*/ 1586 w 10000"/>
              <a:gd name="connsiteY153" fmla="*/ 451 h 10000"/>
              <a:gd name="connsiteX154" fmla="*/ 1321 w 10000"/>
              <a:gd name="connsiteY154" fmla="*/ 603 h 10000"/>
              <a:gd name="connsiteX155" fmla="*/ 776 w 10000"/>
              <a:gd name="connsiteY155" fmla="*/ 641 h 10000"/>
              <a:gd name="connsiteX0" fmla="*/ 776 w 10000"/>
              <a:gd name="connsiteY0" fmla="*/ 641 h 10000"/>
              <a:gd name="connsiteX1" fmla="*/ 1074 w 10000"/>
              <a:gd name="connsiteY1" fmla="*/ 857 h 10000"/>
              <a:gd name="connsiteX2" fmla="*/ 1091 w 10000"/>
              <a:gd name="connsiteY2" fmla="*/ 958 h 10000"/>
              <a:gd name="connsiteX3" fmla="*/ 1032 w 10000"/>
              <a:gd name="connsiteY3" fmla="*/ 1022 h 10000"/>
              <a:gd name="connsiteX4" fmla="*/ 1125 w 10000"/>
              <a:gd name="connsiteY4" fmla="*/ 1091 h 10000"/>
              <a:gd name="connsiteX5" fmla="*/ 1134 w 10000"/>
              <a:gd name="connsiteY5" fmla="*/ 1187 h 10000"/>
              <a:gd name="connsiteX6" fmla="*/ 1023 w 10000"/>
              <a:gd name="connsiteY6" fmla="*/ 1301 h 10000"/>
              <a:gd name="connsiteX7" fmla="*/ 1040 w 10000"/>
              <a:gd name="connsiteY7" fmla="*/ 1377 h 10000"/>
              <a:gd name="connsiteX8" fmla="*/ 1168 w 10000"/>
              <a:gd name="connsiteY8" fmla="*/ 1428 h 10000"/>
              <a:gd name="connsiteX9" fmla="*/ 1253 w 10000"/>
              <a:gd name="connsiteY9" fmla="*/ 1364 h 10000"/>
              <a:gd name="connsiteX10" fmla="*/ 1330 w 10000"/>
              <a:gd name="connsiteY10" fmla="*/ 1364 h 10000"/>
              <a:gd name="connsiteX11" fmla="*/ 1449 w 10000"/>
              <a:gd name="connsiteY11" fmla="*/ 1434 h 10000"/>
              <a:gd name="connsiteX12" fmla="*/ 1449 w 10000"/>
              <a:gd name="connsiteY12" fmla="*/ 1478 h 10000"/>
              <a:gd name="connsiteX13" fmla="*/ 1373 w 10000"/>
              <a:gd name="connsiteY13" fmla="*/ 1523 h 10000"/>
              <a:gd name="connsiteX14" fmla="*/ 1296 w 10000"/>
              <a:gd name="connsiteY14" fmla="*/ 1523 h 10000"/>
              <a:gd name="connsiteX15" fmla="*/ 1262 w 10000"/>
              <a:gd name="connsiteY15" fmla="*/ 1599 h 10000"/>
              <a:gd name="connsiteX16" fmla="*/ 1313 w 10000"/>
              <a:gd name="connsiteY16" fmla="*/ 1656 h 10000"/>
              <a:gd name="connsiteX17" fmla="*/ 1253 w 10000"/>
              <a:gd name="connsiteY17" fmla="*/ 1796 h 10000"/>
              <a:gd name="connsiteX18" fmla="*/ 1313 w 10000"/>
              <a:gd name="connsiteY18" fmla="*/ 1846 h 10000"/>
              <a:gd name="connsiteX19" fmla="*/ 1466 w 10000"/>
              <a:gd name="connsiteY19" fmla="*/ 1846 h 10000"/>
              <a:gd name="connsiteX20" fmla="*/ 1645 w 10000"/>
              <a:gd name="connsiteY20" fmla="*/ 1986 h 10000"/>
              <a:gd name="connsiteX21" fmla="*/ 1824 w 10000"/>
              <a:gd name="connsiteY21" fmla="*/ 1973 h 10000"/>
              <a:gd name="connsiteX22" fmla="*/ 1969 w 10000"/>
              <a:gd name="connsiteY22" fmla="*/ 2030 h 10000"/>
              <a:gd name="connsiteX23" fmla="*/ 2140 w 10000"/>
              <a:gd name="connsiteY23" fmla="*/ 2024 h 10000"/>
              <a:gd name="connsiteX24" fmla="*/ 2225 w 10000"/>
              <a:gd name="connsiteY24" fmla="*/ 2056 h 10000"/>
              <a:gd name="connsiteX25" fmla="*/ 2242 w 10000"/>
              <a:gd name="connsiteY25" fmla="*/ 2119 h 10000"/>
              <a:gd name="connsiteX26" fmla="*/ 2097 w 10000"/>
              <a:gd name="connsiteY26" fmla="*/ 2176 h 10000"/>
              <a:gd name="connsiteX27" fmla="*/ 1799 w 10000"/>
              <a:gd name="connsiteY27" fmla="*/ 2126 h 10000"/>
              <a:gd name="connsiteX28" fmla="*/ 1714 w 10000"/>
              <a:gd name="connsiteY28" fmla="*/ 2138 h 10000"/>
              <a:gd name="connsiteX29" fmla="*/ 1662 w 10000"/>
              <a:gd name="connsiteY29" fmla="*/ 2278 h 10000"/>
              <a:gd name="connsiteX30" fmla="*/ 1569 w 10000"/>
              <a:gd name="connsiteY30" fmla="*/ 2367 h 10000"/>
              <a:gd name="connsiteX31" fmla="*/ 1620 w 10000"/>
              <a:gd name="connsiteY31" fmla="*/ 2646 h 10000"/>
              <a:gd name="connsiteX32" fmla="*/ 1705 w 10000"/>
              <a:gd name="connsiteY32" fmla="*/ 2690 h 10000"/>
              <a:gd name="connsiteX33" fmla="*/ 1654 w 10000"/>
              <a:gd name="connsiteY33" fmla="*/ 2830 h 10000"/>
              <a:gd name="connsiteX34" fmla="*/ 2131 w 10000"/>
              <a:gd name="connsiteY34" fmla="*/ 2862 h 10000"/>
              <a:gd name="connsiteX35" fmla="*/ 2225 w 10000"/>
              <a:gd name="connsiteY35" fmla="*/ 2951 h 10000"/>
              <a:gd name="connsiteX36" fmla="*/ 2157 w 10000"/>
              <a:gd name="connsiteY36" fmla="*/ 3052 h 10000"/>
              <a:gd name="connsiteX37" fmla="*/ 2157 w 10000"/>
              <a:gd name="connsiteY37" fmla="*/ 3179 h 10000"/>
              <a:gd name="connsiteX38" fmla="*/ 1765 w 10000"/>
              <a:gd name="connsiteY38" fmla="*/ 3712 h 10000"/>
              <a:gd name="connsiteX39" fmla="*/ 1671 w 10000"/>
              <a:gd name="connsiteY39" fmla="*/ 3750 h 10000"/>
              <a:gd name="connsiteX40" fmla="*/ 1671 w 10000"/>
              <a:gd name="connsiteY40" fmla="*/ 3839 h 10000"/>
              <a:gd name="connsiteX41" fmla="*/ 1731 w 10000"/>
              <a:gd name="connsiteY41" fmla="*/ 3902 h 10000"/>
              <a:gd name="connsiteX42" fmla="*/ 1594 w 10000"/>
              <a:gd name="connsiteY42" fmla="*/ 4055 h 10000"/>
              <a:gd name="connsiteX43" fmla="*/ 1671 w 10000"/>
              <a:gd name="connsiteY43" fmla="*/ 4251 h 10000"/>
              <a:gd name="connsiteX44" fmla="*/ 1807 w 10000"/>
              <a:gd name="connsiteY44" fmla="*/ 4277 h 10000"/>
              <a:gd name="connsiteX45" fmla="*/ 1910 w 10000"/>
              <a:gd name="connsiteY45" fmla="*/ 4334 h 10000"/>
              <a:gd name="connsiteX46" fmla="*/ 2063 w 10000"/>
              <a:gd name="connsiteY46" fmla="*/ 4308 h 10000"/>
              <a:gd name="connsiteX47" fmla="*/ 2131 w 10000"/>
              <a:gd name="connsiteY47" fmla="*/ 4397 h 10000"/>
              <a:gd name="connsiteX48" fmla="*/ 2165 w 10000"/>
              <a:gd name="connsiteY48" fmla="*/ 4499 h 10000"/>
              <a:gd name="connsiteX49" fmla="*/ 2327 w 10000"/>
              <a:gd name="connsiteY49" fmla="*/ 4626 h 10000"/>
              <a:gd name="connsiteX50" fmla="*/ 2438 w 10000"/>
              <a:gd name="connsiteY50" fmla="*/ 4613 h 10000"/>
              <a:gd name="connsiteX51" fmla="*/ 2481 w 10000"/>
              <a:gd name="connsiteY51" fmla="*/ 4645 h 10000"/>
              <a:gd name="connsiteX52" fmla="*/ 2472 w 10000"/>
              <a:gd name="connsiteY52" fmla="*/ 4721 h 10000"/>
              <a:gd name="connsiteX53" fmla="*/ 2634 w 10000"/>
              <a:gd name="connsiteY53" fmla="*/ 4797 h 10000"/>
              <a:gd name="connsiteX54" fmla="*/ 2737 w 10000"/>
              <a:gd name="connsiteY54" fmla="*/ 4816 h 10000"/>
              <a:gd name="connsiteX55" fmla="*/ 2754 w 10000"/>
              <a:gd name="connsiteY55" fmla="*/ 4918 h 10000"/>
              <a:gd name="connsiteX56" fmla="*/ 2583 w 10000"/>
              <a:gd name="connsiteY56" fmla="*/ 5044 h 10000"/>
              <a:gd name="connsiteX57" fmla="*/ 2268 w 10000"/>
              <a:gd name="connsiteY57" fmla="*/ 5051 h 10000"/>
              <a:gd name="connsiteX58" fmla="*/ 2063 w 10000"/>
              <a:gd name="connsiteY58" fmla="*/ 4956 h 10000"/>
              <a:gd name="connsiteX59" fmla="*/ 1952 w 10000"/>
              <a:gd name="connsiteY59" fmla="*/ 4956 h 10000"/>
              <a:gd name="connsiteX60" fmla="*/ 1910 w 10000"/>
              <a:gd name="connsiteY60" fmla="*/ 4994 h 10000"/>
              <a:gd name="connsiteX61" fmla="*/ 2455 w 10000"/>
              <a:gd name="connsiteY61" fmla="*/ 5539 h 10000"/>
              <a:gd name="connsiteX62" fmla="*/ 2532 w 10000"/>
              <a:gd name="connsiteY62" fmla="*/ 5571 h 10000"/>
              <a:gd name="connsiteX63" fmla="*/ 2506 w 10000"/>
              <a:gd name="connsiteY63" fmla="*/ 5799 h 10000"/>
              <a:gd name="connsiteX64" fmla="*/ 2464 w 10000"/>
              <a:gd name="connsiteY64" fmla="*/ 5888 h 10000"/>
              <a:gd name="connsiteX65" fmla="*/ 2336 w 10000"/>
              <a:gd name="connsiteY65" fmla="*/ 5926 h 10000"/>
              <a:gd name="connsiteX66" fmla="*/ 2242 w 10000"/>
              <a:gd name="connsiteY66" fmla="*/ 5863 h 10000"/>
              <a:gd name="connsiteX67" fmla="*/ 2148 w 10000"/>
              <a:gd name="connsiteY67" fmla="*/ 5857 h 10000"/>
              <a:gd name="connsiteX68" fmla="*/ 2038 w 10000"/>
              <a:gd name="connsiteY68" fmla="*/ 5977 h 10000"/>
              <a:gd name="connsiteX69" fmla="*/ 1858 w 10000"/>
              <a:gd name="connsiteY69" fmla="*/ 6041 h 10000"/>
              <a:gd name="connsiteX70" fmla="*/ 1688 w 10000"/>
              <a:gd name="connsiteY70" fmla="*/ 6041 h 10000"/>
              <a:gd name="connsiteX71" fmla="*/ 1603 w 10000"/>
              <a:gd name="connsiteY71" fmla="*/ 6091 h 10000"/>
              <a:gd name="connsiteX72" fmla="*/ 1500 w 10000"/>
              <a:gd name="connsiteY72" fmla="*/ 6085 h 10000"/>
              <a:gd name="connsiteX73" fmla="*/ 1458 w 10000"/>
              <a:gd name="connsiteY73" fmla="*/ 6003 h 10000"/>
              <a:gd name="connsiteX74" fmla="*/ 1313 w 10000"/>
              <a:gd name="connsiteY74" fmla="*/ 6009 h 10000"/>
              <a:gd name="connsiteX75" fmla="*/ 1194 w 10000"/>
              <a:gd name="connsiteY75" fmla="*/ 6110 h 10000"/>
              <a:gd name="connsiteX76" fmla="*/ 1245 w 10000"/>
              <a:gd name="connsiteY76" fmla="*/ 6199 h 10000"/>
              <a:gd name="connsiteX77" fmla="*/ 1381 w 10000"/>
              <a:gd name="connsiteY77" fmla="*/ 6244 h 10000"/>
              <a:gd name="connsiteX78" fmla="*/ 1424 w 10000"/>
              <a:gd name="connsiteY78" fmla="*/ 6402 h 10000"/>
              <a:gd name="connsiteX79" fmla="*/ 1500 w 10000"/>
              <a:gd name="connsiteY79" fmla="*/ 6491 h 10000"/>
              <a:gd name="connsiteX80" fmla="*/ 1500 w 10000"/>
              <a:gd name="connsiteY80" fmla="*/ 6662 h 10000"/>
              <a:gd name="connsiteX81" fmla="*/ 1449 w 10000"/>
              <a:gd name="connsiteY81" fmla="*/ 6726 h 10000"/>
              <a:gd name="connsiteX82" fmla="*/ 1338 w 10000"/>
              <a:gd name="connsiteY82" fmla="*/ 6713 h 10000"/>
              <a:gd name="connsiteX83" fmla="*/ 1270 w 10000"/>
              <a:gd name="connsiteY83" fmla="*/ 6662 h 10000"/>
              <a:gd name="connsiteX84" fmla="*/ 1219 w 10000"/>
              <a:gd name="connsiteY84" fmla="*/ 6497 h 10000"/>
              <a:gd name="connsiteX85" fmla="*/ 1151 w 10000"/>
              <a:gd name="connsiteY85" fmla="*/ 6447 h 10000"/>
              <a:gd name="connsiteX86" fmla="*/ 963 w 10000"/>
              <a:gd name="connsiteY86" fmla="*/ 6447 h 10000"/>
              <a:gd name="connsiteX87" fmla="*/ 614 w 10000"/>
              <a:gd name="connsiteY87" fmla="*/ 6675 h 10000"/>
              <a:gd name="connsiteX88" fmla="*/ 554 w 10000"/>
              <a:gd name="connsiteY88" fmla="*/ 6834 h 10000"/>
              <a:gd name="connsiteX89" fmla="*/ 486 w 10000"/>
              <a:gd name="connsiteY89" fmla="*/ 6897 h 10000"/>
              <a:gd name="connsiteX90" fmla="*/ 486 w 10000"/>
              <a:gd name="connsiteY90" fmla="*/ 7132 h 10000"/>
              <a:gd name="connsiteX91" fmla="*/ 392 w 10000"/>
              <a:gd name="connsiteY91" fmla="*/ 7189 h 10000"/>
              <a:gd name="connsiteX92" fmla="*/ 213 w 10000"/>
              <a:gd name="connsiteY92" fmla="*/ 7189 h 10000"/>
              <a:gd name="connsiteX93" fmla="*/ 94 w 10000"/>
              <a:gd name="connsiteY93" fmla="*/ 7284 h 10000"/>
              <a:gd name="connsiteX94" fmla="*/ 68 w 10000"/>
              <a:gd name="connsiteY94" fmla="*/ 7563 h 10000"/>
              <a:gd name="connsiteX95" fmla="*/ 17 w 10000"/>
              <a:gd name="connsiteY95" fmla="*/ 7589 h 10000"/>
              <a:gd name="connsiteX96" fmla="*/ 34 w 10000"/>
              <a:gd name="connsiteY96" fmla="*/ 7684 h 10000"/>
              <a:gd name="connsiteX97" fmla="*/ 247 w 10000"/>
              <a:gd name="connsiteY97" fmla="*/ 7925 h 10000"/>
              <a:gd name="connsiteX98" fmla="*/ 239 w 10000"/>
              <a:gd name="connsiteY98" fmla="*/ 8065 h 10000"/>
              <a:gd name="connsiteX99" fmla="*/ 17 w 10000"/>
              <a:gd name="connsiteY99" fmla="*/ 8299 h 10000"/>
              <a:gd name="connsiteX100" fmla="*/ 0 w 10000"/>
              <a:gd name="connsiteY100" fmla="*/ 8534 h 10000"/>
              <a:gd name="connsiteX101" fmla="*/ 1500 w 10000"/>
              <a:gd name="connsiteY101" fmla="*/ 9448 h 10000"/>
              <a:gd name="connsiteX102" fmla="*/ 1748 w 10000"/>
              <a:gd name="connsiteY102" fmla="*/ 9867 h 10000"/>
              <a:gd name="connsiteX103" fmla="*/ 1969 w 10000"/>
              <a:gd name="connsiteY103" fmla="*/ 10000 h 10000"/>
              <a:gd name="connsiteX104" fmla="*/ 2208 w 10000"/>
              <a:gd name="connsiteY104" fmla="*/ 9511 h 10000"/>
              <a:gd name="connsiteX105" fmla="*/ 2432 w 10000"/>
              <a:gd name="connsiteY105" fmla="*/ 6851 h 10000"/>
              <a:gd name="connsiteX106" fmla="*/ 2698 w 10000"/>
              <a:gd name="connsiteY106" fmla="*/ 6961 h 10000"/>
              <a:gd name="connsiteX107" fmla="*/ 2946 w 10000"/>
              <a:gd name="connsiteY107" fmla="*/ 7241 h 10000"/>
              <a:gd name="connsiteX108" fmla="*/ 3118 w 10000"/>
              <a:gd name="connsiteY108" fmla="*/ 7743 h 10000"/>
              <a:gd name="connsiteX109" fmla="*/ 3766 w 10000"/>
              <a:gd name="connsiteY109" fmla="*/ 8177 h 10000"/>
              <a:gd name="connsiteX110" fmla="*/ 3811 w 10000"/>
              <a:gd name="connsiteY110" fmla="*/ 8515 h 10000"/>
              <a:gd name="connsiteX111" fmla="*/ 4058 w 10000"/>
              <a:gd name="connsiteY111" fmla="*/ 8871 h 10000"/>
              <a:gd name="connsiteX112" fmla="*/ 4484 w 10000"/>
              <a:gd name="connsiteY112" fmla="*/ 9004 h 10000"/>
              <a:gd name="connsiteX113" fmla="*/ 4979 w 10000"/>
              <a:gd name="connsiteY113" fmla="*/ 9486 h 10000"/>
              <a:gd name="connsiteX114" fmla="*/ 5072 w 10000"/>
              <a:gd name="connsiteY114" fmla="*/ 9543 h 10000"/>
              <a:gd name="connsiteX115" fmla="*/ 5234 w 10000"/>
              <a:gd name="connsiteY115" fmla="*/ 9549 h 10000"/>
              <a:gd name="connsiteX116" fmla="*/ 5388 w 10000"/>
              <a:gd name="connsiteY116" fmla="*/ 9461 h 10000"/>
              <a:gd name="connsiteX117" fmla="*/ 5422 w 10000"/>
              <a:gd name="connsiteY117" fmla="*/ 9181 h 10000"/>
              <a:gd name="connsiteX118" fmla="*/ 6121 w 10000"/>
              <a:gd name="connsiteY118" fmla="*/ 9016 h 10000"/>
              <a:gd name="connsiteX119" fmla="*/ 6266 w 10000"/>
              <a:gd name="connsiteY119" fmla="*/ 9036 h 10000"/>
              <a:gd name="connsiteX120" fmla="*/ 6522 w 10000"/>
              <a:gd name="connsiteY120" fmla="*/ 9251 h 10000"/>
              <a:gd name="connsiteX121" fmla="*/ 6633 w 10000"/>
              <a:gd name="connsiteY121" fmla="*/ 9239 h 10000"/>
              <a:gd name="connsiteX122" fmla="*/ 6641 w 10000"/>
              <a:gd name="connsiteY122" fmla="*/ 9112 h 10000"/>
              <a:gd name="connsiteX123" fmla="*/ 6957 w 10000"/>
              <a:gd name="connsiteY123" fmla="*/ 8959 h 10000"/>
              <a:gd name="connsiteX124" fmla="*/ 7630 w 10000"/>
              <a:gd name="connsiteY124" fmla="*/ 9048 h 10000"/>
              <a:gd name="connsiteX125" fmla="*/ 7775 w 10000"/>
              <a:gd name="connsiteY125" fmla="*/ 8915 h 10000"/>
              <a:gd name="connsiteX126" fmla="*/ 8397 w 10000"/>
              <a:gd name="connsiteY126" fmla="*/ 8991 h 10000"/>
              <a:gd name="connsiteX127" fmla="*/ 8841 w 10000"/>
              <a:gd name="connsiteY127" fmla="*/ 8934 h 10000"/>
              <a:gd name="connsiteX128" fmla="*/ 9096 w 10000"/>
              <a:gd name="connsiteY128" fmla="*/ 9016 h 10000"/>
              <a:gd name="connsiteX129" fmla="*/ 9071 w 10000"/>
              <a:gd name="connsiteY129" fmla="*/ 8274 h 10000"/>
              <a:gd name="connsiteX130" fmla="*/ 9548 w 10000"/>
              <a:gd name="connsiteY130" fmla="*/ 7475 h 10000"/>
              <a:gd name="connsiteX131" fmla="*/ 10000 w 10000"/>
              <a:gd name="connsiteY131" fmla="*/ 7113 h 10000"/>
              <a:gd name="connsiteX132" fmla="*/ 8986 w 10000"/>
              <a:gd name="connsiteY132" fmla="*/ 6174 h 10000"/>
              <a:gd name="connsiteX133" fmla="*/ 8968 w 10000"/>
              <a:gd name="connsiteY133" fmla="*/ 4886 h 10000"/>
              <a:gd name="connsiteX134" fmla="*/ 9633 w 10000"/>
              <a:gd name="connsiteY134" fmla="*/ 4638 h 10000"/>
              <a:gd name="connsiteX135" fmla="*/ 9250 w 10000"/>
              <a:gd name="connsiteY135" fmla="*/ 4575 h 10000"/>
              <a:gd name="connsiteX136" fmla="*/ 8900 w 10000"/>
              <a:gd name="connsiteY136" fmla="*/ 4093 h 10000"/>
              <a:gd name="connsiteX137" fmla="*/ 9301 w 10000"/>
              <a:gd name="connsiteY137" fmla="*/ 3763 h 10000"/>
              <a:gd name="connsiteX138" fmla="*/ 9003 w 10000"/>
              <a:gd name="connsiteY138" fmla="*/ 3433 h 10000"/>
              <a:gd name="connsiteX139" fmla="*/ 8551 w 10000"/>
              <a:gd name="connsiteY139" fmla="*/ 3718 h 10000"/>
              <a:gd name="connsiteX140" fmla="*/ 7391 w 10000"/>
              <a:gd name="connsiteY140" fmla="*/ 3433 h 10000"/>
              <a:gd name="connsiteX141" fmla="*/ 6777 w 10000"/>
              <a:gd name="connsiteY141" fmla="*/ 3084 h 10000"/>
              <a:gd name="connsiteX142" fmla="*/ 6616 w 10000"/>
              <a:gd name="connsiteY142" fmla="*/ 2354 h 10000"/>
              <a:gd name="connsiteX143" fmla="*/ 6292 w 10000"/>
              <a:gd name="connsiteY143" fmla="*/ 2202 h 10000"/>
              <a:gd name="connsiteX144" fmla="*/ 5857 w 10000"/>
              <a:gd name="connsiteY144" fmla="*/ 2132 h 10000"/>
              <a:gd name="connsiteX145" fmla="*/ 5499 w 10000"/>
              <a:gd name="connsiteY145" fmla="*/ 1739 h 10000"/>
              <a:gd name="connsiteX146" fmla="*/ 5081 w 10000"/>
              <a:gd name="connsiteY146" fmla="*/ 863 h 10000"/>
              <a:gd name="connsiteX147" fmla="*/ 4672 w 10000"/>
              <a:gd name="connsiteY147" fmla="*/ 501 h 10000"/>
              <a:gd name="connsiteX148" fmla="*/ 3905 w 10000"/>
              <a:gd name="connsiteY148" fmla="*/ 209 h 10000"/>
              <a:gd name="connsiteX149" fmla="*/ 3717 w 10000"/>
              <a:gd name="connsiteY149" fmla="*/ 0 h 10000"/>
              <a:gd name="connsiteX150" fmla="*/ 3248 w 10000"/>
              <a:gd name="connsiteY150" fmla="*/ 121 h 10000"/>
              <a:gd name="connsiteX151" fmla="*/ 2771 w 10000"/>
              <a:gd name="connsiteY151" fmla="*/ 140 h 10000"/>
              <a:gd name="connsiteX152" fmla="*/ 2148 w 10000"/>
              <a:gd name="connsiteY152" fmla="*/ 438 h 10000"/>
              <a:gd name="connsiteX153" fmla="*/ 1586 w 10000"/>
              <a:gd name="connsiteY153" fmla="*/ 451 h 10000"/>
              <a:gd name="connsiteX154" fmla="*/ 1321 w 10000"/>
              <a:gd name="connsiteY154" fmla="*/ 603 h 10000"/>
              <a:gd name="connsiteX155" fmla="*/ 776 w 10000"/>
              <a:gd name="connsiteY155" fmla="*/ 641 h 10000"/>
              <a:gd name="connsiteX0" fmla="*/ 776 w 10000"/>
              <a:gd name="connsiteY0" fmla="*/ 641 h 10000"/>
              <a:gd name="connsiteX1" fmla="*/ 1074 w 10000"/>
              <a:gd name="connsiteY1" fmla="*/ 857 h 10000"/>
              <a:gd name="connsiteX2" fmla="*/ 1091 w 10000"/>
              <a:gd name="connsiteY2" fmla="*/ 958 h 10000"/>
              <a:gd name="connsiteX3" fmla="*/ 1032 w 10000"/>
              <a:gd name="connsiteY3" fmla="*/ 1022 h 10000"/>
              <a:gd name="connsiteX4" fmla="*/ 1125 w 10000"/>
              <a:gd name="connsiteY4" fmla="*/ 1091 h 10000"/>
              <a:gd name="connsiteX5" fmla="*/ 1134 w 10000"/>
              <a:gd name="connsiteY5" fmla="*/ 1187 h 10000"/>
              <a:gd name="connsiteX6" fmla="*/ 1023 w 10000"/>
              <a:gd name="connsiteY6" fmla="*/ 1301 h 10000"/>
              <a:gd name="connsiteX7" fmla="*/ 1040 w 10000"/>
              <a:gd name="connsiteY7" fmla="*/ 1377 h 10000"/>
              <a:gd name="connsiteX8" fmla="*/ 1168 w 10000"/>
              <a:gd name="connsiteY8" fmla="*/ 1428 h 10000"/>
              <a:gd name="connsiteX9" fmla="*/ 1253 w 10000"/>
              <a:gd name="connsiteY9" fmla="*/ 1364 h 10000"/>
              <a:gd name="connsiteX10" fmla="*/ 1330 w 10000"/>
              <a:gd name="connsiteY10" fmla="*/ 1364 h 10000"/>
              <a:gd name="connsiteX11" fmla="*/ 1449 w 10000"/>
              <a:gd name="connsiteY11" fmla="*/ 1434 h 10000"/>
              <a:gd name="connsiteX12" fmla="*/ 1449 w 10000"/>
              <a:gd name="connsiteY12" fmla="*/ 1478 h 10000"/>
              <a:gd name="connsiteX13" fmla="*/ 1373 w 10000"/>
              <a:gd name="connsiteY13" fmla="*/ 1523 h 10000"/>
              <a:gd name="connsiteX14" fmla="*/ 1296 w 10000"/>
              <a:gd name="connsiteY14" fmla="*/ 1523 h 10000"/>
              <a:gd name="connsiteX15" fmla="*/ 1262 w 10000"/>
              <a:gd name="connsiteY15" fmla="*/ 1599 h 10000"/>
              <a:gd name="connsiteX16" fmla="*/ 1313 w 10000"/>
              <a:gd name="connsiteY16" fmla="*/ 1656 h 10000"/>
              <a:gd name="connsiteX17" fmla="*/ 1253 w 10000"/>
              <a:gd name="connsiteY17" fmla="*/ 1796 h 10000"/>
              <a:gd name="connsiteX18" fmla="*/ 1313 w 10000"/>
              <a:gd name="connsiteY18" fmla="*/ 1846 h 10000"/>
              <a:gd name="connsiteX19" fmla="*/ 1466 w 10000"/>
              <a:gd name="connsiteY19" fmla="*/ 1846 h 10000"/>
              <a:gd name="connsiteX20" fmla="*/ 1645 w 10000"/>
              <a:gd name="connsiteY20" fmla="*/ 1986 h 10000"/>
              <a:gd name="connsiteX21" fmla="*/ 1824 w 10000"/>
              <a:gd name="connsiteY21" fmla="*/ 1973 h 10000"/>
              <a:gd name="connsiteX22" fmla="*/ 1969 w 10000"/>
              <a:gd name="connsiteY22" fmla="*/ 2030 h 10000"/>
              <a:gd name="connsiteX23" fmla="*/ 2140 w 10000"/>
              <a:gd name="connsiteY23" fmla="*/ 2024 h 10000"/>
              <a:gd name="connsiteX24" fmla="*/ 2225 w 10000"/>
              <a:gd name="connsiteY24" fmla="*/ 2056 h 10000"/>
              <a:gd name="connsiteX25" fmla="*/ 2242 w 10000"/>
              <a:gd name="connsiteY25" fmla="*/ 2119 h 10000"/>
              <a:gd name="connsiteX26" fmla="*/ 2097 w 10000"/>
              <a:gd name="connsiteY26" fmla="*/ 2176 h 10000"/>
              <a:gd name="connsiteX27" fmla="*/ 1799 w 10000"/>
              <a:gd name="connsiteY27" fmla="*/ 2126 h 10000"/>
              <a:gd name="connsiteX28" fmla="*/ 1714 w 10000"/>
              <a:gd name="connsiteY28" fmla="*/ 2138 h 10000"/>
              <a:gd name="connsiteX29" fmla="*/ 1662 w 10000"/>
              <a:gd name="connsiteY29" fmla="*/ 2278 h 10000"/>
              <a:gd name="connsiteX30" fmla="*/ 1569 w 10000"/>
              <a:gd name="connsiteY30" fmla="*/ 2367 h 10000"/>
              <a:gd name="connsiteX31" fmla="*/ 1620 w 10000"/>
              <a:gd name="connsiteY31" fmla="*/ 2646 h 10000"/>
              <a:gd name="connsiteX32" fmla="*/ 1705 w 10000"/>
              <a:gd name="connsiteY32" fmla="*/ 2690 h 10000"/>
              <a:gd name="connsiteX33" fmla="*/ 1654 w 10000"/>
              <a:gd name="connsiteY33" fmla="*/ 2830 h 10000"/>
              <a:gd name="connsiteX34" fmla="*/ 2131 w 10000"/>
              <a:gd name="connsiteY34" fmla="*/ 2862 h 10000"/>
              <a:gd name="connsiteX35" fmla="*/ 2225 w 10000"/>
              <a:gd name="connsiteY35" fmla="*/ 2951 h 10000"/>
              <a:gd name="connsiteX36" fmla="*/ 2157 w 10000"/>
              <a:gd name="connsiteY36" fmla="*/ 3052 h 10000"/>
              <a:gd name="connsiteX37" fmla="*/ 2157 w 10000"/>
              <a:gd name="connsiteY37" fmla="*/ 3179 h 10000"/>
              <a:gd name="connsiteX38" fmla="*/ 1765 w 10000"/>
              <a:gd name="connsiteY38" fmla="*/ 3712 h 10000"/>
              <a:gd name="connsiteX39" fmla="*/ 1671 w 10000"/>
              <a:gd name="connsiteY39" fmla="*/ 3750 h 10000"/>
              <a:gd name="connsiteX40" fmla="*/ 1671 w 10000"/>
              <a:gd name="connsiteY40" fmla="*/ 3839 h 10000"/>
              <a:gd name="connsiteX41" fmla="*/ 1731 w 10000"/>
              <a:gd name="connsiteY41" fmla="*/ 3902 h 10000"/>
              <a:gd name="connsiteX42" fmla="*/ 1594 w 10000"/>
              <a:gd name="connsiteY42" fmla="*/ 4055 h 10000"/>
              <a:gd name="connsiteX43" fmla="*/ 1671 w 10000"/>
              <a:gd name="connsiteY43" fmla="*/ 4251 h 10000"/>
              <a:gd name="connsiteX44" fmla="*/ 1807 w 10000"/>
              <a:gd name="connsiteY44" fmla="*/ 4277 h 10000"/>
              <a:gd name="connsiteX45" fmla="*/ 1910 w 10000"/>
              <a:gd name="connsiteY45" fmla="*/ 4334 h 10000"/>
              <a:gd name="connsiteX46" fmla="*/ 2063 w 10000"/>
              <a:gd name="connsiteY46" fmla="*/ 4308 h 10000"/>
              <a:gd name="connsiteX47" fmla="*/ 2131 w 10000"/>
              <a:gd name="connsiteY47" fmla="*/ 4397 h 10000"/>
              <a:gd name="connsiteX48" fmla="*/ 2165 w 10000"/>
              <a:gd name="connsiteY48" fmla="*/ 4499 h 10000"/>
              <a:gd name="connsiteX49" fmla="*/ 2327 w 10000"/>
              <a:gd name="connsiteY49" fmla="*/ 4626 h 10000"/>
              <a:gd name="connsiteX50" fmla="*/ 2438 w 10000"/>
              <a:gd name="connsiteY50" fmla="*/ 4613 h 10000"/>
              <a:gd name="connsiteX51" fmla="*/ 2481 w 10000"/>
              <a:gd name="connsiteY51" fmla="*/ 4645 h 10000"/>
              <a:gd name="connsiteX52" fmla="*/ 2472 w 10000"/>
              <a:gd name="connsiteY52" fmla="*/ 4721 h 10000"/>
              <a:gd name="connsiteX53" fmla="*/ 2634 w 10000"/>
              <a:gd name="connsiteY53" fmla="*/ 4797 h 10000"/>
              <a:gd name="connsiteX54" fmla="*/ 2737 w 10000"/>
              <a:gd name="connsiteY54" fmla="*/ 4816 h 10000"/>
              <a:gd name="connsiteX55" fmla="*/ 2754 w 10000"/>
              <a:gd name="connsiteY55" fmla="*/ 4918 h 10000"/>
              <a:gd name="connsiteX56" fmla="*/ 2583 w 10000"/>
              <a:gd name="connsiteY56" fmla="*/ 5044 h 10000"/>
              <a:gd name="connsiteX57" fmla="*/ 2268 w 10000"/>
              <a:gd name="connsiteY57" fmla="*/ 5051 h 10000"/>
              <a:gd name="connsiteX58" fmla="*/ 2063 w 10000"/>
              <a:gd name="connsiteY58" fmla="*/ 4956 h 10000"/>
              <a:gd name="connsiteX59" fmla="*/ 1952 w 10000"/>
              <a:gd name="connsiteY59" fmla="*/ 4956 h 10000"/>
              <a:gd name="connsiteX60" fmla="*/ 1910 w 10000"/>
              <a:gd name="connsiteY60" fmla="*/ 4994 h 10000"/>
              <a:gd name="connsiteX61" fmla="*/ 2455 w 10000"/>
              <a:gd name="connsiteY61" fmla="*/ 5539 h 10000"/>
              <a:gd name="connsiteX62" fmla="*/ 2532 w 10000"/>
              <a:gd name="connsiteY62" fmla="*/ 5571 h 10000"/>
              <a:gd name="connsiteX63" fmla="*/ 2506 w 10000"/>
              <a:gd name="connsiteY63" fmla="*/ 5799 h 10000"/>
              <a:gd name="connsiteX64" fmla="*/ 2464 w 10000"/>
              <a:gd name="connsiteY64" fmla="*/ 5888 h 10000"/>
              <a:gd name="connsiteX65" fmla="*/ 2336 w 10000"/>
              <a:gd name="connsiteY65" fmla="*/ 5926 h 10000"/>
              <a:gd name="connsiteX66" fmla="*/ 2242 w 10000"/>
              <a:gd name="connsiteY66" fmla="*/ 5863 h 10000"/>
              <a:gd name="connsiteX67" fmla="*/ 2148 w 10000"/>
              <a:gd name="connsiteY67" fmla="*/ 5857 h 10000"/>
              <a:gd name="connsiteX68" fmla="*/ 2038 w 10000"/>
              <a:gd name="connsiteY68" fmla="*/ 5977 h 10000"/>
              <a:gd name="connsiteX69" fmla="*/ 1858 w 10000"/>
              <a:gd name="connsiteY69" fmla="*/ 6041 h 10000"/>
              <a:gd name="connsiteX70" fmla="*/ 1688 w 10000"/>
              <a:gd name="connsiteY70" fmla="*/ 6041 h 10000"/>
              <a:gd name="connsiteX71" fmla="*/ 1603 w 10000"/>
              <a:gd name="connsiteY71" fmla="*/ 6091 h 10000"/>
              <a:gd name="connsiteX72" fmla="*/ 1500 w 10000"/>
              <a:gd name="connsiteY72" fmla="*/ 6085 h 10000"/>
              <a:gd name="connsiteX73" fmla="*/ 1458 w 10000"/>
              <a:gd name="connsiteY73" fmla="*/ 6003 h 10000"/>
              <a:gd name="connsiteX74" fmla="*/ 1313 w 10000"/>
              <a:gd name="connsiteY74" fmla="*/ 6009 h 10000"/>
              <a:gd name="connsiteX75" fmla="*/ 1194 w 10000"/>
              <a:gd name="connsiteY75" fmla="*/ 6110 h 10000"/>
              <a:gd name="connsiteX76" fmla="*/ 1245 w 10000"/>
              <a:gd name="connsiteY76" fmla="*/ 6199 h 10000"/>
              <a:gd name="connsiteX77" fmla="*/ 1381 w 10000"/>
              <a:gd name="connsiteY77" fmla="*/ 6244 h 10000"/>
              <a:gd name="connsiteX78" fmla="*/ 1424 w 10000"/>
              <a:gd name="connsiteY78" fmla="*/ 6402 h 10000"/>
              <a:gd name="connsiteX79" fmla="*/ 1500 w 10000"/>
              <a:gd name="connsiteY79" fmla="*/ 6491 h 10000"/>
              <a:gd name="connsiteX80" fmla="*/ 1500 w 10000"/>
              <a:gd name="connsiteY80" fmla="*/ 6662 h 10000"/>
              <a:gd name="connsiteX81" fmla="*/ 1449 w 10000"/>
              <a:gd name="connsiteY81" fmla="*/ 6726 h 10000"/>
              <a:gd name="connsiteX82" fmla="*/ 1338 w 10000"/>
              <a:gd name="connsiteY82" fmla="*/ 6713 h 10000"/>
              <a:gd name="connsiteX83" fmla="*/ 1270 w 10000"/>
              <a:gd name="connsiteY83" fmla="*/ 6662 h 10000"/>
              <a:gd name="connsiteX84" fmla="*/ 1219 w 10000"/>
              <a:gd name="connsiteY84" fmla="*/ 6497 h 10000"/>
              <a:gd name="connsiteX85" fmla="*/ 1151 w 10000"/>
              <a:gd name="connsiteY85" fmla="*/ 6447 h 10000"/>
              <a:gd name="connsiteX86" fmla="*/ 963 w 10000"/>
              <a:gd name="connsiteY86" fmla="*/ 6447 h 10000"/>
              <a:gd name="connsiteX87" fmla="*/ 614 w 10000"/>
              <a:gd name="connsiteY87" fmla="*/ 6675 h 10000"/>
              <a:gd name="connsiteX88" fmla="*/ 554 w 10000"/>
              <a:gd name="connsiteY88" fmla="*/ 6834 h 10000"/>
              <a:gd name="connsiteX89" fmla="*/ 486 w 10000"/>
              <a:gd name="connsiteY89" fmla="*/ 6897 h 10000"/>
              <a:gd name="connsiteX90" fmla="*/ 486 w 10000"/>
              <a:gd name="connsiteY90" fmla="*/ 7132 h 10000"/>
              <a:gd name="connsiteX91" fmla="*/ 392 w 10000"/>
              <a:gd name="connsiteY91" fmla="*/ 7189 h 10000"/>
              <a:gd name="connsiteX92" fmla="*/ 213 w 10000"/>
              <a:gd name="connsiteY92" fmla="*/ 7189 h 10000"/>
              <a:gd name="connsiteX93" fmla="*/ 94 w 10000"/>
              <a:gd name="connsiteY93" fmla="*/ 7284 h 10000"/>
              <a:gd name="connsiteX94" fmla="*/ 68 w 10000"/>
              <a:gd name="connsiteY94" fmla="*/ 7563 h 10000"/>
              <a:gd name="connsiteX95" fmla="*/ 17 w 10000"/>
              <a:gd name="connsiteY95" fmla="*/ 7589 h 10000"/>
              <a:gd name="connsiteX96" fmla="*/ 34 w 10000"/>
              <a:gd name="connsiteY96" fmla="*/ 7684 h 10000"/>
              <a:gd name="connsiteX97" fmla="*/ 247 w 10000"/>
              <a:gd name="connsiteY97" fmla="*/ 7925 h 10000"/>
              <a:gd name="connsiteX98" fmla="*/ 239 w 10000"/>
              <a:gd name="connsiteY98" fmla="*/ 8065 h 10000"/>
              <a:gd name="connsiteX99" fmla="*/ 17 w 10000"/>
              <a:gd name="connsiteY99" fmla="*/ 8299 h 10000"/>
              <a:gd name="connsiteX100" fmla="*/ 0 w 10000"/>
              <a:gd name="connsiteY100" fmla="*/ 8534 h 10000"/>
              <a:gd name="connsiteX101" fmla="*/ 1500 w 10000"/>
              <a:gd name="connsiteY101" fmla="*/ 9448 h 10000"/>
              <a:gd name="connsiteX102" fmla="*/ 1748 w 10000"/>
              <a:gd name="connsiteY102" fmla="*/ 9867 h 10000"/>
              <a:gd name="connsiteX103" fmla="*/ 1969 w 10000"/>
              <a:gd name="connsiteY103" fmla="*/ 10000 h 10000"/>
              <a:gd name="connsiteX104" fmla="*/ 2138 w 10000"/>
              <a:gd name="connsiteY104" fmla="*/ 6737 h 10000"/>
              <a:gd name="connsiteX105" fmla="*/ 2432 w 10000"/>
              <a:gd name="connsiteY105" fmla="*/ 6851 h 10000"/>
              <a:gd name="connsiteX106" fmla="*/ 2698 w 10000"/>
              <a:gd name="connsiteY106" fmla="*/ 6961 h 10000"/>
              <a:gd name="connsiteX107" fmla="*/ 2946 w 10000"/>
              <a:gd name="connsiteY107" fmla="*/ 7241 h 10000"/>
              <a:gd name="connsiteX108" fmla="*/ 3118 w 10000"/>
              <a:gd name="connsiteY108" fmla="*/ 7743 h 10000"/>
              <a:gd name="connsiteX109" fmla="*/ 3766 w 10000"/>
              <a:gd name="connsiteY109" fmla="*/ 8177 h 10000"/>
              <a:gd name="connsiteX110" fmla="*/ 3811 w 10000"/>
              <a:gd name="connsiteY110" fmla="*/ 8515 h 10000"/>
              <a:gd name="connsiteX111" fmla="*/ 4058 w 10000"/>
              <a:gd name="connsiteY111" fmla="*/ 8871 h 10000"/>
              <a:gd name="connsiteX112" fmla="*/ 4484 w 10000"/>
              <a:gd name="connsiteY112" fmla="*/ 9004 h 10000"/>
              <a:gd name="connsiteX113" fmla="*/ 4979 w 10000"/>
              <a:gd name="connsiteY113" fmla="*/ 9486 h 10000"/>
              <a:gd name="connsiteX114" fmla="*/ 5072 w 10000"/>
              <a:gd name="connsiteY114" fmla="*/ 9543 h 10000"/>
              <a:gd name="connsiteX115" fmla="*/ 5234 w 10000"/>
              <a:gd name="connsiteY115" fmla="*/ 9549 h 10000"/>
              <a:gd name="connsiteX116" fmla="*/ 5388 w 10000"/>
              <a:gd name="connsiteY116" fmla="*/ 9461 h 10000"/>
              <a:gd name="connsiteX117" fmla="*/ 5422 w 10000"/>
              <a:gd name="connsiteY117" fmla="*/ 9181 h 10000"/>
              <a:gd name="connsiteX118" fmla="*/ 6121 w 10000"/>
              <a:gd name="connsiteY118" fmla="*/ 9016 h 10000"/>
              <a:gd name="connsiteX119" fmla="*/ 6266 w 10000"/>
              <a:gd name="connsiteY119" fmla="*/ 9036 h 10000"/>
              <a:gd name="connsiteX120" fmla="*/ 6522 w 10000"/>
              <a:gd name="connsiteY120" fmla="*/ 9251 h 10000"/>
              <a:gd name="connsiteX121" fmla="*/ 6633 w 10000"/>
              <a:gd name="connsiteY121" fmla="*/ 9239 h 10000"/>
              <a:gd name="connsiteX122" fmla="*/ 6641 w 10000"/>
              <a:gd name="connsiteY122" fmla="*/ 9112 h 10000"/>
              <a:gd name="connsiteX123" fmla="*/ 6957 w 10000"/>
              <a:gd name="connsiteY123" fmla="*/ 8959 h 10000"/>
              <a:gd name="connsiteX124" fmla="*/ 7630 w 10000"/>
              <a:gd name="connsiteY124" fmla="*/ 9048 h 10000"/>
              <a:gd name="connsiteX125" fmla="*/ 7775 w 10000"/>
              <a:gd name="connsiteY125" fmla="*/ 8915 h 10000"/>
              <a:gd name="connsiteX126" fmla="*/ 8397 w 10000"/>
              <a:gd name="connsiteY126" fmla="*/ 8991 h 10000"/>
              <a:gd name="connsiteX127" fmla="*/ 8841 w 10000"/>
              <a:gd name="connsiteY127" fmla="*/ 8934 h 10000"/>
              <a:gd name="connsiteX128" fmla="*/ 9096 w 10000"/>
              <a:gd name="connsiteY128" fmla="*/ 9016 h 10000"/>
              <a:gd name="connsiteX129" fmla="*/ 9071 w 10000"/>
              <a:gd name="connsiteY129" fmla="*/ 8274 h 10000"/>
              <a:gd name="connsiteX130" fmla="*/ 9548 w 10000"/>
              <a:gd name="connsiteY130" fmla="*/ 7475 h 10000"/>
              <a:gd name="connsiteX131" fmla="*/ 10000 w 10000"/>
              <a:gd name="connsiteY131" fmla="*/ 7113 h 10000"/>
              <a:gd name="connsiteX132" fmla="*/ 8986 w 10000"/>
              <a:gd name="connsiteY132" fmla="*/ 6174 h 10000"/>
              <a:gd name="connsiteX133" fmla="*/ 8968 w 10000"/>
              <a:gd name="connsiteY133" fmla="*/ 4886 h 10000"/>
              <a:gd name="connsiteX134" fmla="*/ 9633 w 10000"/>
              <a:gd name="connsiteY134" fmla="*/ 4638 h 10000"/>
              <a:gd name="connsiteX135" fmla="*/ 9250 w 10000"/>
              <a:gd name="connsiteY135" fmla="*/ 4575 h 10000"/>
              <a:gd name="connsiteX136" fmla="*/ 8900 w 10000"/>
              <a:gd name="connsiteY136" fmla="*/ 4093 h 10000"/>
              <a:gd name="connsiteX137" fmla="*/ 9301 w 10000"/>
              <a:gd name="connsiteY137" fmla="*/ 3763 h 10000"/>
              <a:gd name="connsiteX138" fmla="*/ 9003 w 10000"/>
              <a:gd name="connsiteY138" fmla="*/ 3433 h 10000"/>
              <a:gd name="connsiteX139" fmla="*/ 8551 w 10000"/>
              <a:gd name="connsiteY139" fmla="*/ 3718 h 10000"/>
              <a:gd name="connsiteX140" fmla="*/ 7391 w 10000"/>
              <a:gd name="connsiteY140" fmla="*/ 3433 h 10000"/>
              <a:gd name="connsiteX141" fmla="*/ 6777 w 10000"/>
              <a:gd name="connsiteY141" fmla="*/ 3084 h 10000"/>
              <a:gd name="connsiteX142" fmla="*/ 6616 w 10000"/>
              <a:gd name="connsiteY142" fmla="*/ 2354 h 10000"/>
              <a:gd name="connsiteX143" fmla="*/ 6292 w 10000"/>
              <a:gd name="connsiteY143" fmla="*/ 2202 h 10000"/>
              <a:gd name="connsiteX144" fmla="*/ 5857 w 10000"/>
              <a:gd name="connsiteY144" fmla="*/ 2132 h 10000"/>
              <a:gd name="connsiteX145" fmla="*/ 5499 w 10000"/>
              <a:gd name="connsiteY145" fmla="*/ 1739 h 10000"/>
              <a:gd name="connsiteX146" fmla="*/ 5081 w 10000"/>
              <a:gd name="connsiteY146" fmla="*/ 863 h 10000"/>
              <a:gd name="connsiteX147" fmla="*/ 4672 w 10000"/>
              <a:gd name="connsiteY147" fmla="*/ 501 h 10000"/>
              <a:gd name="connsiteX148" fmla="*/ 3905 w 10000"/>
              <a:gd name="connsiteY148" fmla="*/ 209 h 10000"/>
              <a:gd name="connsiteX149" fmla="*/ 3717 w 10000"/>
              <a:gd name="connsiteY149" fmla="*/ 0 h 10000"/>
              <a:gd name="connsiteX150" fmla="*/ 3248 w 10000"/>
              <a:gd name="connsiteY150" fmla="*/ 121 h 10000"/>
              <a:gd name="connsiteX151" fmla="*/ 2771 w 10000"/>
              <a:gd name="connsiteY151" fmla="*/ 140 h 10000"/>
              <a:gd name="connsiteX152" fmla="*/ 2148 w 10000"/>
              <a:gd name="connsiteY152" fmla="*/ 438 h 10000"/>
              <a:gd name="connsiteX153" fmla="*/ 1586 w 10000"/>
              <a:gd name="connsiteY153" fmla="*/ 451 h 10000"/>
              <a:gd name="connsiteX154" fmla="*/ 1321 w 10000"/>
              <a:gd name="connsiteY154" fmla="*/ 603 h 10000"/>
              <a:gd name="connsiteX155" fmla="*/ 776 w 10000"/>
              <a:gd name="connsiteY155" fmla="*/ 641 h 10000"/>
              <a:gd name="connsiteX0" fmla="*/ 776 w 10000"/>
              <a:gd name="connsiteY0" fmla="*/ 641 h 9867"/>
              <a:gd name="connsiteX1" fmla="*/ 1074 w 10000"/>
              <a:gd name="connsiteY1" fmla="*/ 857 h 9867"/>
              <a:gd name="connsiteX2" fmla="*/ 1091 w 10000"/>
              <a:gd name="connsiteY2" fmla="*/ 958 h 9867"/>
              <a:gd name="connsiteX3" fmla="*/ 1032 w 10000"/>
              <a:gd name="connsiteY3" fmla="*/ 1022 h 9867"/>
              <a:gd name="connsiteX4" fmla="*/ 1125 w 10000"/>
              <a:gd name="connsiteY4" fmla="*/ 1091 h 9867"/>
              <a:gd name="connsiteX5" fmla="*/ 1134 w 10000"/>
              <a:gd name="connsiteY5" fmla="*/ 1187 h 9867"/>
              <a:gd name="connsiteX6" fmla="*/ 1023 w 10000"/>
              <a:gd name="connsiteY6" fmla="*/ 1301 h 9867"/>
              <a:gd name="connsiteX7" fmla="*/ 1040 w 10000"/>
              <a:gd name="connsiteY7" fmla="*/ 1377 h 9867"/>
              <a:gd name="connsiteX8" fmla="*/ 1168 w 10000"/>
              <a:gd name="connsiteY8" fmla="*/ 1428 h 9867"/>
              <a:gd name="connsiteX9" fmla="*/ 1253 w 10000"/>
              <a:gd name="connsiteY9" fmla="*/ 1364 h 9867"/>
              <a:gd name="connsiteX10" fmla="*/ 1330 w 10000"/>
              <a:gd name="connsiteY10" fmla="*/ 1364 h 9867"/>
              <a:gd name="connsiteX11" fmla="*/ 1449 w 10000"/>
              <a:gd name="connsiteY11" fmla="*/ 1434 h 9867"/>
              <a:gd name="connsiteX12" fmla="*/ 1449 w 10000"/>
              <a:gd name="connsiteY12" fmla="*/ 1478 h 9867"/>
              <a:gd name="connsiteX13" fmla="*/ 1373 w 10000"/>
              <a:gd name="connsiteY13" fmla="*/ 1523 h 9867"/>
              <a:gd name="connsiteX14" fmla="*/ 1296 w 10000"/>
              <a:gd name="connsiteY14" fmla="*/ 1523 h 9867"/>
              <a:gd name="connsiteX15" fmla="*/ 1262 w 10000"/>
              <a:gd name="connsiteY15" fmla="*/ 1599 h 9867"/>
              <a:gd name="connsiteX16" fmla="*/ 1313 w 10000"/>
              <a:gd name="connsiteY16" fmla="*/ 1656 h 9867"/>
              <a:gd name="connsiteX17" fmla="*/ 1253 w 10000"/>
              <a:gd name="connsiteY17" fmla="*/ 1796 h 9867"/>
              <a:gd name="connsiteX18" fmla="*/ 1313 w 10000"/>
              <a:gd name="connsiteY18" fmla="*/ 1846 h 9867"/>
              <a:gd name="connsiteX19" fmla="*/ 1466 w 10000"/>
              <a:gd name="connsiteY19" fmla="*/ 1846 h 9867"/>
              <a:gd name="connsiteX20" fmla="*/ 1645 w 10000"/>
              <a:gd name="connsiteY20" fmla="*/ 1986 h 9867"/>
              <a:gd name="connsiteX21" fmla="*/ 1824 w 10000"/>
              <a:gd name="connsiteY21" fmla="*/ 1973 h 9867"/>
              <a:gd name="connsiteX22" fmla="*/ 1969 w 10000"/>
              <a:gd name="connsiteY22" fmla="*/ 2030 h 9867"/>
              <a:gd name="connsiteX23" fmla="*/ 2140 w 10000"/>
              <a:gd name="connsiteY23" fmla="*/ 2024 h 9867"/>
              <a:gd name="connsiteX24" fmla="*/ 2225 w 10000"/>
              <a:gd name="connsiteY24" fmla="*/ 2056 h 9867"/>
              <a:gd name="connsiteX25" fmla="*/ 2242 w 10000"/>
              <a:gd name="connsiteY25" fmla="*/ 2119 h 9867"/>
              <a:gd name="connsiteX26" fmla="*/ 2097 w 10000"/>
              <a:gd name="connsiteY26" fmla="*/ 2176 h 9867"/>
              <a:gd name="connsiteX27" fmla="*/ 1799 w 10000"/>
              <a:gd name="connsiteY27" fmla="*/ 2126 h 9867"/>
              <a:gd name="connsiteX28" fmla="*/ 1714 w 10000"/>
              <a:gd name="connsiteY28" fmla="*/ 2138 h 9867"/>
              <a:gd name="connsiteX29" fmla="*/ 1662 w 10000"/>
              <a:gd name="connsiteY29" fmla="*/ 2278 h 9867"/>
              <a:gd name="connsiteX30" fmla="*/ 1569 w 10000"/>
              <a:gd name="connsiteY30" fmla="*/ 2367 h 9867"/>
              <a:gd name="connsiteX31" fmla="*/ 1620 w 10000"/>
              <a:gd name="connsiteY31" fmla="*/ 2646 h 9867"/>
              <a:gd name="connsiteX32" fmla="*/ 1705 w 10000"/>
              <a:gd name="connsiteY32" fmla="*/ 2690 h 9867"/>
              <a:gd name="connsiteX33" fmla="*/ 1654 w 10000"/>
              <a:gd name="connsiteY33" fmla="*/ 2830 h 9867"/>
              <a:gd name="connsiteX34" fmla="*/ 2131 w 10000"/>
              <a:gd name="connsiteY34" fmla="*/ 2862 h 9867"/>
              <a:gd name="connsiteX35" fmla="*/ 2225 w 10000"/>
              <a:gd name="connsiteY35" fmla="*/ 2951 h 9867"/>
              <a:gd name="connsiteX36" fmla="*/ 2157 w 10000"/>
              <a:gd name="connsiteY36" fmla="*/ 3052 h 9867"/>
              <a:gd name="connsiteX37" fmla="*/ 2157 w 10000"/>
              <a:gd name="connsiteY37" fmla="*/ 3179 h 9867"/>
              <a:gd name="connsiteX38" fmla="*/ 1765 w 10000"/>
              <a:gd name="connsiteY38" fmla="*/ 3712 h 9867"/>
              <a:gd name="connsiteX39" fmla="*/ 1671 w 10000"/>
              <a:gd name="connsiteY39" fmla="*/ 3750 h 9867"/>
              <a:gd name="connsiteX40" fmla="*/ 1671 w 10000"/>
              <a:gd name="connsiteY40" fmla="*/ 3839 h 9867"/>
              <a:gd name="connsiteX41" fmla="*/ 1731 w 10000"/>
              <a:gd name="connsiteY41" fmla="*/ 3902 h 9867"/>
              <a:gd name="connsiteX42" fmla="*/ 1594 w 10000"/>
              <a:gd name="connsiteY42" fmla="*/ 4055 h 9867"/>
              <a:gd name="connsiteX43" fmla="*/ 1671 w 10000"/>
              <a:gd name="connsiteY43" fmla="*/ 4251 h 9867"/>
              <a:gd name="connsiteX44" fmla="*/ 1807 w 10000"/>
              <a:gd name="connsiteY44" fmla="*/ 4277 h 9867"/>
              <a:gd name="connsiteX45" fmla="*/ 1910 w 10000"/>
              <a:gd name="connsiteY45" fmla="*/ 4334 h 9867"/>
              <a:gd name="connsiteX46" fmla="*/ 2063 w 10000"/>
              <a:gd name="connsiteY46" fmla="*/ 4308 h 9867"/>
              <a:gd name="connsiteX47" fmla="*/ 2131 w 10000"/>
              <a:gd name="connsiteY47" fmla="*/ 4397 h 9867"/>
              <a:gd name="connsiteX48" fmla="*/ 2165 w 10000"/>
              <a:gd name="connsiteY48" fmla="*/ 4499 h 9867"/>
              <a:gd name="connsiteX49" fmla="*/ 2327 w 10000"/>
              <a:gd name="connsiteY49" fmla="*/ 4626 h 9867"/>
              <a:gd name="connsiteX50" fmla="*/ 2438 w 10000"/>
              <a:gd name="connsiteY50" fmla="*/ 4613 h 9867"/>
              <a:gd name="connsiteX51" fmla="*/ 2481 w 10000"/>
              <a:gd name="connsiteY51" fmla="*/ 4645 h 9867"/>
              <a:gd name="connsiteX52" fmla="*/ 2472 w 10000"/>
              <a:gd name="connsiteY52" fmla="*/ 4721 h 9867"/>
              <a:gd name="connsiteX53" fmla="*/ 2634 w 10000"/>
              <a:gd name="connsiteY53" fmla="*/ 4797 h 9867"/>
              <a:gd name="connsiteX54" fmla="*/ 2737 w 10000"/>
              <a:gd name="connsiteY54" fmla="*/ 4816 h 9867"/>
              <a:gd name="connsiteX55" fmla="*/ 2754 w 10000"/>
              <a:gd name="connsiteY55" fmla="*/ 4918 h 9867"/>
              <a:gd name="connsiteX56" fmla="*/ 2583 w 10000"/>
              <a:gd name="connsiteY56" fmla="*/ 5044 h 9867"/>
              <a:gd name="connsiteX57" fmla="*/ 2268 w 10000"/>
              <a:gd name="connsiteY57" fmla="*/ 5051 h 9867"/>
              <a:gd name="connsiteX58" fmla="*/ 2063 w 10000"/>
              <a:gd name="connsiteY58" fmla="*/ 4956 h 9867"/>
              <a:gd name="connsiteX59" fmla="*/ 1952 w 10000"/>
              <a:gd name="connsiteY59" fmla="*/ 4956 h 9867"/>
              <a:gd name="connsiteX60" fmla="*/ 1910 w 10000"/>
              <a:gd name="connsiteY60" fmla="*/ 4994 h 9867"/>
              <a:gd name="connsiteX61" fmla="*/ 2455 w 10000"/>
              <a:gd name="connsiteY61" fmla="*/ 5539 h 9867"/>
              <a:gd name="connsiteX62" fmla="*/ 2532 w 10000"/>
              <a:gd name="connsiteY62" fmla="*/ 5571 h 9867"/>
              <a:gd name="connsiteX63" fmla="*/ 2506 w 10000"/>
              <a:gd name="connsiteY63" fmla="*/ 5799 h 9867"/>
              <a:gd name="connsiteX64" fmla="*/ 2464 w 10000"/>
              <a:gd name="connsiteY64" fmla="*/ 5888 h 9867"/>
              <a:gd name="connsiteX65" fmla="*/ 2336 w 10000"/>
              <a:gd name="connsiteY65" fmla="*/ 5926 h 9867"/>
              <a:gd name="connsiteX66" fmla="*/ 2242 w 10000"/>
              <a:gd name="connsiteY66" fmla="*/ 5863 h 9867"/>
              <a:gd name="connsiteX67" fmla="*/ 2148 w 10000"/>
              <a:gd name="connsiteY67" fmla="*/ 5857 h 9867"/>
              <a:gd name="connsiteX68" fmla="*/ 2038 w 10000"/>
              <a:gd name="connsiteY68" fmla="*/ 5977 h 9867"/>
              <a:gd name="connsiteX69" fmla="*/ 1858 w 10000"/>
              <a:gd name="connsiteY69" fmla="*/ 6041 h 9867"/>
              <a:gd name="connsiteX70" fmla="*/ 1688 w 10000"/>
              <a:gd name="connsiteY70" fmla="*/ 6041 h 9867"/>
              <a:gd name="connsiteX71" fmla="*/ 1603 w 10000"/>
              <a:gd name="connsiteY71" fmla="*/ 6091 h 9867"/>
              <a:gd name="connsiteX72" fmla="*/ 1500 w 10000"/>
              <a:gd name="connsiteY72" fmla="*/ 6085 h 9867"/>
              <a:gd name="connsiteX73" fmla="*/ 1458 w 10000"/>
              <a:gd name="connsiteY73" fmla="*/ 6003 h 9867"/>
              <a:gd name="connsiteX74" fmla="*/ 1313 w 10000"/>
              <a:gd name="connsiteY74" fmla="*/ 6009 h 9867"/>
              <a:gd name="connsiteX75" fmla="*/ 1194 w 10000"/>
              <a:gd name="connsiteY75" fmla="*/ 6110 h 9867"/>
              <a:gd name="connsiteX76" fmla="*/ 1245 w 10000"/>
              <a:gd name="connsiteY76" fmla="*/ 6199 h 9867"/>
              <a:gd name="connsiteX77" fmla="*/ 1381 w 10000"/>
              <a:gd name="connsiteY77" fmla="*/ 6244 h 9867"/>
              <a:gd name="connsiteX78" fmla="*/ 1424 w 10000"/>
              <a:gd name="connsiteY78" fmla="*/ 6402 h 9867"/>
              <a:gd name="connsiteX79" fmla="*/ 1500 w 10000"/>
              <a:gd name="connsiteY79" fmla="*/ 6491 h 9867"/>
              <a:gd name="connsiteX80" fmla="*/ 1500 w 10000"/>
              <a:gd name="connsiteY80" fmla="*/ 6662 h 9867"/>
              <a:gd name="connsiteX81" fmla="*/ 1449 w 10000"/>
              <a:gd name="connsiteY81" fmla="*/ 6726 h 9867"/>
              <a:gd name="connsiteX82" fmla="*/ 1338 w 10000"/>
              <a:gd name="connsiteY82" fmla="*/ 6713 h 9867"/>
              <a:gd name="connsiteX83" fmla="*/ 1270 w 10000"/>
              <a:gd name="connsiteY83" fmla="*/ 6662 h 9867"/>
              <a:gd name="connsiteX84" fmla="*/ 1219 w 10000"/>
              <a:gd name="connsiteY84" fmla="*/ 6497 h 9867"/>
              <a:gd name="connsiteX85" fmla="*/ 1151 w 10000"/>
              <a:gd name="connsiteY85" fmla="*/ 6447 h 9867"/>
              <a:gd name="connsiteX86" fmla="*/ 963 w 10000"/>
              <a:gd name="connsiteY86" fmla="*/ 6447 h 9867"/>
              <a:gd name="connsiteX87" fmla="*/ 614 w 10000"/>
              <a:gd name="connsiteY87" fmla="*/ 6675 h 9867"/>
              <a:gd name="connsiteX88" fmla="*/ 554 w 10000"/>
              <a:gd name="connsiteY88" fmla="*/ 6834 h 9867"/>
              <a:gd name="connsiteX89" fmla="*/ 486 w 10000"/>
              <a:gd name="connsiteY89" fmla="*/ 6897 h 9867"/>
              <a:gd name="connsiteX90" fmla="*/ 486 w 10000"/>
              <a:gd name="connsiteY90" fmla="*/ 7132 h 9867"/>
              <a:gd name="connsiteX91" fmla="*/ 392 w 10000"/>
              <a:gd name="connsiteY91" fmla="*/ 7189 h 9867"/>
              <a:gd name="connsiteX92" fmla="*/ 213 w 10000"/>
              <a:gd name="connsiteY92" fmla="*/ 7189 h 9867"/>
              <a:gd name="connsiteX93" fmla="*/ 94 w 10000"/>
              <a:gd name="connsiteY93" fmla="*/ 7284 h 9867"/>
              <a:gd name="connsiteX94" fmla="*/ 68 w 10000"/>
              <a:gd name="connsiteY94" fmla="*/ 7563 h 9867"/>
              <a:gd name="connsiteX95" fmla="*/ 17 w 10000"/>
              <a:gd name="connsiteY95" fmla="*/ 7589 h 9867"/>
              <a:gd name="connsiteX96" fmla="*/ 34 w 10000"/>
              <a:gd name="connsiteY96" fmla="*/ 7684 h 9867"/>
              <a:gd name="connsiteX97" fmla="*/ 247 w 10000"/>
              <a:gd name="connsiteY97" fmla="*/ 7925 h 9867"/>
              <a:gd name="connsiteX98" fmla="*/ 239 w 10000"/>
              <a:gd name="connsiteY98" fmla="*/ 8065 h 9867"/>
              <a:gd name="connsiteX99" fmla="*/ 17 w 10000"/>
              <a:gd name="connsiteY99" fmla="*/ 8299 h 9867"/>
              <a:gd name="connsiteX100" fmla="*/ 0 w 10000"/>
              <a:gd name="connsiteY100" fmla="*/ 8534 h 9867"/>
              <a:gd name="connsiteX101" fmla="*/ 1500 w 10000"/>
              <a:gd name="connsiteY101" fmla="*/ 9448 h 9867"/>
              <a:gd name="connsiteX102" fmla="*/ 1748 w 10000"/>
              <a:gd name="connsiteY102" fmla="*/ 9867 h 9867"/>
              <a:gd name="connsiteX103" fmla="*/ 1768 w 10000"/>
              <a:gd name="connsiteY103" fmla="*/ 7854 h 9867"/>
              <a:gd name="connsiteX104" fmla="*/ 2138 w 10000"/>
              <a:gd name="connsiteY104" fmla="*/ 6737 h 9867"/>
              <a:gd name="connsiteX105" fmla="*/ 2432 w 10000"/>
              <a:gd name="connsiteY105" fmla="*/ 6851 h 9867"/>
              <a:gd name="connsiteX106" fmla="*/ 2698 w 10000"/>
              <a:gd name="connsiteY106" fmla="*/ 6961 h 9867"/>
              <a:gd name="connsiteX107" fmla="*/ 2946 w 10000"/>
              <a:gd name="connsiteY107" fmla="*/ 7241 h 9867"/>
              <a:gd name="connsiteX108" fmla="*/ 3118 w 10000"/>
              <a:gd name="connsiteY108" fmla="*/ 7743 h 9867"/>
              <a:gd name="connsiteX109" fmla="*/ 3766 w 10000"/>
              <a:gd name="connsiteY109" fmla="*/ 8177 h 9867"/>
              <a:gd name="connsiteX110" fmla="*/ 3811 w 10000"/>
              <a:gd name="connsiteY110" fmla="*/ 8515 h 9867"/>
              <a:gd name="connsiteX111" fmla="*/ 4058 w 10000"/>
              <a:gd name="connsiteY111" fmla="*/ 8871 h 9867"/>
              <a:gd name="connsiteX112" fmla="*/ 4484 w 10000"/>
              <a:gd name="connsiteY112" fmla="*/ 9004 h 9867"/>
              <a:gd name="connsiteX113" fmla="*/ 4979 w 10000"/>
              <a:gd name="connsiteY113" fmla="*/ 9486 h 9867"/>
              <a:gd name="connsiteX114" fmla="*/ 5072 w 10000"/>
              <a:gd name="connsiteY114" fmla="*/ 9543 h 9867"/>
              <a:gd name="connsiteX115" fmla="*/ 5234 w 10000"/>
              <a:gd name="connsiteY115" fmla="*/ 9549 h 9867"/>
              <a:gd name="connsiteX116" fmla="*/ 5388 w 10000"/>
              <a:gd name="connsiteY116" fmla="*/ 9461 h 9867"/>
              <a:gd name="connsiteX117" fmla="*/ 5422 w 10000"/>
              <a:gd name="connsiteY117" fmla="*/ 9181 h 9867"/>
              <a:gd name="connsiteX118" fmla="*/ 6121 w 10000"/>
              <a:gd name="connsiteY118" fmla="*/ 9016 h 9867"/>
              <a:gd name="connsiteX119" fmla="*/ 6266 w 10000"/>
              <a:gd name="connsiteY119" fmla="*/ 9036 h 9867"/>
              <a:gd name="connsiteX120" fmla="*/ 6522 w 10000"/>
              <a:gd name="connsiteY120" fmla="*/ 9251 h 9867"/>
              <a:gd name="connsiteX121" fmla="*/ 6633 w 10000"/>
              <a:gd name="connsiteY121" fmla="*/ 9239 h 9867"/>
              <a:gd name="connsiteX122" fmla="*/ 6641 w 10000"/>
              <a:gd name="connsiteY122" fmla="*/ 9112 h 9867"/>
              <a:gd name="connsiteX123" fmla="*/ 6957 w 10000"/>
              <a:gd name="connsiteY123" fmla="*/ 8959 h 9867"/>
              <a:gd name="connsiteX124" fmla="*/ 7630 w 10000"/>
              <a:gd name="connsiteY124" fmla="*/ 9048 h 9867"/>
              <a:gd name="connsiteX125" fmla="*/ 7775 w 10000"/>
              <a:gd name="connsiteY125" fmla="*/ 8915 h 9867"/>
              <a:gd name="connsiteX126" fmla="*/ 8397 w 10000"/>
              <a:gd name="connsiteY126" fmla="*/ 8991 h 9867"/>
              <a:gd name="connsiteX127" fmla="*/ 8841 w 10000"/>
              <a:gd name="connsiteY127" fmla="*/ 8934 h 9867"/>
              <a:gd name="connsiteX128" fmla="*/ 9096 w 10000"/>
              <a:gd name="connsiteY128" fmla="*/ 9016 h 9867"/>
              <a:gd name="connsiteX129" fmla="*/ 9071 w 10000"/>
              <a:gd name="connsiteY129" fmla="*/ 8274 h 9867"/>
              <a:gd name="connsiteX130" fmla="*/ 9548 w 10000"/>
              <a:gd name="connsiteY130" fmla="*/ 7475 h 9867"/>
              <a:gd name="connsiteX131" fmla="*/ 10000 w 10000"/>
              <a:gd name="connsiteY131" fmla="*/ 7113 h 9867"/>
              <a:gd name="connsiteX132" fmla="*/ 8986 w 10000"/>
              <a:gd name="connsiteY132" fmla="*/ 6174 h 9867"/>
              <a:gd name="connsiteX133" fmla="*/ 8968 w 10000"/>
              <a:gd name="connsiteY133" fmla="*/ 4886 h 9867"/>
              <a:gd name="connsiteX134" fmla="*/ 9633 w 10000"/>
              <a:gd name="connsiteY134" fmla="*/ 4638 h 9867"/>
              <a:gd name="connsiteX135" fmla="*/ 9250 w 10000"/>
              <a:gd name="connsiteY135" fmla="*/ 4575 h 9867"/>
              <a:gd name="connsiteX136" fmla="*/ 8900 w 10000"/>
              <a:gd name="connsiteY136" fmla="*/ 4093 h 9867"/>
              <a:gd name="connsiteX137" fmla="*/ 9301 w 10000"/>
              <a:gd name="connsiteY137" fmla="*/ 3763 h 9867"/>
              <a:gd name="connsiteX138" fmla="*/ 9003 w 10000"/>
              <a:gd name="connsiteY138" fmla="*/ 3433 h 9867"/>
              <a:gd name="connsiteX139" fmla="*/ 8551 w 10000"/>
              <a:gd name="connsiteY139" fmla="*/ 3718 h 9867"/>
              <a:gd name="connsiteX140" fmla="*/ 7391 w 10000"/>
              <a:gd name="connsiteY140" fmla="*/ 3433 h 9867"/>
              <a:gd name="connsiteX141" fmla="*/ 6777 w 10000"/>
              <a:gd name="connsiteY141" fmla="*/ 3084 h 9867"/>
              <a:gd name="connsiteX142" fmla="*/ 6616 w 10000"/>
              <a:gd name="connsiteY142" fmla="*/ 2354 h 9867"/>
              <a:gd name="connsiteX143" fmla="*/ 6292 w 10000"/>
              <a:gd name="connsiteY143" fmla="*/ 2202 h 9867"/>
              <a:gd name="connsiteX144" fmla="*/ 5857 w 10000"/>
              <a:gd name="connsiteY144" fmla="*/ 2132 h 9867"/>
              <a:gd name="connsiteX145" fmla="*/ 5499 w 10000"/>
              <a:gd name="connsiteY145" fmla="*/ 1739 h 9867"/>
              <a:gd name="connsiteX146" fmla="*/ 5081 w 10000"/>
              <a:gd name="connsiteY146" fmla="*/ 863 h 9867"/>
              <a:gd name="connsiteX147" fmla="*/ 4672 w 10000"/>
              <a:gd name="connsiteY147" fmla="*/ 501 h 9867"/>
              <a:gd name="connsiteX148" fmla="*/ 3905 w 10000"/>
              <a:gd name="connsiteY148" fmla="*/ 209 h 9867"/>
              <a:gd name="connsiteX149" fmla="*/ 3717 w 10000"/>
              <a:gd name="connsiteY149" fmla="*/ 0 h 9867"/>
              <a:gd name="connsiteX150" fmla="*/ 3248 w 10000"/>
              <a:gd name="connsiteY150" fmla="*/ 121 h 9867"/>
              <a:gd name="connsiteX151" fmla="*/ 2771 w 10000"/>
              <a:gd name="connsiteY151" fmla="*/ 140 h 9867"/>
              <a:gd name="connsiteX152" fmla="*/ 2148 w 10000"/>
              <a:gd name="connsiteY152" fmla="*/ 438 h 9867"/>
              <a:gd name="connsiteX153" fmla="*/ 1586 w 10000"/>
              <a:gd name="connsiteY153" fmla="*/ 451 h 9867"/>
              <a:gd name="connsiteX154" fmla="*/ 1321 w 10000"/>
              <a:gd name="connsiteY154" fmla="*/ 603 h 9867"/>
              <a:gd name="connsiteX155" fmla="*/ 776 w 10000"/>
              <a:gd name="connsiteY155" fmla="*/ 641 h 9867"/>
              <a:gd name="connsiteX0" fmla="*/ 776 w 10000"/>
              <a:gd name="connsiteY0" fmla="*/ 650 h 10000"/>
              <a:gd name="connsiteX1" fmla="*/ 1074 w 10000"/>
              <a:gd name="connsiteY1" fmla="*/ 869 h 10000"/>
              <a:gd name="connsiteX2" fmla="*/ 1091 w 10000"/>
              <a:gd name="connsiteY2" fmla="*/ 971 h 10000"/>
              <a:gd name="connsiteX3" fmla="*/ 1032 w 10000"/>
              <a:gd name="connsiteY3" fmla="*/ 1036 h 10000"/>
              <a:gd name="connsiteX4" fmla="*/ 1125 w 10000"/>
              <a:gd name="connsiteY4" fmla="*/ 1106 h 10000"/>
              <a:gd name="connsiteX5" fmla="*/ 1134 w 10000"/>
              <a:gd name="connsiteY5" fmla="*/ 1203 h 10000"/>
              <a:gd name="connsiteX6" fmla="*/ 1023 w 10000"/>
              <a:gd name="connsiteY6" fmla="*/ 1319 h 10000"/>
              <a:gd name="connsiteX7" fmla="*/ 1040 w 10000"/>
              <a:gd name="connsiteY7" fmla="*/ 1396 h 10000"/>
              <a:gd name="connsiteX8" fmla="*/ 1168 w 10000"/>
              <a:gd name="connsiteY8" fmla="*/ 1447 h 10000"/>
              <a:gd name="connsiteX9" fmla="*/ 1253 w 10000"/>
              <a:gd name="connsiteY9" fmla="*/ 1382 h 10000"/>
              <a:gd name="connsiteX10" fmla="*/ 1330 w 10000"/>
              <a:gd name="connsiteY10" fmla="*/ 1382 h 10000"/>
              <a:gd name="connsiteX11" fmla="*/ 1449 w 10000"/>
              <a:gd name="connsiteY11" fmla="*/ 1453 h 10000"/>
              <a:gd name="connsiteX12" fmla="*/ 1449 w 10000"/>
              <a:gd name="connsiteY12" fmla="*/ 1498 h 10000"/>
              <a:gd name="connsiteX13" fmla="*/ 1373 w 10000"/>
              <a:gd name="connsiteY13" fmla="*/ 1544 h 10000"/>
              <a:gd name="connsiteX14" fmla="*/ 1296 w 10000"/>
              <a:gd name="connsiteY14" fmla="*/ 1544 h 10000"/>
              <a:gd name="connsiteX15" fmla="*/ 1262 w 10000"/>
              <a:gd name="connsiteY15" fmla="*/ 1621 h 10000"/>
              <a:gd name="connsiteX16" fmla="*/ 1313 w 10000"/>
              <a:gd name="connsiteY16" fmla="*/ 1678 h 10000"/>
              <a:gd name="connsiteX17" fmla="*/ 1253 w 10000"/>
              <a:gd name="connsiteY17" fmla="*/ 1820 h 10000"/>
              <a:gd name="connsiteX18" fmla="*/ 1313 w 10000"/>
              <a:gd name="connsiteY18" fmla="*/ 1871 h 10000"/>
              <a:gd name="connsiteX19" fmla="*/ 1466 w 10000"/>
              <a:gd name="connsiteY19" fmla="*/ 1871 h 10000"/>
              <a:gd name="connsiteX20" fmla="*/ 1645 w 10000"/>
              <a:gd name="connsiteY20" fmla="*/ 2013 h 10000"/>
              <a:gd name="connsiteX21" fmla="*/ 1824 w 10000"/>
              <a:gd name="connsiteY21" fmla="*/ 2000 h 10000"/>
              <a:gd name="connsiteX22" fmla="*/ 1969 w 10000"/>
              <a:gd name="connsiteY22" fmla="*/ 2057 h 10000"/>
              <a:gd name="connsiteX23" fmla="*/ 2140 w 10000"/>
              <a:gd name="connsiteY23" fmla="*/ 2051 h 10000"/>
              <a:gd name="connsiteX24" fmla="*/ 2225 w 10000"/>
              <a:gd name="connsiteY24" fmla="*/ 2084 h 10000"/>
              <a:gd name="connsiteX25" fmla="*/ 2242 w 10000"/>
              <a:gd name="connsiteY25" fmla="*/ 2148 h 10000"/>
              <a:gd name="connsiteX26" fmla="*/ 2097 w 10000"/>
              <a:gd name="connsiteY26" fmla="*/ 2205 h 10000"/>
              <a:gd name="connsiteX27" fmla="*/ 1799 w 10000"/>
              <a:gd name="connsiteY27" fmla="*/ 2155 h 10000"/>
              <a:gd name="connsiteX28" fmla="*/ 1714 w 10000"/>
              <a:gd name="connsiteY28" fmla="*/ 2167 h 10000"/>
              <a:gd name="connsiteX29" fmla="*/ 1662 w 10000"/>
              <a:gd name="connsiteY29" fmla="*/ 2309 h 10000"/>
              <a:gd name="connsiteX30" fmla="*/ 1569 w 10000"/>
              <a:gd name="connsiteY30" fmla="*/ 2399 h 10000"/>
              <a:gd name="connsiteX31" fmla="*/ 1620 w 10000"/>
              <a:gd name="connsiteY31" fmla="*/ 2682 h 10000"/>
              <a:gd name="connsiteX32" fmla="*/ 1705 w 10000"/>
              <a:gd name="connsiteY32" fmla="*/ 2726 h 10000"/>
              <a:gd name="connsiteX33" fmla="*/ 1654 w 10000"/>
              <a:gd name="connsiteY33" fmla="*/ 2868 h 10000"/>
              <a:gd name="connsiteX34" fmla="*/ 2131 w 10000"/>
              <a:gd name="connsiteY34" fmla="*/ 2901 h 10000"/>
              <a:gd name="connsiteX35" fmla="*/ 2225 w 10000"/>
              <a:gd name="connsiteY35" fmla="*/ 2991 h 10000"/>
              <a:gd name="connsiteX36" fmla="*/ 2157 w 10000"/>
              <a:gd name="connsiteY36" fmla="*/ 3093 h 10000"/>
              <a:gd name="connsiteX37" fmla="*/ 2157 w 10000"/>
              <a:gd name="connsiteY37" fmla="*/ 3222 h 10000"/>
              <a:gd name="connsiteX38" fmla="*/ 1765 w 10000"/>
              <a:gd name="connsiteY38" fmla="*/ 3762 h 10000"/>
              <a:gd name="connsiteX39" fmla="*/ 1671 w 10000"/>
              <a:gd name="connsiteY39" fmla="*/ 3801 h 10000"/>
              <a:gd name="connsiteX40" fmla="*/ 1671 w 10000"/>
              <a:gd name="connsiteY40" fmla="*/ 3891 h 10000"/>
              <a:gd name="connsiteX41" fmla="*/ 1731 w 10000"/>
              <a:gd name="connsiteY41" fmla="*/ 3955 h 10000"/>
              <a:gd name="connsiteX42" fmla="*/ 1594 w 10000"/>
              <a:gd name="connsiteY42" fmla="*/ 4110 h 10000"/>
              <a:gd name="connsiteX43" fmla="*/ 1671 w 10000"/>
              <a:gd name="connsiteY43" fmla="*/ 4308 h 10000"/>
              <a:gd name="connsiteX44" fmla="*/ 1807 w 10000"/>
              <a:gd name="connsiteY44" fmla="*/ 4335 h 10000"/>
              <a:gd name="connsiteX45" fmla="*/ 1910 w 10000"/>
              <a:gd name="connsiteY45" fmla="*/ 4392 h 10000"/>
              <a:gd name="connsiteX46" fmla="*/ 2063 w 10000"/>
              <a:gd name="connsiteY46" fmla="*/ 4366 h 10000"/>
              <a:gd name="connsiteX47" fmla="*/ 2131 w 10000"/>
              <a:gd name="connsiteY47" fmla="*/ 4456 h 10000"/>
              <a:gd name="connsiteX48" fmla="*/ 2165 w 10000"/>
              <a:gd name="connsiteY48" fmla="*/ 4560 h 10000"/>
              <a:gd name="connsiteX49" fmla="*/ 2327 w 10000"/>
              <a:gd name="connsiteY49" fmla="*/ 4688 h 10000"/>
              <a:gd name="connsiteX50" fmla="*/ 2438 w 10000"/>
              <a:gd name="connsiteY50" fmla="*/ 4675 h 10000"/>
              <a:gd name="connsiteX51" fmla="*/ 2481 w 10000"/>
              <a:gd name="connsiteY51" fmla="*/ 4708 h 10000"/>
              <a:gd name="connsiteX52" fmla="*/ 2472 w 10000"/>
              <a:gd name="connsiteY52" fmla="*/ 4785 h 10000"/>
              <a:gd name="connsiteX53" fmla="*/ 2634 w 10000"/>
              <a:gd name="connsiteY53" fmla="*/ 4862 h 10000"/>
              <a:gd name="connsiteX54" fmla="*/ 2737 w 10000"/>
              <a:gd name="connsiteY54" fmla="*/ 4881 h 10000"/>
              <a:gd name="connsiteX55" fmla="*/ 2754 w 10000"/>
              <a:gd name="connsiteY55" fmla="*/ 4984 h 10000"/>
              <a:gd name="connsiteX56" fmla="*/ 2583 w 10000"/>
              <a:gd name="connsiteY56" fmla="*/ 5112 h 10000"/>
              <a:gd name="connsiteX57" fmla="*/ 2268 w 10000"/>
              <a:gd name="connsiteY57" fmla="*/ 5119 h 10000"/>
              <a:gd name="connsiteX58" fmla="*/ 2063 w 10000"/>
              <a:gd name="connsiteY58" fmla="*/ 5023 h 10000"/>
              <a:gd name="connsiteX59" fmla="*/ 1952 w 10000"/>
              <a:gd name="connsiteY59" fmla="*/ 5023 h 10000"/>
              <a:gd name="connsiteX60" fmla="*/ 1910 w 10000"/>
              <a:gd name="connsiteY60" fmla="*/ 5061 h 10000"/>
              <a:gd name="connsiteX61" fmla="*/ 2455 w 10000"/>
              <a:gd name="connsiteY61" fmla="*/ 5614 h 10000"/>
              <a:gd name="connsiteX62" fmla="*/ 2532 w 10000"/>
              <a:gd name="connsiteY62" fmla="*/ 5646 h 10000"/>
              <a:gd name="connsiteX63" fmla="*/ 2506 w 10000"/>
              <a:gd name="connsiteY63" fmla="*/ 5877 h 10000"/>
              <a:gd name="connsiteX64" fmla="*/ 2464 w 10000"/>
              <a:gd name="connsiteY64" fmla="*/ 5967 h 10000"/>
              <a:gd name="connsiteX65" fmla="*/ 2336 w 10000"/>
              <a:gd name="connsiteY65" fmla="*/ 6006 h 10000"/>
              <a:gd name="connsiteX66" fmla="*/ 2242 w 10000"/>
              <a:gd name="connsiteY66" fmla="*/ 5942 h 10000"/>
              <a:gd name="connsiteX67" fmla="*/ 2148 w 10000"/>
              <a:gd name="connsiteY67" fmla="*/ 5936 h 10000"/>
              <a:gd name="connsiteX68" fmla="*/ 2038 w 10000"/>
              <a:gd name="connsiteY68" fmla="*/ 6058 h 10000"/>
              <a:gd name="connsiteX69" fmla="*/ 1858 w 10000"/>
              <a:gd name="connsiteY69" fmla="*/ 6122 h 10000"/>
              <a:gd name="connsiteX70" fmla="*/ 1688 w 10000"/>
              <a:gd name="connsiteY70" fmla="*/ 6122 h 10000"/>
              <a:gd name="connsiteX71" fmla="*/ 1603 w 10000"/>
              <a:gd name="connsiteY71" fmla="*/ 6173 h 10000"/>
              <a:gd name="connsiteX72" fmla="*/ 1500 w 10000"/>
              <a:gd name="connsiteY72" fmla="*/ 6167 h 10000"/>
              <a:gd name="connsiteX73" fmla="*/ 1458 w 10000"/>
              <a:gd name="connsiteY73" fmla="*/ 6084 h 10000"/>
              <a:gd name="connsiteX74" fmla="*/ 1313 w 10000"/>
              <a:gd name="connsiteY74" fmla="*/ 6090 h 10000"/>
              <a:gd name="connsiteX75" fmla="*/ 1194 w 10000"/>
              <a:gd name="connsiteY75" fmla="*/ 6192 h 10000"/>
              <a:gd name="connsiteX76" fmla="*/ 1245 w 10000"/>
              <a:gd name="connsiteY76" fmla="*/ 6283 h 10000"/>
              <a:gd name="connsiteX77" fmla="*/ 1381 w 10000"/>
              <a:gd name="connsiteY77" fmla="*/ 6328 h 10000"/>
              <a:gd name="connsiteX78" fmla="*/ 1424 w 10000"/>
              <a:gd name="connsiteY78" fmla="*/ 6488 h 10000"/>
              <a:gd name="connsiteX79" fmla="*/ 1500 w 10000"/>
              <a:gd name="connsiteY79" fmla="*/ 6578 h 10000"/>
              <a:gd name="connsiteX80" fmla="*/ 1500 w 10000"/>
              <a:gd name="connsiteY80" fmla="*/ 6752 h 10000"/>
              <a:gd name="connsiteX81" fmla="*/ 1449 w 10000"/>
              <a:gd name="connsiteY81" fmla="*/ 6817 h 10000"/>
              <a:gd name="connsiteX82" fmla="*/ 1338 w 10000"/>
              <a:gd name="connsiteY82" fmla="*/ 6803 h 10000"/>
              <a:gd name="connsiteX83" fmla="*/ 1270 w 10000"/>
              <a:gd name="connsiteY83" fmla="*/ 6752 h 10000"/>
              <a:gd name="connsiteX84" fmla="*/ 1219 w 10000"/>
              <a:gd name="connsiteY84" fmla="*/ 6585 h 10000"/>
              <a:gd name="connsiteX85" fmla="*/ 1151 w 10000"/>
              <a:gd name="connsiteY85" fmla="*/ 6534 h 10000"/>
              <a:gd name="connsiteX86" fmla="*/ 963 w 10000"/>
              <a:gd name="connsiteY86" fmla="*/ 6534 h 10000"/>
              <a:gd name="connsiteX87" fmla="*/ 614 w 10000"/>
              <a:gd name="connsiteY87" fmla="*/ 6765 h 10000"/>
              <a:gd name="connsiteX88" fmla="*/ 554 w 10000"/>
              <a:gd name="connsiteY88" fmla="*/ 6926 h 10000"/>
              <a:gd name="connsiteX89" fmla="*/ 486 w 10000"/>
              <a:gd name="connsiteY89" fmla="*/ 6990 h 10000"/>
              <a:gd name="connsiteX90" fmla="*/ 486 w 10000"/>
              <a:gd name="connsiteY90" fmla="*/ 7228 h 10000"/>
              <a:gd name="connsiteX91" fmla="*/ 392 w 10000"/>
              <a:gd name="connsiteY91" fmla="*/ 7286 h 10000"/>
              <a:gd name="connsiteX92" fmla="*/ 213 w 10000"/>
              <a:gd name="connsiteY92" fmla="*/ 7286 h 10000"/>
              <a:gd name="connsiteX93" fmla="*/ 94 w 10000"/>
              <a:gd name="connsiteY93" fmla="*/ 7382 h 10000"/>
              <a:gd name="connsiteX94" fmla="*/ 68 w 10000"/>
              <a:gd name="connsiteY94" fmla="*/ 7665 h 10000"/>
              <a:gd name="connsiteX95" fmla="*/ 17 w 10000"/>
              <a:gd name="connsiteY95" fmla="*/ 7691 h 10000"/>
              <a:gd name="connsiteX96" fmla="*/ 34 w 10000"/>
              <a:gd name="connsiteY96" fmla="*/ 7788 h 10000"/>
              <a:gd name="connsiteX97" fmla="*/ 247 w 10000"/>
              <a:gd name="connsiteY97" fmla="*/ 8032 h 10000"/>
              <a:gd name="connsiteX98" fmla="*/ 239 w 10000"/>
              <a:gd name="connsiteY98" fmla="*/ 8174 h 10000"/>
              <a:gd name="connsiteX99" fmla="*/ 17 w 10000"/>
              <a:gd name="connsiteY99" fmla="*/ 8411 h 10000"/>
              <a:gd name="connsiteX100" fmla="*/ 0 w 10000"/>
              <a:gd name="connsiteY100" fmla="*/ 8649 h 10000"/>
              <a:gd name="connsiteX101" fmla="*/ 1500 w 10000"/>
              <a:gd name="connsiteY101" fmla="*/ 9575 h 10000"/>
              <a:gd name="connsiteX102" fmla="*/ 1748 w 10000"/>
              <a:gd name="connsiteY102" fmla="*/ 10000 h 10000"/>
              <a:gd name="connsiteX103" fmla="*/ 2056 w 10000"/>
              <a:gd name="connsiteY103" fmla="*/ 6905 h 10000"/>
              <a:gd name="connsiteX104" fmla="*/ 2138 w 10000"/>
              <a:gd name="connsiteY104" fmla="*/ 6828 h 10000"/>
              <a:gd name="connsiteX105" fmla="*/ 2432 w 10000"/>
              <a:gd name="connsiteY105" fmla="*/ 6943 h 10000"/>
              <a:gd name="connsiteX106" fmla="*/ 2698 w 10000"/>
              <a:gd name="connsiteY106" fmla="*/ 7055 h 10000"/>
              <a:gd name="connsiteX107" fmla="*/ 2946 w 10000"/>
              <a:gd name="connsiteY107" fmla="*/ 7339 h 10000"/>
              <a:gd name="connsiteX108" fmla="*/ 3118 w 10000"/>
              <a:gd name="connsiteY108" fmla="*/ 7847 h 10000"/>
              <a:gd name="connsiteX109" fmla="*/ 3766 w 10000"/>
              <a:gd name="connsiteY109" fmla="*/ 8287 h 10000"/>
              <a:gd name="connsiteX110" fmla="*/ 3811 w 10000"/>
              <a:gd name="connsiteY110" fmla="*/ 8630 h 10000"/>
              <a:gd name="connsiteX111" fmla="*/ 4058 w 10000"/>
              <a:gd name="connsiteY111" fmla="*/ 8991 h 10000"/>
              <a:gd name="connsiteX112" fmla="*/ 4484 w 10000"/>
              <a:gd name="connsiteY112" fmla="*/ 9125 h 10000"/>
              <a:gd name="connsiteX113" fmla="*/ 4979 w 10000"/>
              <a:gd name="connsiteY113" fmla="*/ 9614 h 10000"/>
              <a:gd name="connsiteX114" fmla="*/ 5072 w 10000"/>
              <a:gd name="connsiteY114" fmla="*/ 9672 h 10000"/>
              <a:gd name="connsiteX115" fmla="*/ 5234 w 10000"/>
              <a:gd name="connsiteY115" fmla="*/ 9678 h 10000"/>
              <a:gd name="connsiteX116" fmla="*/ 5388 w 10000"/>
              <a:gd name="connsiteY116" fmla="*/ 9589 h 10000"/>
              <a:gd name="connsiteX117" fmla="*/ 5422 w 10000"/>
              <a:gd name="connsiteY117" fmla="*/ 9305 h 10000"/>
              <a:gd name="connsiteX118" fmla="*/ 6121 w 10000"/>
              <a:gd name="connsiteY118" fmla="*/ 9138 h 10000"/>
              <a:gd name="connsiteX119" fmla="*/ 6266 w 10000"/>
              <a:gd name="connsiteY119" fmla="*/ 9158 h 10000"/>
              <a:gd name="connsiteX120" fmla="*/ 6522 w 10000"/>
              <a:gd name="connsiteY120" fmla="*/ 9376 h 10000"/>
              <a:gd name="connsiteX121" fmla="*/ 6633 w 10000"/>
              <a:gd name="connsiteY121" fmla="*/ 9364 h 10000"/>
              <a:gd name="connsiteX122" fmla="*/ 6641 w 10000"/>
              <a:gd name="connsiteY122" fmla="*/ 9235 h 10000"/>
              <a:gd name="connsiteX123" fmla="*/ 6957 w 10000"/>
              <a:gd name="connsiteY123" fmla="*/ 9080 h 10000"/>
              <a:gd name="connsiteX124" fmla="*/ 7630 w 10000"/>
              <a:gd name="connsiteY124" fmla="*/ 9170 h 10000"/>
              <a:gd name="connsiteX125" fmla="*/ 7775 w 10000"/>
              <a:gd name="connsiteY125" fmla="*/ 9035 h 10000"/>
              <a:gd name="connsiteX126" fmla="*/ 8397 w 10000"/>
              <a:gd name="connsiteY126" fmla="*/ 9112 h 10000"/>
              <a:gd name="connsiteX127" fmla="*/ 8841 w 10000"/>
              <a:gd name="connsiteY127" fmla="*/ 9054 h 10000"/>
              <a:gd name="connsiteX128" fmla="*/ 9096 w 10000"/>
              <a:gd name="connsiteY128" fmla="*/ 9138 h 10000"/>
              <a:gd name="connsiteX129" fmla="*/ 9071 w 10000"/>
              <a:gd name="connsiteY129" fmla="*/ 8386 h 10000"/>
              <a:gd name="connsiteX130" fmla="*/ 9548 w 10000"/>
              <a:gd name="connsiteY130" fmla="*/ 7576 h 10000"/>
              <a:gd name="connsiteX131" fmla="*/ 10000 w 10000"/>
              <a:gd name="connsiteY131" fmla="*/ 7209 h 10000"/>
              <a:gd name="connsiteX132" fmla="*/ 8986 w 10000"/>
              <a:gd name="connsiteY132" fmla="*/ 6257 h 10000"/>
              <a:gd name="connsiteX133" fmla="*/ 8968 w 10000"/>
              <a:gd name="connsiteY133" fmla="*/ 4952 h 10000"/>
              <a:gd name="connsiteX134" fmla="*/ 9633 w 10000"/>
              <a:gd name="connsiteY134" fmla="*/ 4701 h 10000"/>
              <a:gd name="connsiteX135" fmla="*/ 9250 w 10000"/>
              <a:gd name="connsiteY135" fmla="*/ 4637 h 10000"/>
              <a:gd name="connsiteX136" fmla="*/ 8900 w 10000"/>
              <a:gd name="connsiteY136" fmla="*/ 4148 h 10000"/>
              <a:gd name="connsiteX137" fmla="*/ 9301 w 10000"/>
              <a:gd name="connsiteY137" fmla="*/ 3814 h 10000"/>
              <a:gd name="connsiteX138" fmla="*/ 9003 w 10000"/>
              <a:gd name="connsiteY138" fmla="*/ 3479 h 10000"/>
              <a:gd name="connsiteX139" fmla="*/ 8551 w 10000"/>
              <a:gd name="connsiteY139" fmla="*/ 3768 h 10000"/>
              <a:gd name="connsiteX140" fmla="*/ 7391 w 10000"/>
              <a:gd name="connsiteY140" fmla="*/ 3479 h 10000"/>
              <a:gd name="connsiteX141" fmla="*/ 6777 w 10000"/>
              <a:gd name="connsiteY141" fmla="*/ 3126 h 10000"/>
              <a:gd name="connsiteX142" fmla="*/ 6616 w 10000"/>
              <a:gd name="connsiteY142" fmla="*/ 2386 h 10000"/>
              <a:gd name="connsiteX143" fmla="*/ 6292 w 10000"/>
              <a:gd name="connsiteY143" fmla="*/ 2232 h 10000"/>
              <a:gd name="connsiteX144" fmla="*/ 5857 w 10000"/>
              <a:gd name="connsiteY144" fmla="*/ 2161 h 10000"/>
              <a:gd name="connsiteX145" fmla="*/ 5499 w 10000"/>
              <a:gd name="connsiteY145" fmla="*/ 1762 h 10000"/>
              <a:gd name="connsiteX146" fmla="*/ 5081 w 10000"/>
              <a:gd name="connsiteY146" fmla="*/ 875 h 10000"/>
              <a:gd name="connsiteX147" fmla="*/ 4672 w 10000"/>
              <a:gd name="connsiteY147" fmla="*/ 508 h 10000"/>
              <a:gd name="connsiteX148" fmla="*/ 3905 w 10000"/>
              <a:gd name="connsiteY148" fmla="*/ 212 h 10000"/>
              <a:gd name="connsiteX149" fmla="*/ 3717 w 10000"/>
              <a:gd name="connsiteY149" fmla="*/ 0 h 10000"/>
              <a:gd name="connsiteX150" fmla="*/ 3248 w 10000"/>
              <a:gd name="connsiteY150" fmla="*/ 123 h 10000"/>
              <a:gd name="connsiteX151" fmla="*/ 2771 w 10000"/>
              <a:gd name="connsiteY151" fmla="*/ 142 h 10000"/>
              <a:gd name="connsiteX152" fmla="*/ 2148 w 10000"/>
              <a:gd name="connsiteY152" fmla="*/ 444 h 10000"/>
              <a:gd name="connsiteX153" fmla="*/ 1586 w 10000"/>
              <a:gd name="connsiteY153" fmla="*/ 457 h 10000"/>
              <a:gd name="connsiteX154" fmla="*/ 1321 w 10000"/>
              <a:gd name="connsiteY154" fmla="*/ 611 h 10000"/>
              <a:gd name="connsiteX155" fmla="*/ 776 w 10000"/>
              <a:gd name="connsiteY155" fmla="*/ 650 h 10000"/>
              <a:gd name="connsiteX0" fmla="*/ 776 w 10000"/>
              <a:gd name="connsiteY0" fmla="*/ 650 h 10000"/>
              <a:gd name="connsiteX1" fmla="*/ 1074 w 10000"/>
              <a:gd name="connsiteY1" fmla="*/ 869 h 10000"/>
              <a:gd name="connsiteX2" fmla="*/ 1091 w 10000"/>
              <a:gd name="connsiteY2" fmla="*/ 971 h 10000"/>
              <a:gd name="connsiteX3" fmla="*/ 1032 w 10000"/>
              <a:gd name="connsiteY3" fmla="*/ 1036 h 10000"/>
              <a:gd name="connsiteX4" fmla="*/ 1125 w 10000"/>
              <a:gd name="connsiteY4" fmla="*/ 1106 h 10000"/>
              <a:gd name="connsiteX5" fmla="*/ 1134 w 10000"/>
              <a:gd name="connsiteY5" fmla="*/ 1203 h 10000"/>
              <a:gd name="connsiteX6" fmla="*/ 1023 w 10000"/>
              <a:gd name="connsiteY6" fmla="*/ 1319 h 10000"/>
              <a:gd name="connsiteX7" fmla="*/ 1040 w 10000"/>
              <a:gd name="connsiteY7" fmla="*/ 1396 h 10000"/>
              <a:gd name="connsiteX8" fmla="*/ 1168 w 10000"/>
              <a:gd name="connsiteY8" fmla="*/ 1447 h 10000"/>
              <a:gd name="connsiteX9" fmla="*/ 1253 w 10000"/>
              <a:gd name="connsiteY9" fmla="*/ 1382 h 10000"/>
              <a:gd name="connsiteX10" fmla="*/ 1330 w 10000"/>
              <a:gd name="connsiteY10" fmla="*/ 1382 h 10000"/>
              <a:gd name="connsiteX11" fmla="*/ 1449 w 10000"/>
              <a:gd name="connsiteY11" fmla="*/ 1453 h 10000"/>
              <a:gd name="connsiteX12" fmla="*/ 1449 w 10000"/>
              <a:gd name="connsiteY12" fmla="*/ 1498 h 10000"/>
              <a:gd name="connsiteX13" fmla="*/ 1373 w 10000"/>
              <a:gd name="connsiteY13" fmla="*/ 1544 h 10000"/>
              <a:gd name="connsiteX14" fmla="*/ 1296 w 10000"/>
              <a:gd name="connsiteY14" fmla="*/ 1544 h 10000"/>
              <a:gd name="connsiteX15" fmla="*/ 1262 w 10000"/>
              <a:gd name="connsiteY15" fmla="*/ 1621 h 10000"/>
              <a:gd name="connsiteX16" fmla="*/ 1313 w 10000"/>
              <a:gd name="connsiteY16" fmla="*/ 1678 h 10000"/>
              <a:gd name="connsiteX17" fmla="*/ 1253 w 10000"/>
              <a:gd name="connsiteY17" fmla="*/ 1820 h 10000"/>
              <a:gd name="connsiteX18" fmla="*/ 1313 w 10000"/>
              <a:gd name="connsiteY18" fmla="*/ 1871 h 10000"/>
              <a:gd name="connsiteX19" fmla="*/ 1466 w 10000"/>
              <a:gd name="connsiteY19" fmla="*/ 1871 h 10000"/>
              <a:gd name="connsiteX20" fmla="*/ 1645 w 10000"/>
              <a:gd name="connsiteY20" fmla="*/ 2013 h 10000"/>
              <a:gd name="connsiteX21" fmla="*/ 1824 w 10000"/>
              <a:gd name="connsiteY21" fmla="*/ 2000 h 10000"/>
              <a:gd name="connsiteX22" fmla="*/ 1969 w 10000"/>
              <a:gd name="connsiteY22" fmla="*/ 2057 h 10000"/>
              <a:gd name="connsiteX23" fmla="*/ 2140 w 10000"/>
              <a:gd name="connsiteY23" fmla="*/ 2051 h 10000"/>
              <a:gd name="connsiteX24" fmla="*/ 2225 w 10000"/>
              <a:gd name="connsiteY24" fmla="*/ 2084 h 10000"/>
              <a:gd name="connsiteX25" fmla="*/ 2242 w 10000"/>
              <a:gd name="connsiteY25" fmla="*/ 2148 h 10000"/>
              <a:gd name="connsiteX26" fmla="*/ 2097 w 10000"/>
              <a:gd name="connsiteY26" fmla="*/ 2205 h 10000"/>
              <a:gd name="connsiteX27" fmla="*/ 1799 w 10000"/>
              <a:gd name="connsiteY27" fmla="*/ 2155 h 10000"/>
              <a:gd name="connsiteX28" fmla="*/ 1714 w 10000"/>
              <a:gd name="connsiteY28" fmla="*/ 2167 h 10000"/>
              <a:gd name="connsiteX29" fmla="*/ 1662 w 10000"/>
              <a:gd name="connsiteY29" fmla="*/ 2309 h 10000"/>
              <a:gd name="connsiteX30" fmla="*/ 1569 w 10000"/>
              <a:gd name="connsiteY30" fmla="*/ 2399 h 10000"/>
              <a:gd name="connsiteX31" fmla="*/ 1620 w 10000"/>
              <a:gd name="connsiteY31" fmla="*/ 2682 h 10000"/>
              <a:gd name="connsiteX32" fmla="*/ 1705 w 10000"/>
              <a:gd name="connsiteY32" fmla="*/ 2726 h 10000"/>
              <a:gd name="connsiteX33" fmla="*/ 1654 w 10000"/>
              <a:gd name="connsiteY33" fmla="*/ 2868 h 10000"/>
              <a:gd name="connsiteX34" fmla="*/ 2131 w 10000"/>
              <a:gd name="connsiteY34" fmla="*/ 2901 h 10000"/>
              <a:gd name="connsiteX35" fmla="*/ 2225 w 10000"/>
              <a:gd name="connsiteY35" fmla="*/ 2991 h 10000"/>
              <a:gd name="connsiteX36" fmla="*/ 2157 w 10000"/>
              <a:gd name="connsiteY36" fmla="*/ 3093 h 10000"/>
              <a:gd name="connsiteX37" fmla="*/ 2157 w 10000"/>
              <a:gd name="connsiteY37" fmla="*/ 3222 h 10000"/>
              <a:gd name="connsiteX38" fmla="*/ 1765 w 10000"/>
              <a:gd name="connsiteY38" fmla="*/ 3762 h 10000"/>
              <a:gd name="connsiteX39" fmla="*/ 1671 w 10000"/>
              <a:gd name="connsiteY39" fmla="*/ 3801 h 10000"/>
              <a:gd name="connsiteX40" fmla="*/ 1671 w 10000"/>
              <a:gd name="connsiteY40" fmla="*/ 3891 h 10000"/>
              <a:gd name="connsiteX41" fmla="*/ 1731 w 10000"/>
              <a:gd name="connsiteY41" fmla="*/ 3955 h 10000"/>
              <a:gd name="connsiteX42" fmla="*/ 1594 w 10000"/>
              <a:gd name="connsiteY42" fmla="*/ 4110 h 10000"/>
              <a:gd name="connsiteX43" fmla="*/ 1671 w 10000"/>
              <a:gd name="connsiteY43" fmla="*/ 4308 h 10000"/>
              <a:gd name="connsiteX44" fmla="*/ 1807 w 10000"/>
              <a:gd name="connsiteY44" fmla="*/ 4335 h 10000"/>
              <a:gd name="connsiteX45" fmla="*/ 1910 w 10000"/>
              <a:gd name="connsiteY45" fmla="*/ 4392 h 10000"/>
              <a:gd name="connsiteX46" fmla="*/ 2063 w 10000"/>
              <a:gd name="connsiteY46" fmla="*/ 4366 h 10000"/>
              <a:gd name="connsiteX47" fmla="*/ 2131 w 10000"/>
              <a:gd name="connsiteY47" fmla="*/ 4456 h 10000"/>
              <a:gd name="connsiteX48" fmla="*/ 2165 w 10000"/>
              <a:gd name="connsiteY48" fmla="*/ 4560 h 10000"/>
              <a:gd name="connsiteX49" fmla="*/ 2327 w 10000"/>
              <a:gd name="connsiteY49" fmla="*/ 4688 h 10000"/>
              <a:gd name="connsiteX50" fmla="*/ 2438 w 10000"/>
              <a:gd name="connsiteY50" fmla="*/ 4675 h 10000"/>
              <a:gd name="connsiteX51" fmla="*/ 2481 w 10000"/>
              <a:gd name="connsiteY51" fmla="*/ 4708 h 10000"/>
              <a:gd name="connsiteX52" fmla="*/ 2472 w 10000"/>
              <a:gd name="connsiteY52" fmla="*/ 4785 h 10000"/>
              <a:gd name="connsiteX53" fmla="*/ 2634 w 10000"/>
              <a:gd name="connsiteY53" fmla="*/ 4862 h 10000"/>
              <a:gd name="connsiteX54" fmla="*/ 2737 w 10000"/>
              <a:gd name="connsiteY54" fmla="*/ 4881 h 10000"/>
              <a:gd name="connsiteX55" fmla="*/ 2754 w 10000"/>
              <a:gd name="connsiteY55" fmla="*/ 4984 h 10000"/>
              <a:gd name="connsiteX56" fmla="*/ 2583 w 10000"/>
              <a:gd name="connsiteY56" fmla="*/ 5112 h 10000"/>
              <a:gd name="connsiteX57" fmla="*/ 2268 w 10000"/>
              <a:gd name="connsiteY57" fmla="*/ 5119 h 10000"/>
              <a:gd name="connsiteX58" fmla="*/ 2063 w 10000"/>
              <a:gd name="connsiteY58" fmla="*/ 5023 h 10000"/>
              <a:gd name="connsiteX59" fmla="*/ 1952 w 10000"/>
              <a:gd name="connsiteY59" fmla="*/ 5023 h 10000"/>
              <a:gd name="connsiteX60" fmla="*/ 1910 w 10000"/>
              <a:gd name="connsiteY60" fmla="*/ 5061 h 10000"/>
              <a:gd name="connsiteX61" fmla="*/ 2455 w 10000"/>
              <a:gd name="connsiteY61" fmla="*/ 5614 h 10000"/>
              <a:gd name="connsiteX62" fmla="*/ 2532 w 10000"/>
              <a:gd name="connsiteY62" fmla="*/ 5646 h 10000"/>
              <a:gd name="connsiteX63" fmla="*/ 2506 w 10000"/>
              <a:gd name="connsiteY63" fmla="*/ 5877 h 10000"/>
              <a:gd name="connsiteX64" fmla="*/ 2464 w 10000"/>
              <a:gd name="connsiteY64" fmla="*/ 5967 h 10000"/>
              <a:gd name="connsiteX65" fmla="*/ 2336 w 10000"/>
              <a:gd name="connsiteY65" fmla="*/ 6006 h 10000"/>
              <a:gd name="connsiteX66" fmla="*/ 2242 w 10000"/>
              <a:gd name="connsiteY66" fmla="*/ 5942 h 10000"/>
              <a:gd name="connsiteX67" fmla="*/ 2148 w 10000"/>
              <a:gd name="connsiteY67" fmla="*/ 5936 h 10000"/>
              <a:gd name="connsiteX68" fmla="*/ 2038 w 10000"/>
              <a:gd name="connsiteY68" fmla="*/ 6058 h 10000"/>
              <a:gd name="connsiteX69" fmla="*/ 1858 w 10000"/>
              <a:gd name="connsiteY69" fmla="*/ 6122 h 10000"/>
              <a:gd name="connsiteX70" fmla="*/ 1688 w 10000"/>
              <a:gd name="connsiteY70" fmla="*/ 6122 h 10000"/>
              <a:gd name="connsiteX71" fmla="*/ 1603 w 10000"/>
              <a:gd name="connsiteY71" fmla="*/ 6173 h 10000"/>
              <a:gd name="connsiteX72" fmla="*/ 1500 w 10000"/>
              <a:gd name="connsiteY72" fmla="*/ 6167 h 10000"/>
              <a:gd name="connsiteX73" fmla="*/ 1458 w 10000"/>
              <a:gd name="connsiteY73" fmla="*/ 6084 h 10000"/>
              <a:gd name="connsiteX74" fmla="*/ 1313 w 10000"/>
              <a:gd name="connsiteY74" fmla="*/ 6090 h 10000"/>
              <a:gd name="connsiteX75" fmla="*/ 1194 w 10000"/>
              <a:gd name="connsiteY75" fmla="*/ 6192 h 10000"/>
              <a:gd name="connsiteX76" fmla="*/ 1245 w 10000"/>
              <a:gd name="connsiteY76" fmla="*/ 6283 h 10000"/>
              <a:gd name="connsiteX77" fmla="*/ 1381 w 10000"/>
              <a:gd name="connsiteY77" fmla="*/ 6328 h 10000"/>
              <a:gd name="connsiteX78" fmla="*/ 1424 w 10000"/>
              <a:gd name="connsiteY78" fmla="*/ 6488 h 10000"/>
              <a:gd name="connsiteX79" fmla="*/ 1500 w 10000"/>
              <a:gd name="connsiteY79" fmla="*/ 6578 h 10000"/>
              <a:gd name="connsiteX80" fmla="*/ 1500 w 10000"/>
              <a:gd name="connsiteY80" fmla="*/ 6752 h 10000"/>
              <a:gd name="connsiteX81" fmla="*/ 1449 w 10000"/>
              <a:gd name="connsiteY81" fmla="*/ 6817 h 10000"/>
              <a:gd name="connsiteX82" fmla="*/ 1338 w 10000"/>
              <a:gd name="connsiteY82" fmla="*/ 6803 h 10000"/>
              <a:gd name="connsiteX83" fmla="*/ 1270 w 10000"/>
              <a:gd name="connsiteY83" fmla="*/ 6752 h 10000"/>
              <a:gd name="connsiteX84" fmla="*/ 1219 w 10000"/>
              <a:gd name="connsiteY84" fmla="*/ 6585 h 10000"/>
              <a:gd name="connsiteX85" fmla="*/ 1151 w 10000"/>
              <a:gd name="connsiteY85" fmla="*/ 6534 h 10000"/>
              <a:gd name="connsiteX86" fmla="*/ 963 w 10000"/>
              <a:gd name="connsiteY86" fmla="*/ 6534 h 10000"/>
              <a:gd name="connsiteX87" fmla="*/ 614 w 10000"/>
              <a:gd name="connsiteY87" fmla="*/ 6765 h 10000"/>
              <a:gd name="connsiteX88" fmla="*/ 554 w 10000"/>
              <a:gd name="connsiteY88" fmla="*/ 6926 h 10000"/>
              <a:gd name="connsiteX89" fmla="*/ 486 w 10000"/>
              <a:gd name="connsiteY89" fmla="*/ 6990 h 10000"/>
              <a:gd name="connsiteX90" fmla="*/ 486 w 10000"/>
              <a:gd name="connsiteY90" fmla="*/ 7228 h 10000"/>
              <a:gd name="connsiteX91" fmla="*/ 392 w 10000"/>
              <a:gd name="connsiteY91" fmla="*/ 7286 h 10000"/>
              <a:gd name="connsiteX92" fmla="*/ 213 w 10000"/>
              <a:gd name="connsiteY92" fmla="*/ 7286 h 10000"/>
              <a:gd name="connsiteX93" fmla="*/ 94 w 10000"/>
              <a:gd name="connsiteY93" fmla="*/ 7382 h 10000"/>
              <a:gd name="connsiteX94" fmla="*/ 68 w 10000"/>
              <a:gd name="connsiteY94" fmla="*/ 7665 h 10000"/>
              <a:gd name="connsiteX95" fmla="*/ 17 w 10000"/>
              <a:gd name="connsiteY95" fmla="*/ 7691 h 10000"/>
              <a:gd name="connsiteX96" fmla="*/ 34 w 10000"/>
              <a:gd name="connsiteY96" fmla="*/ 7788 h 10000"/>
              <a:gd name="connsiteX97" fmla="*/ 247 w 10000"/>
              <a:gd name="connsiteY97" fmla="*/ 8032 h 10000"/>
              <a:gd name="connsiteX98" fmla="*/ 239 w 10000"/>
              <a:gd name="connsiteY98" fmla="*/ 8174 h 10000"/>
              <a:gd name="connsiteX99" fmla="*/ 17 w 10000"/>
              <a:gd name="connsiteY99" fmla="*/ 8411 h 10000"/>
              <a:gd name="connsiteX100" fmla="*/ 0 w 10000"/>
              <a:gd name="connsiteY100" fmla="*/ 8649 h 10000"/>
              <a:gd name="connsiteX101" fmla="*/ 1500 w 10000"/>
              <a:gd name="connsiteY101" fmla="*/ 9575 h 10000"/>
              <a:gd name="connsiteX102" fmla="*/ 1748 w 10000"/>
              <a:gd name="connsiteY102" fmla="*/ 10000 h 10000"/>
              <a:gd name="connsiteX103" fmla="*/ 2056 w 10000"/>
              <a:gd name="connsiteY103" fmla="*/ 6905 h 10000"/>
              <a:gd name="connsiteX104" fmla="*/ 1988 w 10000"/>
              <a:gd name="connsiteY104" fmla="*/ 6772 h 10000"/>
              <a:gd name="connsiteX105" fmla="*/ 2432 w 10000"/>
              <a:gd name="connsiteY105" fmla="*/ 6943 h 10000"/>
              <a:gd name="connsiteX106" fmla="*/ 2698 w 10000"/>
              <a:gd name="connsiteY106" fmla="*/ 7055 h 10000"/>
              <a:gd name="connsiteX107" fmla="*/ 2946 w 10000"/>
              <a:gd name="connsiteY107" fmla="*/ 7339 h 10000"/>
              <a:gd name="connsiteX108" fmla="*/ 3118 w 10000"/>
              <a:gd name="connsiteY108" fmla="*/ 7847 h 10000"/>
              <a:gd name="connsiteX109" fmla="*/ 3766 w 10000"/>
              <a:gd name="connsiteY109" fmla="*/ 8287 h 10000"/>
              <a:gd name="connsiteX110" fmla="*/ 3811 w 10000"/>
              <a:gd name="connsiteY110" fmla="*/ 8630 h 10000"/>
              <a:gd name="connsiteX111" fmla="*/ 4058 w 10000"/>
              <a:gd name="connsiteY111" fmla="*/ 8991 h 10000"/>
              <a:gd name="connsiteX112" fmla="*/ 4484 w 10000"/>
              <a:gd name="connsiteY112" fmla="*/ 9125 h 10000"/>
              <a:gd name="connsiteX113" fmla="*/ 4979 w 10000"/>
              <a:gd name="connsiteY113" fmla="*/ 9614 h 10000"/>
              <a:gd name="connsiteX114" fmla="*/ 5072 w 10000"/>
              <a:gd name="connsiteY114" fmla="*/ 9672 h 10000"/>
              <a:gd name="connsiteX115" fmla="*/ 5234 w 10000"/>
              <a:gd name="connsiteY115" fmla="*/ 9678 h 10000"/>
              <a:gd name="connsiteX116" fmla="*/ 5388 w 10000"/>
              <a:gd name="connsiteY116" fmla="*/ 9589 h 10000"/>
              <a:gd name="connsiteX117" fmla="*/ 5422 w 10000"/>
              <a:gd name="connsiteY117" fmla="*/ 9305 h 10000"/>
              <a:gd name="connsiteX118" fmla="*/ 6121 w 10000"/>
              <a:gd name="connsiteY118" fmla="*/ 9138 h 10000"/>
              <a:gd name="connsiteX119" fmla="*/ 6266 w 10000"/>
              <a:gd name="connsiteY119" fmla="*/ 9158 h 10000"/>
              <a:gd name="connsiteX120" fmla="*/ 6522 w 10000"/>
              <a:gd name="connsiteY120" fmla="*/ 9376 h 10000"/>
              <a:gd name="connsiteX121" fmla="*/ 6633 w 10000"/>
              <a:gd name="connsiteY121" fmla="*/ 9364 h 10000"/>
              <a:gd name="connsiteX122" fmla="*/ 6641 w 10000"/>
              <a:gd name="connsiteY122" fmla="*/ 9235 h 10000"/>
              <a:gd name="connsiteX123" fmla="*/ 6957 w 10000"/>
              <a:gd name="connsiteY123" fmla="*/ 9080 h 10000"/>
              <a:gd name="connsiteX124" fmla="*/ 7630 w 10000"/>
              <a:gd name="connsiteY124" fmla="*/ 9170 h 10000"/>
              <a:gd name="connsiteX125" fmla="*/ 7775 w 10000"/>
              <a:gd name="connsiteY125" fmla="*/ 9035 h 10000"/>
              <a:gd name="connsiteX126" fmla="*/ 8397 w 10000"/>
              <a:gd name="connsiteY126" fmla="*/ 9112 h 10000"/>
              <a:gd name="connsiteX127" fmla="*/ 8841 w 10000"/>
              <a:gd name="connsiteY127" fmla="*/ 9054 h 10000"/>
              <a:gd name="connsiteX128" fmla="*/ 9096 w 10000"/>
              <a:gd name="connsiteY128" fmla="*/ 9138 h 10000"/>
              <a:gd name="connsiteX129" fmla="*/ 9071 w 10000"/>
              <a:gd name="connsiteY129" fmla="*/ 8386 h 10000"/>
              <a:gd name="connsiteX130" fmla="*/ 9548 w 10000"/>
              <a:gd name="connsiteY130" fmla="*/ 7576 h 10000"/>
              <a:gd name="connsiteX131" fmla="*/ 10000 w 10000"/>
              <a:gd name="connsiteY131" fmla="*/ 7209 h 10000"/>
              <a:gd name="connsiteX132" fmla="*/ 8986 w 10000"/>
              <a:gd name="connsiteY132" fmla="*/ 6257 h 10000"/>
              <a:gd name="connsiteX133" fmla="*/ 8968 w 10000"/>
              <a:gd name="connsiteY133" fmla="*/ 4952 h 10000"/>
              <a:gd name="connsiteX134" fmla="*/ 9633 w 10000"/>
              <a:gd name="connsiteY134" fmla="*/ 4701 h 10000"/>
              <a:gd name="connsiteX135" fmla="*/ 9250 w 10000"/>
              <a:gd name="connsiteY135" fmla="*/ 4637 h 10000"/>
              <a:gd name="connsiteX136" fmla="*/ 8900 w 10000"/>
              <a:gd name="connsiteY136" fmla="*/ 4148 h 10000"/>
              <a:gd name="connsiteX137" fmla="*/ 9301 w 10000"/>
              <a:gd name="connsiteY137" fmla="*/ 3814 h 10000"/>
              <a:gd name="connsiteX138" fmla="*/ 9003 w 10000"/>
              <a:gd name="connsiteY138" fmla="*/ 3479 h 10000"/>
              <a:gd name="connsiteX139" fmla="*/ 8551 w 10000"/>
              <a:gd name="connsiteY139" fmla="*/ 3768 h 10000"/>
              <a:gd name="connsiteX140" fmla="*/ 7391 w 10000"/>
              <a:gd name="connsiteY140" fmla="*/ 3479 h 10000"/>
              <a:gd name="connsiteX141" fmla="*/ 6777 w 10000"/>
              <a:gd name="connsiteY141" fmla="*/ 3126 h 10000"/>
              <a:gd name="connsiteX142" fmla="*/ 6616 w 10000"/>
              <a:gd name="connsiteY142" fmla="*/ 2386 h 10000"/>
              <a:gd name="connsiteX143" fmla="*/ 6292 w 10000"/>
              <a:gd name="connsiteY143" fmla="*/ 2232 h 10000"/>
              <a:gd name="connsiteX144" fmla="*/ 5857 w 10000"/>
              <a:gd name="connsiteY144" fmla="*/ 2161 h 10000"/>
              <a:gd name="connsiteX145" fmla="*/ 5499 w 10000"/>
              <a:gd name="connsiteY145" fmla="*/ 1762 h 10000"/>
              <a:gd name="connsiteX146" fmla="*/ 5081 w 10000"/>
              <a:gd name="connsiteY146" fmla="*/ 875 h 10000"/>
              <a:gd name="connsiteX147" fmla="*/ 4672 w 10000"/>
              <a:gd name="connsiteY147" fmla="*/ 508 h 10000"/>
              <a:gd name="connsiteX148" fmla="*/ 3905 w 10000"/>
              <a:gd name="connsiteY148" fmla="*/ 212 h 10000"/>
              <a:gd name="connsiteX149" fmla="*/ 3717 w 10000"/>
              <a:gd name="connsiteY149" fmla="*/ 0 h 10000"/>
              <a:gd name="connsiteX150" fmla="*/ 3248 w 10000"/>
              <a:gd name="connsiteY150" fmla="*/ 123 h 10000"/>
              <a:gd name="connsiteX151" fmla="*/ 2771 w 10000"/>
              <a:gd name="connsiteY151" fmla="*/ 142 h 10000"/>
              <a:gd name="connsiteX152" fmla="*/ 2148 w 10000"/>
              <a:gd name="connsiteY152" fmla="*/ 444 h 10000"/>
              <a:gd name="connsiteX153" fmla="*/ 1586 w 10000"/>
              <a:gd name="connsiteY153" fmla="*/ 457 h 10000"/>
              <a:gd name="connsiteX154" fmla="*/ 1321 w 10000"/>
              <a:gd name="connsiteY154" fmla="*/ 611 h 10000"/>
              <a:gd name="connsiteX155" fmla="*/ 776 w 10000"/>
              <a:gd name="connsiteY155" fmla="*/ 650 h 10000"/>
              <a:gd name="connsiteX0" fmla="*/ 776 w 10000"/>
              <a:gd name="connsiteY0" fmla="*/ 650 h 9678"/>
              <a:gd name="connsiteX1" fmla="*/ 1074 w 10000"/>
              <a:gd name="connsiteY1" fmla="*/ 869 h 9678"/>
              <a:gd name="connsiteX2" fmla="*/ 1091 w 10000"/>
              <a:gd name="connsiteY2" fmla="*/ 971 h 9678"/>
              <a:gd name="connsiteX3" fmla="*/ 1032 w 10000"/>
              <a:gd name="connsiteY3" fmla="*/ 1036 h 9678"/>
              <a:gd name="connsiteX4" fmla="*/ 1125 w 10000"/>
              <a:gd name="connsiteY4" fmla="*/ 1106 h 9678"/>
              <a:gd name="connsiteX5" fmla="*/ 1134 w 10000"/>
              <a:gd name="connsiteY5" fmla="*/ 1203 h 9678"/>
              <a:gd name="connsiteX6" fmla="*/ 1023 w 10000"/>
              <a:gd name="connsiteY6" fmla="*/ 1319 h 9678"/>
              <a:gd name="connsiteX7" fmla="*/ 1040 w 10000"/>
              <a:gd name="connsiteY7" fmla="*/ 1396 h 9678"/>
              <a:gd name="connsiteX8" fmla="*/ 1168 w 10000"/>
              <a:gd name="connsiteY8" fmla="*/ 1447 h 9678"/>
              <a:gd name="connsiteX9" fmla="*/ 1253 w 10000"/>
              <a:gd name="connsiteY9" fmla="*/ 1382 h 9678"/>
              <a:gd name="connsiteX10" fmla="*/ 1330 w 10000"/>
              <a:gd name="connsiteY10" fmla="*/ 1382 h 9678"/>
              <a:gd name="connsiteX11" fmla="*/ 1449 w 10000"/>
              <a:gd name="connsiteY11" fmla="*/ 1453 h 9678"/>
              <a:gd name="connsiteX12" fmla="*/ 1449 w 10000"/>
              <a:gd name="connsiteY12" fmla="*/ 1498 h 9678"/>
              <a:gd name="connsiteX13" fmla="*/ 1373 w 10000"/>
              <a:gd name="connsiteY13" fmla="*/ 1544 h 9678"/>
              <a:gd name="connsiteX14" fmla="*/ 1296 w 10000"/>
              <a:gd name="connsiteY14" fmla="*/ 1544 h 9678"/>
              <a:gd name="connsiteX15" fmla="*/ 1262 w 10000"/>
              <a:gd name="connsiteY15" fmla="*/ 1621 h 9678"/>
              <a:gd name="connsiteX16" fmla="*/ 1313 w 10000"/>
              <a:gd name="connsiteY16" fmla="*/ 1678 h 9678"/>
              <a:gd name="connsiteX17" fmla="*/ 1253 w 10000"/>
              <a:gd name="connsiteY17" fmla="*/ 1820 h 9678"/>
              <a:gd name="connsiteX18" fmla="*/ 1313 w 10000"/>
              <a:gd name="connsiteY18" fmla="*/ 1871 h 9678"/>
              <a:gd name="connsiteX19" fmla="*/ 1466 w 10000"/>
              <a:gd name="connsiteY19" fmla="*/ 1871 h 9678"/>
              <a:gd name="connsiteX20" fmla="*/ 1645 w 10000"/>
              <a:gd name="connsiteY20" fmla="*/ 2013 h 9678"/>
              <a:gd name="connsiteX21" fmla="*/ 1824 w 10000"/>
              <a:gd name="connsiteY21" fmla="*/ 2000 h 9678"/>
              <a:gd name="connsiteX22" fmla="*/ 1969 w 10000"/>
              <a:gd name="connsiteY22" fmla="*/ 2057 h 9678"/>
              <a:gd name="connsiteX23" fmla="*/ 2140 w 10000"/>
              <a:gd name="connsiteY23" fmla="*/ 2051 h 9678"/>
              <a:gd name="connsiteX24" fmla="*/ 2225 w 10000"/>
              <a:gd name="connsiteY24" fmla="*/ 2084 h 9678"/>
              <a:gd name="connsiteX25" fmla="*/ 2242 w 10000"/>
              <a:gd name="connsiteY25" fmla="*/ 2148 h 9678"/>
              <a:gd name="connsiteX26" fmla="*/ 2097 w 10000"/>
              <a:gd name="connsiteY26" fmla="*/ 2205 h 9678"/>
              <a:gd name="connsiteX27" fmla="*/ 1799 w 10000"/>
              <a:gd name="connsiteY27" fmla="*/ 2155 h 9678"/>
              <a:gd name="connsiteX28" fmla="*/ 1714 w 10000"/>
              <a:gd name="connsiteY28" fmla="*/ 2167 h 9678"/>
              <a:gd name="connsiteX29" fmla="*/ 1662 w 10000"/>
              <a:gd name="connsiteY29" fmla="*/ 2309 h 9678"/>
              <a:gd name="connsiteX30" fmla="*/ 1569 w 10000"/>
              <a:gd name="connsiteY30" fmla="*/ 2399 h 9678"/>
              <a:gd name="connsiteX31" fmla="*/ 1620 w 10000"/>
              <a:gd name="connsiteY31" fmla="*/ 2682 h 9678"/>
              <a:gd name="connsiteX32" fmla="*/ 1705 w 10000"/>
              <a:gd name="connsiteY32" fmla="*/ 2726 h 9678"/>
              <a:gd name="connsiteX33" fmla="*/ 1654 w 10000"/>
              <a:gd name="connsiteY33" fmla="*/ 2868 h 9678"/>
              <a:gd name="connsiteX34" fmla="*/ 2131 w 10000"/>
              <a:gd name="connsiteY34" fmla="*/ 2901 h 9678"/>
              <a:gd name="connsiteX35" fmla="*/ 2225 w 10000"/>
              <a:gd name="connsiteY35" fmla="*/ 2991 h 9678"/>
              <a:gd name="connsiteX36" fmla="*/ 2157 w 10000"/>
              <a:gd name="connsiteY36" fmla="*/ 3093 h 9678"/>
              <a:gd name="connsiteX37" fmla="*/ 2157 w 10000"/>
              <a:gd name="connsiteY37" fmla="*/ 3222 h 9678"/>
              <a:gd name="connsiteX38" fmla="*/ 1765 w 10000"/>
              <a:gd name="connsiteY38" fmla="*/ 3762 h 9678"/>
              <a:gd name="connsiteX39" fmla="*/ 1671 w 10000"/>
              <a:gd name="connsiteY39" fmla="*/ 3801 h 9678"/>
              <a:gd name="connsiteX40" fmla="*/ 1671 w 10000"/>
              <a:gd name="connsiteY40" fmla="*/ 3891 h 9678"/>
              <a:gd name="connsiteX41" fmla="*/ 1731 w 10000"/>
              <a:gd name="connsiteY41" fmla="*/ 3955 h 9678"/>
              <a:gd name="connsiteX42" fmla="*/ 1594 w 10000"/>
              <a:gd name="connsiteY42" fmla="*/ 4110 h 9678"/>
              <a:gd name="connsiteX43" fmla="*/ 1671 w 10000"/>
              <a:gd name="connsiteY43" fmla="*/ 4308 h 9678"/>
              <a:gd name="connsiteX44" fmla="*/ 1807 w 10000"/>
              <a:gd name="connsiteY44" fmla="*/ 4335 h 9678"/>
              <a:gd name="connsiteX45" fmla="*/ 1910 w 10000"/>
              <a:gd name="connsiteY45" fmla="*/ 4392 h 9678"/>
              <a:gd name="connsiteX46" fmla="*/ 2063 w 10000"/>
              <a:gd name="connsiteY46" fmla="*/ 4366 h 9678"/>
              <a:gd name="connsiteX47" fmla="*/ 2131 w 10000"/>
              <a:gd name="connsiteY47" fmla="*/ 4456 h 9678"/>
              <a:gd name="connsiteX48" fmla="*/ 2165 w 10000"/>
              <a:gd name="connsiteY48" fmla="*/ 4560 h 9678"/>
              <a:gd name="connsiteX49" fmla="*/ 2327 w 10000"/>
              <a:gd name="connsiteY49" fmla="*/ 4688 h 9678"/>
              <a:gd name="connsiteX50" fmla="*/ 2438 w 10000"/>
              <a:gd name="connsiteY50" fmla="*/ 4675 h 9678"/>
              <a:gd name="connsiteX51" fmla="*/ 2481 w 10000"/>
              <a:gd name="connsiteY51" fmla="*/ 4708 h 9678"/>
              <a:gd name="connsiteX52" fmla="*/ 2472 w 10000"/>
              <a:gd name="connsiteY52" fmla="*/ 4785 h 9678"/>
              <a:gd name="connsiteX53" fmla="*/ 2634 w 10000"/>
              <a:gd name="connsiteY53" fmla="*/ 4862 h 9678"/>
              <a:gd name="connsiteX54" fmla="*/ 2737 w 10000"/>
              <a:gd name="connsiteY54" fmla="*/ 4881 h 9678"/>
              <a:gd name="connsiteX55" fmla="*/ 2754 w 10000"/>
              <a:gd name="connsiteY55" fmla="*/ 4984 h 9678"/>
              <a:gd name="connsiteX56" fmla="*/ 2583 w 10000"/>
              <a:gd name="connsiteY56" fmla="*/ 5112 h 9678"/>
              <a:gd name="connsiteX57" fmla="*/ 2268 w 10000"/>
              <a:gd name="connsiteY57" fmla="*/ 5119 h 9678"/>
              <a:gd name="connsiteX58" fmla="*/ 2063 w 10000"/>
              <a:gd name="connsiteY58" fmla="*/ 5023 h 9678"/>
              <a:gd name="connsiteX59" fmla="*/ 1952 w 10000"/>
              <a:gd name="connsiteY59" fmla="*/ 5023 h 9678"/>
              <a:gd name="connsiteX60" fmla="*/ 1910 w 10000"/>
              <a:gd name="connsiteY60" fmla="*/ 5061 h 9678"/>
              <a:gd name="connsiteX61" fmla="*/ 2455 w 10000"/>
              <a:gd name="connsiteY61" fmla="*/ 5614 h 9678"/>
              <a:gd name="connsiteX62" fmla="*/ 2532 w 10000"/>
              <a:gd name="connsiteY62" fmla="*/ 5646 h 9678"/>
              <a:gd name="connsiteX63" fmla="*/ 2506 w 10000"/>
              <a:gd name="connsiteY63" fmla="*/ 5877 h 9678"/>
              <a:gd name="connsiteX64" fmla="*/ 2464 w 10000"/>
              <a:gd name="connsiteY64" fmla="*/ 5967 h 9678"/>
              <a:gd name="connsiteX65" fmla="*/ 2336 w 10000"/>
              <a:gd name="connsiteY65" fmla="*/ 6006 h 9678"/>
              <a:gd name="connsiteX66" fmla="*/ 2242 w 10000"/>
              <a:gd name="connsiteY66" fmla="*/ 5942 h 9678"/>
              <a:gd name="connsiteX67" fmla="*/ 2148 w 10000"/>
              <a:gd name="connsiteY67" fmla="*/ 5936 h 9678"/>
              <a:gd name="connsiteX68" fmla="*/ 2038 w 10000"/>
              <a:gd name="connsiteY68" fmla="*/ 6058 h 9678"/>
              <a:gd name="connsiteX69" fmla="*/ 1858 w 10000"/>
              <a:gd name="connsiteY69" fmla="*/ 6122 h 9678"/>
              <a:gd name="connsiteX70" fmla="*/ 1688 w 10000"/>
              <a:gd name="connsiteY70" fmla="*/ 6122 h 9678"/>
              <a:gd name="connsiteX71" fmla="*/ 1603 w 10000"/>
              <a:gd name="connsiteY71" fmla="*/ 6173 h 9678"/>
              <a:gd name="connsiteX72" fmla="*/ 1500 w 10000"/>
              <a:gd name="connsiteY72" fmla="*/ 6167 h 9678"/>
              <a:gd name="connsiteX73" fmla="*/ 1458 w 10000"/>
              <a:gd name="connsiteY73" fmla="*/ 6084 h 9678"/>
              <a:gd name="connsiteX74" fmla="*/ 1313 w 10000"/>
              <a:gd name="connsiteY74" fmla="*/ 6090 h 9678"/>
              <a:gd name="connsiteX75" fmla="*/ 1194 w 10000"/>
              <a:gd name="connsiteY75" fmla="*/ 6192 h 9678"/>
              <a:gd name="connsiteX76" fmla="*/ 1245 w 10000"/>
              <a:gd name="connsiteY76" fmla="*/ 6283 h 9678"/>
              <a:gd name="connsiteX77" fmla="*/ 1381 w 10000"/>
              <a:gd name="connsiteY77" fmla="*/ 6328 h 9678"/>
              <a:gd name="connsiteX78" fmla="*/ 1424 w 10000"/>
              <a:gd name="connsiteY78" fmla="*/ 6488 h 9678"/>
              <a:gd name="connsiteX79" fmla="*/ 1500 w 10000"/>
              <a:gd name="connsiteY79" fmla="*/ 6578 h 9678"/>
              <a:gd name="connsiteX80" fmla="*/ 1500 w 10000"/>
              <a:gd name="connsiteY80" fmla="*/ 6752 h 9678"/>
              <a:gd name="connsiteX81" fmla="*/ 1449 w 10000"/>
              <a:gd name="connsiteY81" fmla="*/ 6817 h 9678"/>
              <a:gd name="connsiteX82" fmla="*/ 1338 w 10000"/>
              <a:gd name="connsiteY82" fmla="*/ 6803 h 9678"/>
              <a:gd name="connsiteX83" fmla="*/ 1270 w 10000"/>
              <a:gd name="connsiteY83" fmla="*/ 6752 h 9678"/>
              <a:gd name="connsiteX84" fmla="*/ 1219 w 10000"/>
              <a:gd name="connsiteY84" fmla="*/ 6585 h 9678"/>
              <a:gd name="connsiteX85" fmla="*/ 1151 w 10000"/>
              <a:gd name="connsiteY85" fmla="*/ 6534 h 9678"/>
              <a:gd name="connsiteX86" fmla="*/ 963 w 10000"/>
              <a:gd name="connsiteY86" fmla="*/ 6534 h 9678"/>
              <a:gd name="connsiteX87" fmla="*/ 614 w 10000"/>
              <a:gd name="connsiteY87" fmla="*/ 6765 h 9678"/>
              <a:gd name="connsiteX88" fmla="*/ 554 w 10000"/>
              <a:gd name="connsiteY88" fmla="*/ 6926 h 9678"/>
              <a:gd name="connsiteX89" fmla="*/ 486 w 10000"/>
              <a:gd name="connsiteY89" fmla="*/ 6990 h 9678"/>
              <a:gd name="connsiteX90" fmla="*/ 486 w 10000"/>
              <a:gd name="connsiteY90" fmla="*/ 7228 h 9678"/>
              <a:gd name="connsiteX91" fmla="*/ 392 w 10000"/>
              <a:gd name="connsiteY91" fmla="*/ 7286 h 9678"/>
              <a:gd name="connsiteX92" fmla="*/ 213 w 10000"/>
              <a:gd name="connsiteY92" fmla="*/ 7286 h 9678"/>
              <a:gd name="connsiteX93" fmla="*/ 94 w 10000"/>
              <a:gd name="connsiteY93" fmla="*/ 7382 h 9678"/>
              <a:gd name="connsiteX94" fmla="*/ 68 w 10000"/>
              <a:gd name="connsiteY94" fmla="*/ 7665 h 9678"/>
              <a:gd name="connsiteX95" fmla="*/ 17 w 10000"/>
              <a:gd name="connsiteY95" fmla="*/ 7691 h 9678"/>
              <a:gd name="connsiteX96" fmla="*/ 34 w 10000"/>
              <a:gd name="connsiteY96" fmla="*/ 7788 h 9678"/>
              <a:gd name="connsiteX97" fmla="*/ 247 w 10000"/>
              <a:gd name="connsiteY97" fmla="*/ 8032 h 9678"/>
              <a:gd name="connsiteX98" fmla="*/ 239 w 10000"/>
              <a:gd name="connsiteY98" fmla="*/ 8174 h 9678"/>
              <a:gd name="connsiteX99" fmla="*/ 17 w 10000"/>
              <a:gd name="connsiteY99" fmla="*/ 8411 h 9678"/>
              <a:gd name="connsiteX100" fmla="*/ 0 w 10000"/>
              <a:gd name="connsiteY100" fmla="*/ 8649 h 9678"/>
              <a:gd name="connsiteX101" fmla="*/ 1500 w 10000"/>
              <a:gd name="connsiteY101" fmla="*/ 9575 h 9678"/>
              <a:gd name="connsiteX102" fmla="*/ 1813 w 10000"/>
              <a:gd name="connsiteY102" fmla="*/ 7373 h 9678"/>
              <a:gd name="connsiteX103" fmla="*/ 2056 w 10000"/>
              <a:gd name="connsiteY103" fmla="*/ 6905 h 9678"/>
              <a:gd name="connsiteX104" fmla="*/ 1988 w 10000"/>
              <a:gd name="connsiteY104" fmla="*/ 6772 h 9678"/>
              <a:gd name="connsiteX105" fmla="*/ 2432 w 10000"/>
              <a:gd name="connsiteY105" fmla="*/ 6943 h 9678"/>
              <a:gd name="connsiteX106" fmla="*/ 2698 w 10000"/>
              <a:gd name="connsiteY106" fmla="*/ 7055 h 9678"/>
              <a:gd name="connsiteX107" fmla="*/ 2946 w 10000"/>
              <a:gd name="connsiteY107" fmla="*/ 7339 h 9678"/>
              <a:gd name="connsiteX108" fmla="*/ 3118 w 10000"/>
              <a:gd name="connsiteY108" fmla="*/ 7847 h 9678"/>
              <a:gd name="connsiteX109" fmla="*/ 3766 w 10000"/>
              <a:gd name="connsiteY109" fmla="*/ 8287 h 9678"/>
              <a:gd name="connsiteX110" fmla="*/ 3811 w 10000"/>
              <a:gd name="connsiteY110" fmla="*/ 8630 h 9678"/>
              <a:gd name="connsiteX111" fmla="*/ 4058 w 10000"/>
              <a:gd name="connsiteY111" fmla="*/ 8991 h 9678"/>
              <a:gd name="connsiteX112" fmla="*/ 4484 w 10000"/>
              <a:gd name="connsiteY112" fmla="*/ 9125 h 9678"/>
              <a:gd name="connsiteX113" fmla="*/ 4979 w 10000"/>
              <a:gd name="connsiteY113" fmla="*/ 9614 h 9678"/>
              <a:gd name="connsiteX114" fmla="*/ 5072 w 10000"/>
              <a:gd name="connsiteY114" fmla="*/ 9672 h 9678"/>
              <a:gd name="connsiteX115" fmla="*/ 5234 w 10000"/>
              <a:gd name="connsiteY115" fmla="*/ 9678 h 9678"/>
              <a:gd name="connsiteX116" fmla="*/ 5388 w 10000"/>
              <a:gd name="connsiteY116" fmla="*/ 9589 h 9678"/>
              <a:gd name="connsiteX117" fmla="*/ 5422 w 10000"/>
              <a:gd name="connsiteY117" fmla="*/ 9305 h 9678"/>
              <a:gd name="connsiteX118" fmla="*/ 6121 w 10000"/>
              <a:gd name="connsiteY118" fmla="*/ 9138 h 9678"/>
              <a:gd name="connsiteX119" fmla="*/ 6266 w 10000"/>
              <a:gd name="connsiteY119" fmla="*/ 9158 h 9678"/>
              <a:gd name="connsiteX120" fmla="*/ 6522 w 10000"/>
              <a:gd name="connsiteY120" fmla="*/ 9376 h 9678"/>
              <a:gd name="connsiteX121" fmla="*/ 6633 w 10000"/>
              <a:gd name="connsiteY121" fmla="*/ 9364 h 9678"/>
              <a:gd name="connsiteX122" fmla="*/ 6641 w 10000"/>
              <a:gd name="connsiteY122" fmla="*/ 9235 h 9678"/>
              <a:gd name="connsiteX123" fmla="*/ 6957 w 10000"/>
              <a:gd name="connsiteY123" fmla="*/ 9080 h 9678"/>
              <a:gd name="connsiteX124" fmla="*/ 7630 w 10000"/>
              <a:gd name="connsiteY124" fmla="*/ 9170 h 9678"/>
              <a:gd name="connsiteX125" fmla="*/ 7775 w 10000"/>
              <a:gd name="connsiteY125" fmla="*/ 9035 h 9678"/>
              <a:gd name="connsiteX126" fmla="*/ 8397 w 10000"/>
              <a:gd name="connsiteY126" fmla="*/ 9112 h 9678"/>
              <a:gd name="connsiteX127" fmla="*/ 8841 w 10000"/>
              <a:gd name="connsiteY127" fmla="*/ 9054 h 9678"/>
              <a:gd name="connsiteX128" fmla="*/ 9096 w 10000"/>
              <a:gd name="connsiteY128" fmla="*/ 9138 h 9678"/>
              <a:gd name="connsiteX129" fmla="*/ 9071 w 10000"/>
              <a:gd name="connsiteY129" fmla="*/ 8386 h 9678"/>
              <a:gd name="connsiteX130" fmla="*/ 9548 w 10000"/>
              <a:gd name="connsiteY130" fmla="*/ 7576 h 9678"/>
              <a:gd name="connsiteX131" fmla="*/ 10000 w 10000"/>
              <a:gd name="connsiteY131" fmla="*/ 7209 h 9678"/>
              <a:gd name="connsiteX132" fmla="*/ 8986 w 10000"/>
              <a:gd name="connsiteY132" fmla="*/ 6257 h 9678"/>
              <a:gd name="connsiteX133" fmla="*/ 8968 w 10000"/>
              <a:gd name="connsiteY133" fmla="*/ 4952 h 9678"/>
              <a:gd name="connsiteX134" fmla="*/ 9633 w 10000"/>
              <a:gd name="connsiteY134" fmla="*/ 4701 h 9678"/>
              <a:gd name="connsiteX135" fmla="*/ 9250 w 10000"/>
              <a:gd name="connsiteY135" fmla="*/ 4637 h 9678"/>
              <a:gd name="connsiteX136" fmla="*/ 8900 w 10000"/>
              <a:gd name="connsiteY136" fmla="*/ 4148 h 9678"/>
              <a:gd name="connsiteX137" fmla="*/ 9301 w 10000"/>
              <a:gd name="connsiteY137" fmla="*/ 3814 h 9678"/>
              <a:gd name="connsiteX138" fmla="*/ 9003 w 10000"/>
              <a:gd name="connsiteY138" fmla="*/ 3479 h 9678"/>
              <a:gd name="connsiteX139" fmla="*/ 8551 w 10000"/>
              <a:gd name="connsiteY139" fmla="*/ 3768 h 9678"/>
              <a:gd name="connsiteX140" fmla="*/ 7391 w 10000"/>
              <a:gd name="connsiteY140" fmla="*/ 3479 h 9678"/>
              <a:gd name="connsiteX141" fmla="*/ 6777 w 10000"/>
              <a:gd name="connsiteY141" fmla="*/ 3126 h 9678"/>
              <a:gd name="connsiteX142" fmla="*/ 6616 w 10000"/>
              <a:gd name="connsiteY142" fmla="*/ 2386 h 9678"/>
              <a:gd name="connsiteX143" fmla="*/ 6292 w 10000"/>
              <a:gd name="connsiteY143" fmla="*/ 2232 h 9678"/>
              <a:gd name="connsiteX144" fmla="*/ 5857 w 10000"/>
              <a:gd name="connsiteY144" fmla="*/ 2161 h 9678"/>
              <a:gd name="connsiteX145" fmla="*/ 5499 w 10000"/>
              <a:gd name="connsiteY145" fmla="*/ 1762 h 9678"/>
              <a:gd name="connsiteX146" fmla="*/ 5081 w 10000"/>
              <a:gd name="connsiteY146" fmla="*/ 875 h 9678"/>
              <a:gd name="connsiteX147" fmla="*/ 4672 w 10000"/>
              <a:gd name="connsiteY147" fmla="*/ 508 h 9678"/>
              <a:gd name="connsiteX148" fmla="*/ 3905 w 10000"/>
              <a:gd name="connsiteY148" fmla="*/ 212 h 9678"/>
              <a:gd name="connsiteX149" fmla="*/ 3717 w 10000"/>
              <a:gd name="connsiteY149" fmla="*/ 0 h 9678"/>
              <a:gd name="connsiteX150" fmla="*/ 3248 w 10000"/>
              <a:gd name="connsiteY150" fmla="*/ 123 h 9678"/>
              <a:gd name="connsiteX151" fmla="*/ 2771 w 10000"/>
              <a:gd name="connsiteY151" fmla="*/ 142 h 9678"/>
              <a:gd name="connsiteX152" fmla="*/ 2148 w 10000"/>
              <a:gd name="connsiteY152" fmla="*/ 444 h 9678"/>
              <a:gd name="connsiteX153" fmla="*/ 1586 w 10000"/>
              <a:gd name="connsiteY153" fmla="*/ 457 h 9678"/>
              <a:gd name="connsiteX154" fmla="*/ 1321 w 10000"/>
              <a:gd name="connsiteY154" fmla="*/ 611 h 9678"/>
              <a:gd name="connsiteX155" fmla="*/ 776 w 10000"/>
              <a:gd name="connsiteY155" fmla="*/ 650 h 9678"/>
              <a:gd name="connsiteX0" fmla="*/ 776 w 10000"/>
              <a:gd name="connsiteY0" fmla="*/ 672 h 10000"/>
              <a:gd name="connsiteX1" fmla="*/ 1074 w 10000"/>
              <a:gd name="connsiteY1" fmla="*/ 898 h 10000"/>
              <a:gd name="connsiteX2" fmla="*/ 1091 w 10000"/>
              <a:gd name="connsiteY2" fmla="*/ 1003 h 10000"/>
              <a:gd name="connsiteX3" fmla="*/ 1032 w 10000"/>
              <a:gd name="connsiteY3" fmla="*/ 1070 h 10000"/>
              <a:gd name="connsiteX4" fmla="*/ 1125 w 10000"/>
              <a:gd name="connsiteY4" fmla="*/ 1143 h 10000"/>
              <a:gd name="connsiteX5" fmla="*/ 1134 w 10000"/>
              <a:gd name="connsiteY5" fmla="*/ 1243 h 10000"/>
              <a:gd name="connsiteX6" fmla="*/ 1023 w 10000"/>
              <a:gd name="connsiteY6" fmla="*/ 1363 h 10000"/>
              <a:gd name="connsiteX7" fmla="*/ 1040 w 10000"/>
              <a:gd name="connsiteY7" fmla="*/ 1442 h 10000"/>
              <a:gd name="connsiteX8" fmla="*/ 1168 w 10000"/>
              <a:gd name="connsiteY8" fmla="*/ 1495 h 10000"/>
              <a:gd name="connsiteX9" fmla="*/ 1253 w 10000"/>
              <a:gd name="connsiteY9" fmla="*/ 1428 h 10000"/>
              <a:gd name="connsiteX10" fmla="*/ 1330 w 10000"/>
              <a:gd name="connsiteY10" fmla="*/ 1428 h 10000"/>
              <a:gd name="connsiteX11" fmla="*/ 1449 w 10000"/>
              <a:gd name="connsiteY11" fmla="*/ 1501 h 10000"/>
              <a:gd name="connsiteX12" fmla="*/ 1449 w 10000"/>
              <a:gd name="connsiteY12" fmla="*/ 1548 h 10000"/>
              <a:gd name="connsiteX13" fmla="*/ 1373 w 10000"/>
              <a:gd name="connsiteY13" fmla="*/ 1595 h 10000"/>
              <a:gd name="connsiteX14" fmla="*/ 1296 w 10000"/>
              <a:gd name="connsiteY14" fmla="*/ 1595 h 10000"/>
              <a:gd name="connsiteX15" fmla="*/ 1262 w 10000"/>
              <a:gd name="connsiteY15" fmla="*/ 1675 h 10000"/>
              <a:gd name="connsiteX16" fmla="*/ 1313 w 10000"/>
              <a:gd name="connsiteY16" fmla="*/ 1734 h 10000"/>
              <a:gd name="connsiteX17" fmla="*/ 1253 w 10000"/>
              <a:gd name="connsiteY17" fmla="*/ 1881 h 10000"/>
              <a:gd name="connsiteX18" fmla="*/ 1313 w 10000"/>
              <a:gd name="connsiteY18" fmla="*/ 1933 h 10000"/>
              <a:gd name="connsiteX19" fmla="*/ 1466 w 10000"/>
              <a:gd name="connsiteY19" fmla="*/ 1933 h 10000"/>
              <a:gd name="connsiteX20" fmla="*/ 1645 w 10000"/>
              <a:gd name="connsiteY20" fmla="*/ 2080 h 10000"/>
              <a:gd name="connsiteX21" fmla="*/ 1824 w 10000"/>
              <a:gd name="connsiteY21" fmla="*/ 2067 h 10000"/>
              <a:gd name="connsiteX22" fmla="*/ 1969 w 10000"/>
              <a:gd name="connsiteY22" fmla="*/ 2125 h 10000"/>
              <a:gd name="connsiteX23" fmla="*/ 2140 w 10000"/>
              <a:gd name="connsiteY23" fmla="*/ 2119 h 10000"/>
              <a:gd name="connsiteX24" fmla="*/ 2225 w 10000"/>
              <a:gd name="connsiteY24" fmla="*/ 2153 h 10000"/>
              <a:gd name="connsiteX25" fmla="*/ 2242 w 10000"/>
              <a:gd name="connsiteY25" fmla="*/ 2219 h 10000"/>
              <a:gd name="connsiteX26" fmla="*/ 2097 w 10000"/>
              <a:gd name="connsiteY26" fmla="*/ 2278 h 10000"/>
              <a:gd name="connsiteX27" fmla="*/ 1799 w 10000"/>
              <a:gd name="connsiteY27" fmla="*/ 2227 h 10000"/>
              <a:gd name="connsiteX28" fmla="*/ 1714 w 10000"/>
              <a:gd name="connsiteY28" fmla="*/ 2239 h 10000"/>
              <a:gd name="connsiteX29" fmla="*/ 1662 w 10000"/>
              <a:gd name="connsiteY29" fmla="*/ 2386 h 10000"/>
              <a:gd name="connsiteX30" fmla="*/ 1569 w 10000"/>
              <a:gd name="connsiteY30" fmla="*/ 2479 h 10000"/>
              <a:gd name="connsiteX31" fmla="*/ 1620 w 10000"/>
              <a:gd name="connsiteY31" fmla="*/ 2771 h 10000"/>
              <a:gd name="connsiteX32" fmla="*/ 1705 w 10000"/>
              <a:gd name="connsiteY32" fmla="*/ 2817 h 10000"/>
              <a:gd name="connsiteX33" fmla="*/ 1654 w 10000"/>
              <a:gd name="connsiteY33" fmla="*/ 2963 h 10000"/>
              <a:gd name="connsiteX34" fmla="*/ 2131 w 10000"/>
              <a:gd name="connsiteY34" fmla="*/ 2998 h 10000"/>
              <a:gd name="connsiteX35" fmla="*/ 2225 w 10000"/>
              <a:gd name="connsiteY35" fmla="*/ 3091 h 10000"/>
              <a:gd name="connsiteX36" fmla="*/ 2157 w 10000"/>
              <a:gd name="connsiteY36" fmla="*/ 3196 h 10000"/>
              <a:gd name="connsiteX37" fmla="*/ 2157 w 10000"/>
              <a:gd name="connsiteY37" fmla="*/ 3329 h 10000"/>
              <a:gd name="connsiteX38" fmla="*/ 1765 w 10000"/>
              <a:gd name="connsiteY38" fmla="*/ 3887 h 10000"/>
              <a:gd name="connsiteX39" fmla="*/ 1671 w 10000"/>
              <a:gd name="connsiteY39" fmla="*/ 3927 h 10000"/>
              <a:gd name="connsiteX40" fmla="*/ 1671 w 10000"/>
              <a:gd name="connsiteY40" fmla="*/ 4020 h 10000"/>
              <a:gd name="connsiteX41" fmla="*/ 1731 w 10000"/>
              <a:gd name="connsiteY41" fmla="*/ 4087 h 10000"/>
              <a:gd name="connsiteX42" fmla="*/ 1594 w 10000"/>
              <a:gd name="connsiteY42" fmla="*/ 4247 h 10000"/>
              <a:gd name="connsiteX43" fmla="*/ 1671 w 10000"/>
              <a:gd name="connsiteY43" fmla="*/ 4451 h 10000"/>
              <a:gd name="connsiteX44" fmla="*/ 1807 w 10000"/>
              <a:gd name="connsiteY44" fmla="*/ 4479 h 10000"/>
              <a:gd name="connsiteX45" fmla="*/ 1910 w 10000"/>
              <a:gd name="connsiteY45" fmla="*/ 4538 h 10000"/>
              <a:gd name="connsiteX46" fmla="*/ 2063 w 10000"/>
              <a:gd name="connsiteY46" fmla="*/ 4511 h 10000"/>
              <a:gd name="connsiteX47" fmla="*/ 2131 w 10000"/>
              <a:gd name="connsiteY47" fmla="*/ 4604 h 10000"/>
              <a:gd name="connsiteX48" fmla="*/ 2165 w 10000"/>
              <a:gd name="connsiteY48" fmla="*/ 4712 h 10000"/>
              <a:gd name="connsiteX49" fmla="*/ 2327 w 10000"/>
              <a:gd name="connsiteY49" fmla="*/ 4844 h 10000"/>
              <a:gd name="connsiteX50" fmla="*/ 2438 w 10000"/>
              <a:gd name="connsiteY50" fmla="*/ 4831 h 10000"/>
              <a:gd name="connsiteX51" fmla="*/ 2481 w 10000"/>
              <a:gd name="connsiteY51" fmla="*/ 4865 h 10000"/>
              <a:gd name="connsiteX52" fmla="*/ 2472 w 10000"/>
              <a:gd name="connsiteY52" fmla="*/ 4944 h 10000"/>
              <a:gd name="connsiteX53" fmla="*/ 2634 w 10000"/>
              <a:gd name="connsiteY53" fmla="*/ 5024 h 10000"/>
              <a:gd name="connsiteX54" fmla="*/ 2737 w 10000"/>
              <a:gd name="connsiteY54" fmla="*/ 5043 h 10000"/>
              <a:gd name="connsiteX55" fmla="*/ 2754 w 10000"/>
              <a:gd name="connsiteY55" fmla="*/ 5150 h 10000"/>
              <a:gd name="connsiteX56" fmla="*/ 2583 w 10000"/>
              <a:gd name="connsiteY56" fmla="*/ 5282 h 10000"/>
              <a:gd name="connsiteX57" fmla="*/ 2268 w 10000"/>
              <a:gd name="connsiteY57" fmla="*/ 5289 h 10000"/>
              <a:gd name="connsiteX58" fmla="*/ 2063 w 10000"/>
              <a:gd name="connsiteY58" fmla="*/ 5190 h 10000"/>
              <a:gd name="connsiteX59" fmla="*/ 1952 w 10000"/>
              <a:gd name="connsiteY59" fmla="*/ 5190 h 10000"/>
              <a:gd name="connsiteX60" fmla="*/ 1910 w 10000"/>
              <a:gd name="connsiteY60" fmla="*/ 5229 h 10000"/>
              <a:gd name="connsiteX61" fmla="*/ 2455 w 10000"/>
              <a:gd name="connsiteY61" fmla="*/ 5801 h 10000"/>
              <a:gd name="connsiteX62" fmla="*/ 2532 w 10000"/>
              <a:gd name="connsiteY62" fmla="*/ 5834 h 10000"/>
              <a:gd name="connsiteX63" fmla="*/ 2506 w 10000"/>
              <a:gd name="connsiteY63" fmla="*/ 6073 h 10000"/>
              <a:gd name="connsiteX64" fmla="*/ 2464 w 10000"/>
              <a:gd name="connsiteY64" fmla="*/ 6166 h 10000"/>
              <a:gd name="connsiteX65" fmla="*/ 2336 w 10000"/>
              <a:gd name="connsiteY65" fmla="*/ 6206 h 10000"/>
              <a:gd name="connsiteX66" fmla="*/ 2242 w 10000"/>
              <a:gd name="connsiteY66" fmla="*/ 6140 h 10000"/>
              <a:gd name="connsiteX67" fmla="*/ 2148 w 10000"/>
              <a:gd name="connsiteY67" fmla="*/ 6133 h 10000"/>
              <a:gd name="connsiteX68" fmla="*/ 2038 w 10000"/>
              <a:gd name="connsiteY68" fmla="*/ 6260 h 10000"/>
              <a:gd name="connsiteX69" fmla="*/ 1858 w 10000"/>
              <a:gd name="connsiteY69" fmla="*/ 6326 h 10000"/>
              <a:gd name="connsiteX70" fmla="*/ 1688 w 10000"/>
              <a:gd name="connsiteY70" fmla="*/ 6326 h 10000"/>
              <a:gd name="connsiteX71" fmla="*/ 1603 w 10000"/>
              <a:gd name="connsiteY71" fmla="*/ 6378 h 10000"/>
              <a:gd name="connsiteX72" fmla="*/ 1500 w 10000"/>
              <a:gd name="connsiteY72" fmla="*/ 6372 h 10000"/>
              <a:gd name="connsiteX73" fmla="*/ 1458 w 10000"/>
              <a:gd name="connsiteY73" fmla="*/ 6286 h 10000"/>
              <a:gd name="connsiteX74" fmla="*/ 1313 w 10000"/>
              <a:gd name="connsiteY74" fmla="*/ 6293 h 10000"/>
              <a:gd name="connsiteX75" fmla="*/ 1194 w 10000"/>
              <a:gd name="connsiteY75" fmla="*/ 6398 h 10000"/>
              <a:gd name="connsiteX76" fmla="*/ 1245 w 10000"/>
              <a:gd name="connsiteY76" fmla="*/ 6492 h 10000"/>
              <a:gd name="connsiteX77" fmla="*/ 1381 w 10000"/>
              <a:gd name="connsiteY77" fmla="*/ 6539 h 10000"/>
              <a:gd name="connsiteX78" fmla="*/ 1424 w 10000"/>
              <a:gd name="connsiteY78" fmla="*/ 6704 h 10000"/>
              <a:gd name="connsiteX79" fmla="*/ 1500 w 10000"/>
              <a:gd name="connsiteY79" fmla="*/ 6797 h 10000"/>
              <a:gd name="connsiteX80" fmla="*/ 1500 w 10000"/>
              <a:gd name="connsiteY80" fmla="*/ 6977 h 10000"/>
              <a:gd name="connsiteX81" fmla="*/ 1449 w 10000"/>
              <a:gd name="connsiteY81" fmla="*/ 7044 h 10000"/>
              <a:gd name="connsiteX82" fmla="*/ 1338 w 10000"/>
              <a:gd name="connsiteY82" fmla="*/ 7029 h 10000"/>
              <a:gd name="connsiteX83" fmla="*/ 1270 w 10000"/>
              <a:gd name="connsiteY83" fmla="*/ 6977 h 10000"/>
              <a:gd name="connsiteX84" fmla="*/ 1219 w 10000"/>
              <a:gd name="connsiteY84" fmla="*/ 6804 h 10000"/>
              <a:gd name="connsiteX85" fmla="*/ 1151 w 10000"/>
              <a:gd name="connsiteY85" fmla="*/ 6751 h 10000"/>
              <a:gd name="connsiteX86" fmla="*/ 963 w 10000"/>
              <a:gd name="connsiteY86" fmla="*/ 6751 h 10000"/>
              <a:gd name="connsiteX87" fmla="*/ 614 w 10000"/>
              <a:gd name="connsiteY87" fmla="*/ 6990 h 10000"/>
              <a:gd name="connsiteX88" fmla="*/ 554 w 10000"/>
              <a:gd name="connsiteY88" fmla="*/ 7156 h 10000"/>
              <a:gd name="connsiteX89" fmla="*/ 486 w 10000"/>
              <a:gd name="connsiteY89" fmla="*/ 7223 h 10000"/>
              <a:gd name="connsiteX90" fmla="*/ 486 w 10000"/>
              <a:gd name="connsiteY90" fmla="*/ 7468 h 10000"/>
              <a:gd name="connsiteX91" fmla="*/ 392 w 10000"/>
              <a:gd name="connsiteY91" fmla="*/ 7528 h 10000"/>
              <a:gd name="connsiteX92" fmla="*/ 213 w 10000"/>
              <a:gd name="connsiteY92" fmla="*/ 7528 h 10000"/>
              <a:gd name="connsiteX93" fmla="*/ 94 w 10000"/>
              <a:gd name="connsiteY93" fmla="*/ 7628 h 10000"/>
              <a:gd name="connsiteX94" fmla="*/ 68 w 10000"/>
              <a:gd name="connsiteY94" fmla="*/ 7920 h 10000"/>
              <a:gd name="connsiteX95" fmla="*/ 17 w 10000"/>
              <a:gd name="connsiteY95" fmla="*/ 7947 h 10000"/>
              <a:gd name="connsiteX96" fmla="*/ 34 w 10000"/>
              <a:gd name="connsiteY96" fmla="*/ 8047 h 10000"/>
              <a:gd name="connsiteX97" fmla="*/ 247 w 10000"/>
              <a:gd name="connsiteY97" fmla="*/ 8299 h 10000"/>
              <a:gd name="connsiteX98" fmla="*/ 239 w 10000"/>
              <a:gd name="connsiteY98" fmla="*/ 8446 h 10000"/>
              <a:gd name="connsiteX99" fmla="*/ 17 w 10000"/>
              <a:gd name="connsiteY99" fmla="*/ 8691 h 10000"/>
              <a:gd name="connsiteX100" fmla="*/ 0 w 10000"/>
              <a:gd name="connsiteY100" fmla="*/ 8937 h 10000"/>
              <a:gd name="connsiteX101" fmla="*/ 1840 w 10000"/>
              <a:gd name="connsiteY101" fmla="*/ 7070 h 10000"/>
              <a:gd name="connsiteX102" fmla="*/ 1813 w 10000"/>
              <a:gd name="connsiteY102" fmla="*/ 7618 h 10000"/>
              <a:gd name="connsiteX103" fmla="*/ 2056 w 10000"/>
              <a:gd name="connsiteY103" fmla="*/ 7135 h 10000"/>
              <a:gd name="connsiteX104" fmla="*/ 1988 w 10000"/>
              <a:gd name="connsiteY104" fmla="*/ 6997 h 10000"/>
              <a:gd name="connsiteX105" fmla="*/ 2432 w 10000"/>
              <a:gd name="connsiteY105" fmla="*/ 7174 h 10000"/>
              <a:gd name="connsiteX106" fmla="*/ 2698 w 10000"/>
              <a:gd name="connsiteY106" fmla="*/ 7290 h 10000"/>
              <a:gd name="connsiteX107" fmla="*/ 2946 w 10000"/>
              <a:gd name="connsiteY107" fmla="*/ 7583 h 10000"/>
              <a:gd name="connsiteX108" fmla="*/ 3118 w 10000"/>
              <a:gd name="connsiteY108" fmla="*/ 8108 h 10000"/>
              <a:gd name="connsiteX109" fmla="*/ 3766 w 10000"/>
              <a:gd name="connsiteY109" fmla="*/ 8563 h 10000"/>
              <a:gd name="connsiteX110" fmla="*/ 3811 w 10000"/>
              <a:gd name="connsiteY110" fmla="*/ 8917 h 10000"/>
              <a:gd name="connsiteX111" fmla="*/ 4058 w 10000"/>
              <a:gd name="connsiteY111" fmla="*/ 9290 h 10000"/>
              <a:gd name="connsiteX112" fmla="*/ 4484 w 10000"/>
              <a:gd name="connsiteY112" fmla="*/ 9429 h 10000"/>
              <a:gd name="connsiteX113" fmla="*/ 4979 w 10000"/>
              <a:gd name="connsiteY113" fmla="*/ 9934 h 10000"/>
              <a:gd name="connsiteX114" fmla="*/ 5072 w 10000"/>
              <a:gd name="connsiteY114" fmla="*/ 9994 h 10000"/>
              <a:gd name="connsiteX115" fmla="*/ 5234 w 10000"/>
              <a:gd name="connsiteY115" fmla="*/ 10000 h 10000"/>
              <a:gd name="connsiteX116" fmla="*/ 5388 w 10000"/>
              <a:gd name="connsiteY116" fmla="*/ 9908 h 10000"/>
              <a:gd name="connsiteX117" fmla="*/ 5422 w 10000"/>
              <a:gd name="connsiteY117" fmla="*/ 9615 h 10000"/>
              <a:gd name="connsiteX118" fmla="*/ 6121 w 10000"/>
              <a:gd name="connsiteY118" fmla="*/ 9442 h 10000"/>
              <a:gd name="connsiteX119" fmla="*/ 6266 w 10000"/>
              <a:gd name="connsiteY119" fmla="*/ 9463 h 10000"/>
              <a:gd name="connsiteX120" fmla="*/ 6522 w 10000"/>
              <a:gd name="connsiteY120" fmla="*/ 9688 h 10000"/>
              <a:gd name="connsiteX121" fmla="*/ 6633 w 10000"/>
              <a:gd name="connsiteY121" fmla="*/ 9676 h 10000"/>
              <a:gd name="connsiteX122" fmla="*/ 6641 w 10000"/>
              <a:gd name="connsiteY122" fmla="*/ 9542 h 10000"/>
              <a:gd name="connsiteX123" fmla="*/ 6957 w 10000"/>
              <a:gd name="connsiteY123" fmla="*/ 9382 h 10000"/>
              <a:gd name="connsiteX124" fmla="*/ 7630 w 10000"/>
              <a:gd name="connsiteY124" fmla="*/ 9475 h 10000"/>
              <a:gd name="connsiteX125" fmla="*/ 7775 w 10000"/>
              <a:gd name="connsiteY125" fmla="*/ 9336 h 10000"/>
              <a:gd name="connsiteX126" fmla="*/ 8397 w 10000"/>
              <a:gd name="connsiteY126" fmla="*/ 9415 h 10000"/>
              <a:gd name="connsiteX127" fmla="*/ 8841 w 10000"/>
              <a:gd name="connsiteY127" fmla="*/ 9355 h 10000"/>
              <a:gd name="connsiteX128" fmla="*/ 9096 w 10000"/>
              <a:gd name="connsiteY128" fmla="*/ 9442 h 10000"/>
              <a:gd name="connsiteX129" fmla="*/ 9071 w 10000"/>
              <a:gd name="connsiteY129" fmla="*/ 8665 h 10000"/>
              <a:gd name="connsiteX130" fmla="*/ 9548 w 10000"/>
              <a:gd name="connsiteY130" fmla="*/ 7828 h 10000"/>
              <a:gd name="connsiteX131" fmla="*/ 10000 w 10000"/>
              <a:gd name="connsiteY131" fmla="*/ 7449 h 10000"/>
              <a:gd name="connsiteX132" fmla="*/ 8986 w 10000"/>
              <a:gd name="connsiteY132" fmla="*/ 6465 h 10000"/>
              <a:gd name="connsiteX133" fmla="*/ 8968 w 10000"/>
              <a:gd name="connsiteY133" fmla="*/ 5117 h 10000"/>
              <a:gd name="connsiteX134" fmla="*/ 9633 w 10000"/>
              <a:gd name="connsiteY134" fmla="*/ 4857 h 10000"/>
              <a:gd name="connsiteX135" fmla="*/ 9250 w 10000"/>
              <a:gd name="connsiteY135" fmla="*/ 4791 h 10000"/>
              <a:gd name="connsiteX136" fmla="*/ 8900 w 10000"/>
              <a:gd name="connsiteY136" fmla="*/ 4286 h 10000"/>
              <a:gd name="connsiteX137" fmla="*/ 9301 w 10000"/>
              <a:gd name="connsiteY137" fmla="*/ 3941 h 10000"/>
              <a:gd name="connsiteX138" fmla="*/ 9003 w 10000"/>
              <a:gd name="connsiteY138" fmla="*/ 3595 h 10000"/>
              <a:gd name="connsiteX139" fmla="*/ 8551 w 10000"/>
              <a:gd name="connsiteY139" fmla="*/ 3893 h 10000"/>
              <a:gd name="connsiteX140" fmla="*/ 7391 w 10000"/>
              <a:gd name="connsiteY140" fmla="*/ 3595 h 10000"/>
              <a:gd name="connsiteX141" fmla="*/ 6777 w 10000"/>
              <a:gd name="connsiteY141" fmla="*/ 3230 h 10000"/>
              <a:gd name="connsiteX142" fmla="*/ 6616 w 10000"/>
              <a:gd name="connsiteY142" fmla="*/ 2465 h 10000"/>
              <a:gd name="connsiteX143" fmla="*/ 6292 w 10000"/>
              <a:gd name="connsiteY143" fmla="*/ 2306 h 10000"/>
              <a:gd name="connsiteX144" fmla="*/ 5857 w 10000"/>
              <a:gd name="connsiteY144" fmla="*/ 2233 h 10000"/>
              <a:gd name="connsiteX145" fmla="*/ 5499 w 10000"/>
              <a:gd name="connsiteY145" fmla="*/ 1821 h 10000"/>
              <a:gd name="connsiteX146" fmla="*/ 5081 w 10000"/>
              <a:gd name="connsiteY146" fmla="*/ 904 h 10000"/>
              <a:gd name="connsiteX147" fmla="*/ 4672 w 10000"/>
              <a:gd name="connsiteY147" fmla="*/ 525 h 10000"/>
              <a:gd name="connsiteX148" fmla="*/ 3905 w 10000"/>
              <a:gd name="connsiteY148" fmla="*/ 219 h 10000"/>
              <a:gd name="connsiteX149" fmla="*/ 3717 w 10000"/>
              <a:gd name="connsiteY149" fmla="*/ 0 h 10000"/>
              <a:gd name="connsiteX150" fmla="*/ 3248 w 10000"/>
              <a:gd name="connsiteY150" fmla="*/ 127 h 10000"/>
              <a:gd name="connsiteX151" fmla="*/ 2771 w 10000"/>
              <a:gd name="connsiteY151" fmla="*/ 147 h 10000"/>
              <a:gd name="connsiteX152" fmla="*/ 2148 w 10000"/>
              <a:gd name="connsiteY152" fmla="*/ 459 h 10000"/>
              <a:gd name="connsiteX153" fmla="*/ 1586 w 10000"/>
              <a:gd name="connsiteY153" fmla="*/ 472 h 10000"/>
              <a:gd name="connsiteX154" fmla="*/ 1321 w 10000"/>
              <a:gd name="connsiteY154" fmla="*/ 631 h 10000"/>
              <a:gd name="connsiteX155" fmla="*/ 776 w 10000"/>
              <a:gd name="connsiteY155" fmla="*/ 672 h 10000"/>
              <a:gd name="connsiteX0" fmla="*/ 760 w 9984"/>
              <a:gd name="connsiteY0" fmla="*/ 672 h 10000"/>
              <a:gd name="connsiteX1" fmla="*/ 1058 w 9984"/>
              <a:gd name="connsiteY1" fmla="*/ 898 h 10000"/>
              <a:gd name="connsiteX2" fmla="*/ 1075 w 9984"/>
              <a:gd name="connsiteY2" fmla="*/ 1003 h 10000"/>
              <a:gd name="connsiteX3" fmla="*/ 1016 w 9984"/>
              <a:gd name="connsiteY3" fmla="*/ 1070 h 10000"/>
              <a:gd name="connsiteX4" fmla="*/ 1109 w 9984"/>
              <a:gd name="connsiteY4" fmla="*/ 1143 h 10000"/>
              <a:gd name="connsiteX5" fmla="*/ 1118 w 9984"/>
              <a:gd name="connsiteY5" fmla="*/ 1243 h 10000"/>
              <a:gd name="connsiteX6" fmla="*/ 1007 w 9984"/>
              <a:gd name="connsiteY6" fmla="*/ 1363 h 10000"/>
              <a:gd name="connsiteX7" fmla="*/ 1024 w 9984"/>
              <a:gd name="connsiteY7" fmla="*/ 1442 h 10000"/>
              <a:gd name="connsiteX8" fmla="*/ 1152 w 9984"/>
              <a:gd name="connsiteY8" fmla="*/ 1495 h 10000"/>
              <a:gd name="connsiteX9" fmla="*/ 1237 w 9984"/>
              <a:gd name="connsiteY9" fmla="*/ 1428 h 10000"/>
              <a:gd name="connsiteX10" fmla="*/ 1314 w 9984"/>
              <a:gd name="connsiteY10" fmla="*/ 1428 h 10000"/>
              <a:gd name="connsiteX11" fmla="*/ 1433 w 9984"/>
              <a:gd name="connsiteY11" fmla="*/ 1501 h 10000"/>
              <a:gd name="connsiteX12" fmla="*/ 1433 w 9984"/>
              <a:gd name="connsiteY12" fmla="*/ 1548 h 10000"/>
              <a:gd name="connsiteX13" fmla="*/ 1357 w 9984"/>
              <a:gd name="connsiteY13" fmla="*/ 1595 h 10000"/>
              <a:gd name="connsiteX14" fmla="*/ 1280 w 9984"/>
              <a:gd name="connsiteY14" fmla="*/ 1595 h 10000"/>
              <a:gd name="connsiteX15" fmla="*/ 1246 w 9984"/>
              <a:gd name="connsiteY15" fmla="*/ 1675 h 10000"/>
              <a:gd name="connsiteX16" fmla="*/ 1297 w 9984"/>
              <a:gd name="connsiteY16" fmla="*/ 1734 h 10000"/>
              <a:gd name="connsiteX17" fmla="*/ 1237 w 9984"/>
              <a:gd name="connsiteY17" fmla="*/ 1881 h 10000"/>
              <a:gd name="connsiteX18" fmla="*/ 1297 w 9984"/>
              <a:gd name="connsiteY18" fmla="*/ 1933 h 10000"/>
              <a:gd name="connsiteX19" fmla="*/ 1450 w 9984"/>
              <a:gd name="connsiteY19" fmla="*/ 1933 h 10000"/>
              <a:gd name="connsiteX20" fmla="*/ 1629 w 9984"/>
              <a:gd name="connsiteY20" fmla="*/ 2080 h 10000"/>
              <a:gd name="connsiteX21" fmla="*/ 1808 w 9984"/>
              <a:gd name="connsiteY21" fmla="*/ 2067 h 10000"/>
              <a:gd name="connsiteX22" fmla="*/ 1953 w 9984"/>
              <a:gd name="connsiteY22" fmla="*/ 2125 h 10000"/>
              <a:gd name="connsiteX23" fmla="*/ 2124 w 9984"/>
              <a:gd name="connsiteY23" fmla="*/ 2119 h 10000"/>
              <a:gd name="connsiteX24" fmla="*/ 2209 w 9984"/>
              <a:gd name="connsiteY24" fmla="*/ 2153 h 10000"/>
              <a:gd name="connsiteX25" fmla="*/ 2226 w 9984"/>
              <a:gd name="connsiteY25" fmla="*/ 2219 h 10000"/>
              <a:gd name="connsiteX26" fmla="*/ 2081 w 9984"/>
              <a:gd name="connsiteY26" fmla="*/ 2278 h 10000"/>
              <a:gd name="connsiteX27" fmla="*/ 1783 w 9984"/>
              <a:gd name="connsiteY27" fmla="*/ 2227 h 10000"/>
              <a:gd name="connsiteX28" fmla="*/ 1698 w 9984"/>
              <a:gd name="connsiteY28" fmla="*/ 2239 h 10000"/>
              <a:gd name="connsiteX29" fmla="*/ 1646 w 9984"/>
              <a:gd name="connsiteY29" fmla="*/ 2386 h 10000"/>
              <a:gd name="connsiteX30" fmla="*/ 1553 w 9984"/>
              <a:gd name="connsiteY30" fmla="*/ 2479 h 10000"/>
              <a:gd name="connsiteX31" fmla="*/ 1604 w 9984"/>
              <a:gd name="connsiteY31" fmla="*/ 2771 h 10000"/>
              <a:gd name="connsiteX32" fmla="*/ 1689 w 9984"/>
              <a:gd name="connsiteY32" fmla="*/ 2817 h 10000"/>
              <a:gd name="connsiteX33" fmla="*/ 1638 w 9984"/>
              <a:gd name="connsiteY33" fmla="*/ 2963 h 10000"/>
              <a:gd name="connsiteX34" fmla="*/ 2115 w 9984"/>
              <a:gd name="connsiteY34" fmla="*/ 2998 h 10000"/>
              <a:gd name="connsiteX35" fmla="*/ 2209 w 9984"/>
              <a:gd name="connsiteY35" fmla="*/ 3091 h 10000"/>
              <a:gd name="connsiteX36" fmla="*/ 2141 w 9984"/>
              <a:gd name="connsiteY36" fmla="*/ 3196 h 10000"/>
              <a:gd name="connsiteX37" fmla="*/ 2141 w 9984"/>
              <a:gd name="connsiteY37" fmla="*/ 3329 h 10000"/>
              <a:gd name="connsiteX38" fmla="*/ 1749 w 9984"/>
              <a:gd name="connsiteY38" fmla="*/ 3887 h 10000"/>
              <a:gd name="connsiteX39" fmla="*/ 1655 w 9984"/>
              <a:gd name="connsiteY39" fmla="*/ 3927 h 10000"/>
              <a:gd name="connsiteX40" fmla="*/ 1655 w 9984"/>
              <a:gd name="connsiteY40" fmla="*/ 4020 h 10000"/>
              <a:gd name="connsiteX41" fmla="*/ 1715 w 9984"/>
              <a:gd name="connsiteY41" fmla="*/ 4087 h 10000"/>
              <a:gd name="connsiteX42" fmla="*/ 1578 w 9984"/>
              <a:gd name="connsiteY42" fmla="*/ 4247 h 10000"/>
              <a:gd name="connsiteX43" fmla="*/ 1655 w 9984"/>
              <a:gd name="connsiteY43" fmla="*/ 4451 h 10000"/>
              <a:gd name="connsiteX44" fmla="*/ 1791 w 9984"/>
              <a:gd name="connsiteY44" fmla="*/ 4479 h 10000"/>
              <a:gd name="connsiteX45" fmla="*/ 1894 w 9984"/>
              <a:gd name="connsiteY45" fmla="*/ 4538 h 10000"/>
              <a:gd name="connsiteX46" fmla="*/ 2047 w 9984"/>
              <a:gd name="connsiteY46" fmla="*/ 4511 h 10000"/>
              <a:gd name="connsiteX47" fmla="*/ 2115 w 9984"/>
              <a:gd name="connsiteY47" fmla="*/ 4604 h 10000"/>
              <a:gd name="connsiteX48" fmla="*/ 2149 w 9984"/>
              <a:gd name="connsiteY48" fmla="*/ 4712 h 10000"/>
              <a:gd name="connsiteX49" fmla="*/ 2311 w 9984"/>
              <a:gd name="connsiteY49" fmla="*/ 4844 h 10000"/>
              <a:gd name="connsiteX50" fmla="*/ 2422 w 9984"/>
              <a:gd name="connsiteY50" fmla="*/ 4831 h 10000"/>
              <a:gd name="connsiteX51" fmla="*/ 2465 w 9984"/>
              <a:gd name="connsiteY51" fmla="*/ 4865 h 10000"/>
              <a:gd name="connsiteX52" fmla="*/ 2456 w 9984"/>
              <a:gd name="connsiteY52" fmla="*/ 4944 h 10000"/>
              <a:gd name="connsiteX53" fmla="*/ 2618 w 9984"/>
              <a:gd name="connsiteY53" fmla="*/ 5024 h 10000"/>
              <a:gd name="connsiteX54" fmla="*/ 2721 w 9984"/>
              <a:gd name="connsiteY54" fmla="*/ 5043 h 10000"/>
              <a:gd name="connsiteX55" fmla="*/ 2738 w 9984"/>
              <a:gd name="connsiteY55" fmla="*/ 5150 h 10000"/>
              <a:gd name="connsiteX56" fmla="*/ 2567 w 9984"/>
              <a:gd name="connsiteY56" fmla="*/ 5282 h 10000"/>
              <a:gd name="connsiteX57" fmla="*/ 2252 w 9984"/>
              <a:gd name="connsiteY57" fmla="*/ 5289 h 10000"/>
              <a:gd name="connsiteX58" fmla="*/ 2047 w 9984"/>
              <a:gd name="connsiteY58" fmla="*/ 5190 h 10000"/>
              <a:gd name="connsiteX59" fmla="*/ 1936 w 9984"/>
              <a:gd name="connsiteY59" fmla="*/ 5190 h 10000"/>
              <a:gd name="connsiteX60" fmla="*/ 1894 w 9984"/>
              <a:gd name="connsiteY60" fmla="*/ 5229 h 10000"/>
              <a:gd name="connsiteX61" fmla="*/ 2439 w 9984"/>
              <a:gd name="connsiteY61" fmla="*/ 5801 h 10000"/>
              <a:gd name="connsiteX62" fmla="*/ 2516 w 9984"/>
              <a:gd name="connsiteY62" fmla="*/ 5834 h 10000"/>
              <a:gd name="connsiteX63" fmla="*/ 2490 w 9984"/>
              <a:gd name="connsiteY63" fmla="*/ 6073 h 10000"/>
              <a:gd name="connsiteX64" fmla="*/ 2448 w 9984"/>
              <a:gd name="connsiteY64" fmla="*/ 6166 h 10000"/>
              <a:gd name="connsiteX65" fmla="*/ 2320 w 9984"/>
              <a:gd name="connsiteY65" fmla="*/ 6206 h 10000"/>
              <a:gd name="connsiteX66" fmla="*/ 2226 w 9984"/>
              <a:gd name="connsiteY66" fmla="*/ 6140 h 10000"/>
              <a:gd name="connsiteX67" fmla="*/ 2132 w 9984"/>
              <a:gd name="connsiteY67" fmla="*/ 6133 h 10000"/>
              <a:gd name="connsiteX68" fmla="*/ 2022 w 9984"/>
              <a:gd name="connsiteY68" fmla="*/ 6260 h 10000"/>
              <a:gd name="connsiteX69" fmla="*/ 1842 w 9984"/>
              <a:gd name="connsiteY69" fmla="*/ 6326 h 10000"/>
              <a:gd name="connsiteX70" fmla="*/ 1672 w 9984"/>
              <a:gd name="connsiteY70" fmla="*/ 6326 h 10000"/>
              <a:gd name="connsiteX71" fmla="*/ 1587 w 9984"/>
              <a:gd name="connsiteY71" fmla="*/ 6378 h 10000"/>
              <a:gd name="connsiteX72" fmla="*/ 1484 w 9984"/>
              <a:gd name="connsiteY72" fmla="*/ 6372 h 10000"/>
              <a:gd name="connsiteX73" fmla="*/ 1442 w 9984"/>
              <a:gd name="connsiteY73" fmla="*/ 6286 h 10000"/>
              <a:gd name="connsiteX74" fmla="*/ 1297 w 9984"/>
              <a:gd name="connsiteY74" fmla="*/ 6293 h 10000"/>
              <a:gd name="connsiteX75" fmla="*/ 1178 w 9984"/>
              <a:gd name="connsiteY75" fmla="*/ 6398 h 10000"/>
              <a:gd name="connsiteX76" fmla="*/ 1229 w 9984"/>
              <a:gd name="connsiteY76" fmla="*/ 6492 h 10000"/>
              <a:gd name="connsiteX77" fmla="*/ 1365 w 9984"/>
              <a:gd name="connsiteY77" fmla="*/ 6539 h 10000"/>
              <a:gd name="connsiteX78" fmla="*/ 1408 w 9984"/>
              <a:gd name="connsiteY78" fmla="*/ 6704 h 10000"/>
              <a:gd name="connsiteX79" fmla="*/ 1484 w 9984"/>
              <a:gd name="connsiteY79" fmla="*/ 6797 h 10000"/>
              <a:gd name="connsiteX80" fmla="*/ 1484 w 9984"/>
              <a:gd name="connsiteY80" fmla="*/ 6977 h 10000"/>
              <a:gd name="connsiteX81" fmla="*/ 1433 w 9984"/>
              <a:gd name="connsiteY81" fmla="*/ 7044 h 10000"/>
              <a:gd name="connsiteX82" fmla="*/ 1322 w 9984"/>
              <a:gd name="connsiteY82" fmla="*/ 7029 h 10000"/>
              <a:gd name="connsiteX83" fmla="*/ 1254 w 9984"/>
              <a:gd name="connsiteY83" fmla="*/ 6977 h 10000"/>
              <a:gd name="connsiteX84" fmla="*/ 1203 w 9984"/>
              <a:gd name="connsiteY84" fmla="*/ 6804 h 10000"/>
              <a:gd name="connsiteX85" fmla="*/ 1135 w 9984"/>
              <a:gd name="connsiteY85" fmla="*/ 6751 h 10000"/>
              <a:gd name="connsiteX86" fmla="*/ 947 w 9984"/>
              <a:gd name="connsiteY86" fmla="*/ 6751 h 10000"/>
              <a:gd name="connsiteX87" fmla="*/ 598 w 9984"/>
              <a:gd name="connsiteY87" fmla="*/ 6990 h 10000"/>
              <a:gd name="connsiteX88" fmla="*/ 538 w 9984"/>
              <a:gd name="connsiteY88" fmla="*/ 7156 h 10000"/>
              <a:gd name="connsiteX89" fmla="*/ 470 w 9984"/>
              <a:gd name="connsiteY89" fmla="*/ 7223 h 10000"/>
              <a:gd name="connsiteX90" fmla="*/ 470 w 9984"/>
              <a:gd name="connsiteY90" fmla="*/ 7468 h 10000"/>
              <a:gd name="connsiteX91" fmla="*/ 376 w 9984"/>
              <a:gd name="connsiteY91" fmla="*/ 7528 h 10000"/>
              <a:gd name="connsiteX92" fmla="*/ 197 w 9984"/>
              <a:gd name="connsiteY92" fmla="*/ 7528 h 10000"/>
              <a:gd name="connsiteX93" fmla="*/ 78 w 9984"/>
              <a:gd name="connsiteY93" fmla="*/ 7628 h 10000"/>
              <a:gd name="connsiteX94" fmla="*/ 52 w 9984"/>
              <a:gd name="connsiteY94" fmla="*/ 7920 h 10000"/>
              <a:gd name="connsiteX95" fmla="*/ 1 w 9984"/>
              <a:gd name="connsiteY95" fmla="*/ 7947 h 10000"/>
              <a:gd name="connsiteX96" fmla="*/ 18 w 9984"/>
              <a:gd name="connsiteY96" fmla="*/ 8047 h 10000"/>
              <a:gd name="connsiteX97" fmla="*/ 231 w 9984"/>
              <a:gd name="connsiteY97" fmla="*/ 8299 h 10000"/>
              <a:gd name="connsiteX98" fmla="*/ 223 w 9984"/>
              <a:gd name="connsiteY98" fmla="*/ 8446 h 10000"/>
              <a:gd name="connsiteX99" fmla="*/ 1 w 9984"/>
              <a:gd name="connsiteY99" fmla="*/ 8691 h 10000"/>
              <a:gd name="connsiteX100" fmla="*/ 1411 w 9984"/>
              <a:gd name="connsiteY100" fmla="*/ 6966 h 10000"/>
              <a:gd name="connsiteX101" fmla="*/ 1824 w 9984"/>
              <a:gd name="connsiteY101" fmla="*/ 7070 h 10000"/>
              <a:gd name="connsiteX102" fmla="*/ 1797 w 9984"/>
              <a:gd name="connsiteY102" fmla="*/ 7618 h 10000"/>
              <a:gd name="connsiteX103" fmla="*/ 2040 w 9984"/>
              <a:gd name="connsiteY103" fmla="*/ 7135 h 10000"/>
              <a:gd name="connsiteX104" fmla="*/ 1972 w 9984"/>
              <a:gd name="connsiteY104" fmla="*/ 6997 h 10000"/>
              <a:gd name="connsiteX105" fmla="*/ 2416 w 9984"/>
              <a:gd name="connsiteY105" fmla="*/ 7174 h 10000"/>
              <a:gd name="connsiteX106" fmla="*/ 2682 w 9984"/>
              <a:gd name="connsiteY106" fmla="*/ 7290 h 10000"/>
              <a:gd name="connsiteX107" fmla="*/ 2930 w 9984"/>
              <a:gd name="connsiteY107" fmla="*/ 7583 h 10000"/>
              <a:gd name="connsiteX108" fmla="*/ 3102 w 9984"/>
              <a:gd name="connsiteY108" fmla="*/ 8108 h 10000"/>
              <a:gd name="connsiteX109" fmla="*/ 3750 w 9984"/>
              <a:gd name="connsiteY109" fmla="*/ 8563 h 10000"/>
              <a:gd name="connsiteX110" fmla="*/ 3795 w 9984"/>
              <a:gd name="connsiteY110" fmla="*/ 8917 h 10000"/>
              <a:gd name="connsiteX111" fmla="*/ 4042 w 9984"/>
              <a:gd name="connsiteY111" fmla="*/ 9290 h 10000"/>
              <a:gd name="connsiteX112" fmla="*/ 4468 w 9984"/>
              <a:gd name="connsiteY112" fmla="*/ 9429 h 10000"/>
              <a:gd name="connsiteX113" fmla="*/ 4963 w 9984"/>
              <a:gd name="connsiteY113" fmla="*/ 9934 h 10000"/>
              <a:gd name="connsiteX114" fmla="*/ 5056 w 9984"/>
              <a:gd name="connsiteY114" fmla="*/ 9994 h 10000"/>
              <a:gd name="connsiteX115" fmla="*/ 5218 w 9984"/>
              <a:gd name="connsiteY115" fmla="*/ 10000 h 10000"/>
              <a:gd name="connsiteX116" fmla="*/ 5372 w 9984"/>
              <a:gd name="connsiteY116" fmla="*/ 9908 h 10000"/>
              <a:gd name="connsiteX117" fmla="*/ 5406 w 9984"/>
              <a:gd name="connsiteY117" fmla="*/ 9615 h 10000"/>
              <a:gd name="connsiteX118" fmla="*/ 6105 w 9984"/>
              <a:gd name="connsiteY118" fmla="*/ 9442 h 10000"/>
              <a:gd name="connsiteX119" fmla="*/ 6250 w 9984"/>
              <a:gd name="connsiteY119" fmla="*/ 9463 h 10000"/>
              <a:gd name="connsiteX120" fmla="*/ 6506 w 9984"/>
              <a:gd name="connsiteY120" fmla="*/ 9688 h 10000"/>
              <a:gd name="connsiteX121" fmla="*/ 6617 w 9984"/>
              <a:gd name="connsiteY121" fmla="*/ 9676 h 10000"/>
              <a:gd name="connsiteX122" fmla="*/ 6625 w 9984"/>
              <a:gd name="connsiteY122" fmla="*/ 9542 h 10000"/>
              <a:gd name="connsiteX123" fmla="*/ 6941 w 9984"/>
              <a:gd name="connsiteY123" fmla="*/ 9382 h 10000"/>
              <a:gd name="connsiteX124" fmla="*/ 7614 w 9984"/>
              <a:gd name="connsiteY124" fmla="*/ 9475 h 10000"/>
              <a:gd name="connsiteX125" fmla="*/ 7759 w 9984"/>
              <a:gd name="connsiteY125" fmla="*/ 9336 h 10000"/>
              <a:gd name="connsiteX126" fmla="*/ 8381 w 9984"/>
              <a:gd name="connsiteY126" fmla="*/ 9415 h 10000"/>
              <a:gd name="connsiteX127" fmla="*/ 8825 w 9984"/>
              <a:gd name="connsiteY127" fmla="*/ 9355 h 10000"/>
              <a:gd name="connsiteX128" fmla="*/ 9080 w 9984"/>
              <a:gd name="connsiteY128" fmla="*/ 9442 h 10000"/>
              <a:gd name="connsiteX129" fmla="*/ 9055 w 9984"/>
              <a:gd name="connsiteY129" fmla="*/ 8665 h 10000"/>
              <a:gd name="connsiteX130" fmla="*/ 9532 w 9984"/>
              <a:gd name="connsiteY130" fmla="*/ 7828 h 10000"/>
              <a:gd name="connsiteX131" fmla="*/ 9984 w 9984"/>
              <a:gd name="connsiteY131" fmla="*/ 7449 h 10000"/>
              <a:gd name="connsiteX132" fmla="*/ 8970 w 9984"/>
              <a:gd name="connsiteY132" fmla="*/ 6465 h 10000"/>
              <a:gd name="connsiteX133" fmla="*/ 8952 w 9984"/>
              <a:gd name="connsiteY133" fmla="*/ 5117 h 10000"/>
              <a:gd name="connsiteX134" fmla="*/ 9617 w 9984"/>
              <a:gd name="connsiteY134" fmla="*/ 4857 h 10000"/>
              <a:gd name="connsiteX135" fmla="*/ 9234 w 9984"/>
              <a:gd name="connsiteY135" fmla="*/ 4791 h 10000"/>
              <a:gd name="connsiteX136" fmla="*/ 8884 w 9984"/>
              <a:gd name="connsiteY136" fmla="*/ 4286 h 10000"/>
              <a:gd name="connsiteX137" fmla="*/ 9285 w 9984"/>
              <a:gd name="connsiteY137" fmla="*/ 3941 h 10000"/>
              <a:gd name="connsiteX138" fmla="*/ 8987 w 9984"/>
              <a:gd name="connsiteY138" fmla="*/ 3595 h 10000"/>
              <a:gd name="connsiteX139" fmla="*/ 8535 w 9984"/>
              <a:gd name="connsiteY139" fmla="*/ 3893 h 10000"/>
              <a:gd name="connsiteX140" fmla="*/ 7375 w 9984"/>
              <a:gd name="connsiteY140" fmla="*/ 3595 h 10000"/>
              <a:gd name="connsiteX141" fmla="*/ 6761 w 9984"/>
              <a:gd name="connsiteY141" fmla="*/ 3230 h 10000"/>
              <a:gd name="connsiteX142" fmla="*/ 6600 w 9984"/>
              <a:gd name="connsiteY142" fmla="*/ 2465 h 10000"/>
              <a:gd name="connsiteX143" fmla="*/ 6276 w 9984"/>
              <a:gd name="connsiteY143" fmla="*/ 2306 h 10000"/>
              <a:gd name="connsiteX144" fmla="*/ 5841 w 9984"/>
              <a:gd name="connsiteY144" fmla="*/ 2233 h 10000"/>
              <a:gd name="connsiteX145" fmla="*/ 5483 w 9984"/>
              <a:gd name="connsiteY145" fmla="*/ 1821 h 10000"/>
              <a:gd name="connsiteX146" fmla="*/ 5065 w 9984"/>
              <a:gd name="connsiteY146" fmla="*/ 904 h 10000"/>
              <a:gd name="connsiteX147" fmla="*/ 4656 w 9984"/>
              <a:gd name="connsiteY147" fmla="*/ 525 h 10000"/>
              <a:gd name="connsiteX148" fmla="*/ 3889 w 9984"/>
              <a:gd name="connsiteY148" fmla="*/ 219 h 10000"/>
              <a:gd name="connsiteX149" fmla="*/ 3701 w 9984"/>
              <a:gd name="connsiteY149" fmla="*/ 0 h 10000"/>
              <a:gd name="connsiteX150" fmla="*/ 3232 w 9984"/>
              <a:gd name="connsiteY150" fmla="*/ 127 h 10000"/>
              <a:gd name="connsiteX151" fmla="*/ 2755 w 9984"/>
              <a:gd name="connsiteY151" fmla="*/ 147 h 10000"/>
              <a:gd name="connsiteX152" fmla="*/ 2132 w 9984"/>
              <a:gd name="connsiteY152" fmla="*/ 459 h 10000"/>
              <a:gd name="connsiteX153" fmla="*/ 1570 w 9984"/>
              <a:gd name="connsiteY153" fmla="*/ 472 h 10000"/>
              <a:gd name="connsiteX154" fmla="*/ 1305 w 9984"/>
              <a:gd name="connsiteY154" fmla="*/ 631 h 10000"/>
              <a:gd name="connsiteX155" fmla="*/ 760 w 9984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78 w 10000"/>
              <a:gd name="connsiteY93" fmla="*/ 7628 h 10000"/>
              <a:gd name="connsiteX94" fmla="*/ 52 w 10000"/>
              <a:gd name="connsiteY94" fmla="*/ 7920 h 10000"/>
              <a:gd name="connsiteX95" fmla="*/ 1 w 10000"/>
              <a:gd name="connsiteY95" fmla="*/ 7947 h 10000"/>
              <a:gd name="connsiteX96" fmla="*/ 18 w 10000"/>
              <a:gd name="connsiteY96" fmla="*/ 8047 h 10000"/>
              <a:gd name="connsiteX97" fmla="*/ 231 w 10000"/>
              <a:gd name="connsiteY97" fmla="*/ 8299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800 w 10000"/>
              <a:gd name="connsiteY102" fmla="*/ 7618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78 w 10000"/>
              <a:gd name="connsiteY93" fmla="*/ 7628 h 10000"/>
              <a:gd name="connsiteX94" fmla="*/ 52 w 10000"/>
              <a:gd name="connsiteY94" fmla="*/ 7920 h 10000"/>
              <a:gd name="connsiteX95" fmla="*/ 1 w 10000"/>
              <a:gd name="connsiteY95" fmla="*/ 7947 h 10000"/>
              <a:gd name="connsiteX96" fmla="*/ 18 w 10000"/>
              <a:gd name="connsiteY96" fmla="*/ 8047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800 w 10000"/>
              <a:gd name="connsiteY102" fmla="*/ 7618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78 w 10000"/>
              <a:gd name="connsiteY93" fmla="*/ 7628 h 10000"/>
              <a:gd name="connsiteX94" fmla="*/ 52 w 10000"/>
              <a:gd name="connsiteY94" fmla="*/ 7920 h 10000"/>
              <a:gd name="connsiteX95" fmla="*/ 1 w 10000"/>
              <a:gd name="connsiteY95" fmla="*/ 7947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800 w 10000"/>
              <a:gd name="connsiteY102" fmla="*/ 7618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78 w 10000"/>
              <a:gd name="connsiteY93" fmla="*/ 7628 h 10000"/>
              <a:gd name="connsiteX94" fmla="*/ 52 w 10000"/>
              <a:gd name="connsiteY94" fmla="*/ 7920 h 10000"/>
              <a:gd name="connsiteX95" fmla="*/ 1237 w 10000"/>
              <a:gd name="connsiteY95" fmla="*/ 6902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800 w 10000"/>
              <a:gd name="connsiteY102" fmla="*/ 7618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78 w 10000"/>
              <a:gd name="connsiteY93" fmla="*/ 7628 h 10000"/>
              <a:gd name="connsiteX94" fmla="*/ 1233 w 10000"/>
              <a:gd name="connsiteY94" fmla="*/ 7324 h 10000"/>
              <a:gd name="connsiteX95" fmla="*/ 1237 w 10000"/>
              <a:gd name="connsiteY95" fmla="*/ 6902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800 w 10000"/>
              <a:gd name="connsiteY102" fmla="*/ 7618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1293 w 10000"/>
              <a:gd name="connsiteY93" fmla="*/ 6756 h 10000"/>
              <a:gd name="connsiteX94" fmla="*/ 1233 w 10000"/>
              <a:gd name="connsiteY94" fmla="*/ 7324 h 10000"/>
              <a:gd name="connsiteX95" fmla="*/ 1237 w 10000"/>
              <a:gd name="connsiteY95" fmla="*/ 6902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800 w 10000"/>
              <a:gd name="connsiteY102" fmla="*/ 7618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1293 w 10000"/>
              <a:gd name="connsiteY93" fmla="*/ 6756 h 10000"/>
              <a:gd name="connsiteX94" fmla="*/ 1319 w 10000"/>
              <a:gd name="connsiteY94" fmla="*/ 6947 h 10000"/>
              <a:gd name="connsiteX95" fmla="*/ 1237 w 10000"/>
              <a:gd name="connsiteY95" fmla="*/ 6902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800 w 10000"/>
              <a:gd name="connsiteY102" fmla="*/ 7618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97 w 10000"/>
              <a:gd name="connsiteY92" fmla="*/ 7528 h 10000"/>
              <a:gd name="connsiteX93" fmla="*/ 1293 w 10000"/>
              <a:gd name="connsiteY93" fmla="*/ 6756 h 10000"/>
              <a:gd name="connsiteX94" fmla="*/ 1319 w 10000"/>
              <a:gd name="connsiteY94" fmla="*/ 6947 h 10000"/>
              <a:gd name="connsiteX95" fmla="*/ 1237 w 10000"/>
              <a:gd name="connsiteY95" fmla="*/ 6902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756 w 10000"/>
              <a:gd name="connsiteY102" fmla="*/ 7300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377 w 10000"/>
              <a:gd name="connsiteY91" fmla="*/ 7528 h 10000"/>
              <a:gd name="connsiteX92" fmla="*/ 1338 w 10000"/>
              <a:gd name="connsiteY92" fmla="*/ 6929 h 10000"/>
              <a:gd name="connsiteX93" fmla="*/ 1293 w 10000"/>
              <a:gd name="connsiteY93" fmla="*/ 6756 h 10000"/>
              <a:gd name="connsiteX94" fmla="*/ 1319 w 10000"/>
              <a:gd name="connsiteY94" fmla="*/ 6947 h 10000"/>
              <a:gd name="connsiteX95" fmla="*/ 1237 w 10000"/>
              <a:gd name="connsiteY95" fmla="*/ 6902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756 w 10000"/>
              <a:gd name="connsiteY102" fmla="*/ 7300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761 w 10000"/>
              <a:gd name="connsiteY0" fmla="*/ 672 h 10000"/>
              <a:gd name="connsiteX1" fmla="*/ 1060 w 10000"/>
              <a:gd name="connsiteY1" fmla="*/ 898 h 10000"/>
              <a:gd name="connsiteX2" fmla="*/ 1077 w 10000"/>
              <a:gd name="connsiteY2" fmla="*/ 1003 h 10000"/>
              <a:gd name="connsiteX3" fmla="*/ 1018 w 10000"/>
              <a:gd name="connsiteY3" fmla="*/ 1070 h 10000"/>
              <a:gd name="connsiteX4" fmla="*/ 1111 w 10000"/>
              <a:gd name="connsiteY4" fmla="*/ 1143 h 10000"/>
              <a:gd name="connsiteX5" fmla="*/ 1120 w 10000"/>
              <a:gd name="connsiteY5" fmla="*/ 1243 h 10000"/>
              <a:gd name="connsiteX6" fmla="*/ 1009 w 10000"/>
              <a:gd name="connsiteY6" fmla="*/ 1363 h 10000"/>
              <a:gd name="connsiteX7" fmla="*/ 1026 w 10000"/>
              <a:gd name="connsiteY7" fmla="*/ 1442 h 10000"/>
              <a:gd name="connsiteX8" fmla="*/ 1154 w 10000"/>
              <a:gd name="connsiteY8" fmla="*/ 1495 h 10000"/>
              <a:gd name="connsiteX9" fmla="*/ 1239 w 10000"/>
              <a:gd name="connsiteY9" fmla="*/ 1428 h 10000"/>
              <a:gd name="connsiteX10" fmla="*/ 1316 w 10000"/>
              <a:gd name="connsiteY10" fmla="*/ 1428 h 10000"/>
              <a:gd name="connsiteX11" fmla="*/ 1435 w 10000"/>
              <a:gd name="connsiteY11" fmla="*/ 1501 h 10000"/>
              <a:gd name="connsiteX12" fmla="*/ 1435 w 10000"/>
              <a:gd name="connsiteY12" fmla="*/ 1548 h 10000"/>
              <a:gd name="connsiteX13" fmla="*/ 1359 w 10000"/>
              <a:gd name="connsiteY13" fmla="*/ 1595 h 10000"/>
              <a:gd name="connsiteX14" fmla="*/ 1282 w 10000"/>
              <a:gd name="connsiteY14" fmla="*/ 1595 h 10000"/>
              <a:gd name="connsiteX15" fmla="*/ 1248 w 10000"/>
              <a:gd name="connsiteY15" fmla="*/ 1675 h 10000"/>
              <a:gd name="connsiteX16" fmla="*/ 1299 w 10000"/>
              <a:gd name="connsiteY16" fmla="*/ 1734 h 10000"/>
              <a:gd name="connsiteX17" fmla="*/ 1239 w 10000"/>
              <a:gd name="connsiteY17" fmla="*/ 1881 h 10000"/>
              <a:gd name="connsiteX18" fmla="*/ 1299 w 10000"/>
              <a:gd name="connsiteY18" fmla="*/ 1933 h 10000"/>
              <a:gd name="connsiteX19" fmla="*/ 1452 w 10000"/>
              <a:gd name="connsiteY19" fmla="*/ 1933 h 10000"/>
              <a:gd name="connsiteX20" fmla="*/ 1632 w 10000"/>
              <a:gd name="connsiteY20" fmla="*/ 2080 h 10000"/>
              <a:gd name="connsiteX21" fmla="*/ 1811 w 10000"/>
              <a:gd name="connsiteY21" fmla="*/ 2067 h 10000"/>
              <a:gd name="connsiteX22" fmla="*/ 1956 w 10000"/>
              <a:gd name="connsiteY22" fmla="*/ 2125 h 10000"/>
              <a:gd name="connsiteX23" fmla="*/ 2127 w 10000"/>
              <a:gd name="connsiteY23" fmla="*/ 2119 h 10000"/>
              <a:gd name="connsiteX24" fmla="*/ 2213 w 10000"/>
              <a:gd name="connsiteY24" fmla="*/ 2153 h 10000"/>
              <a:gd name="connsiteX25" fmla="*/ 2230 w 10000"/>
              <a:gd name="connsiteY25" fmla="*/ 2219 h 10000"/>
              <a:gd name="connsiteX26" fmla="*/ 2084 w 10000"/>
              <a:gd name="connsiteY26" fmla="*/ 2278 h 10000"/>
              <a:gd name="connsiteX27" fmla="*/ 1786 w 10000"/>
              <a:gd name="connsiteY27" fmla="*/ 2227 h 10000"/>
              <a:gd name="connsiteX28" fmla="*/ 1701 w 10000"/>
              <a:gd name="connsiteY28" fmla="*/ 2239 h 10000"/>
              <a:gd name="connsiteX29" fmla="*/ 1649 w 10000"/>
              <a:gd name="connsiteY29" fmla="*/ 2386 h 10000"/>
              <a:gd name="connsiteX30" fmla="*/ 1555 w 10000"/>
              <a:gd name="connsiteY30" fmla="*/ 2479 h 10000"/>
              <a:gd name="connsiteX31" fmla="*/ 1607 w 10000"/>
              <a:gd name="connsiteY31" fmla="*/ 2771 h 10000"/>
              <a:gd name="connsiteX32" fmla="*/ 1692 w 10000"/>
              <a:gd name="connsiteY32" fmla="*/ 2817 h 10000"/>
              <a:gd name="connsiteX33" fmla="*/ 1641 w 10000"/>
              <a:gd name="connsiteY33" fmla="*/ 2963 h 10000"/>
              <a:gd name="connsiteX34" fmla="*/ 2118 w 10000"/>
              <a:gd name="connsiteY34" fmla="*/ 2998 h 10000"/>
              <a:gd name="connsiteX35" fmla="*/ 2213 w 10000"/>
              <a:gd name="connsiteY35" fmla="*/ 3091 h 10000"/>
              <a:gd name="connsiteX36" fmla="*/ 2144 w 10000"/>
              <a:gd name="connsiteY36" fmla="*/ 3196 h 10000"/>
              <a:gd name="connsiteX37" fmla="*/ 2144 w 10000"/>
              <a:gd name="connsiteY37" fmla="*/ 3329 h 10000"/>
              <a:gd name="connsiteX38" fmla="*/ 1752 w 10000"/>
              <a:gd name="connsiteY38" fmla="*/ 3887 h 10000"/>
              <a:gd name="connsiteX39" fmla="*/ 1658 w 10000"/>
              <a:gd name="connsiteY39" fmla="*/ 3927 h 10000"/>
              <a:gd name="connsiteX40" fmla="*/ 1658 w 10000"/>
              <a:gd name="connsiteY40" fmla="*/ 4020 h 10000"/>
              <a:gd name="connsiteX41" fmla="*/ 1718 w 10000"/>
              <a:gd name="connsiteY41" fmla="*/ 4087 h 10000"/>
              <a:gd name="connsiteX42" fmla="*/ 1581 w 10000"/>
              <a:gd name="connsiteY42" fmla="*/ 4247 h 10000"/>
              <a:gd name="connsiteX43" fmla="*/ 1658 w 10000"/>
              <a:gd name="connsiteY43" fmla="*/ 4451 h 10000"/>
              <a:gd name="connsiteX44" fmla="*/ 1794 w 10000"/>
              <a:gd name="connsiteY44" fmla="*/ 4479 h 10000"/>
              <a:gd name="connsiteX45" fmla="*/ 1897 w 10000"/>
              <a:gd name="connsiteY45" fmla="*/ 4538 h 10000"/>
              <a:gd name="connsiteX46" fmla="*/ 2050 w 10000"/>
              <a:gd name="connsiteY46" fmla="*/ 4511 h 10000"/>
              <a:gd name="connsiteX47" fmla="*/ 2118 w 10000"/>
              <a:gd name="connsiteY47" fmla="*/ 4604 h 10000"/>
              <a:gd name="connsiteX48" fmla="*/ 2152 w 10000"/>
              <a:gd name="connsiteY48" fmla="*/ 4712 h 10000"/>
              <a:gd name="connsiteX49" fmla="*/ 2315 w 10000"/>
              <a:gd name="connsiteY49" fmla="*/ 4844 h 10000"/>
              <a:gd name="connsiteX50" fmla="*/ 2426 w 10000"/>
              <a:gd name="connsiteY50" fmla="*/ 4831 h 10000"/>
              <a:gd name="connsiteX51" fmla="*/ 2469 w 10000"/>
              <a:gd name="connsiteY51" fmla="*/ 4865 h 10000"/>
              <a:gd name="connsiteX52" fmla="*/ 2460 w 10000"/>
              <a:gd name="connsiteY52" fmla="*/ 4944 h 10000"/>
              <a:gd name="connsiteX53" fmla="*/ 2622 w 10000"/>
              <a:gd name="connsiteY53" fmla="*/ 5024 h 10000"/>
              <a:gd name="connsiteX54" fmla="*/ 2725 w 10000"/>
              <a:gd name="connsiteY54" fmla="*/ 5043 h 10000"/>
              <a:gd name="connsiteX55" fmla="*/ 2742 w 10000"/>
              <a:gd name="connsiteY55" fmla="*/ 5150 h 10000"/>
              <a:gd name="connsiteX56" fmla="*/ 2571 w 10000"/>
              <a:gd name="connsiteY56" fmla="*/ 5282 h 10000"/>
              <a:gd name="connsiteX57" fmla="*/ 2256 w 10000"/>
              <a:gd name="connsiteY57" fmla="*/ 5289 h 10000"/>
              <a:gd name="connsiteX58" fmla="*/ 2050 w 10000"/>
              <a:gd name="connsiteY58" fmla="*/ 5190 h 10000"/>
              <a:gd name="connsiteX59" fmla="*/ 1939 w 10000"/>
              <a:gd name="connsiteY59" fmla="*/ 5190 h 10000"/>
              <a:gd name="connsiteX60" fmla="*/ 1897 w 10000"/>
              <a:gd name="connsiteY60" fmla="*/ 5229 h 10000"/>
              <a:gd name="connsiteX61" fmla="*/ 2443 w 10000"/>
              <a:gd name="connsiteY61" fmla="*/ 5801 h 10000"/>
              <a:gd name="connsiteX62" fmla="*/ 2520 w 10000"/>
              <a:gd name="connsiteY62" fmla="*/ 5834 h 10000"/>
              <a:gd name="connsiteX63" fmla="*/ 2494 w 10000"/>
              <a:gd name="connsiteY63" fmla="*/ 6073 h 10000"/>
              <a:gd name="connsiteX64" fmla="*/ 2452 w 10000"/>
              <a:gd name="connsiteY64" fmla="*/ 6166 h 10000"/>
              <a:gd name="connsiteX65" fmla="*/ 2324 w 10000"/>
              <a:gd name="connsiteY65" fmla="*/ 6206 h 10000"/>
              <a:gd name="connsiteX66" fmla="*/ 2230 w 10000"/>
              <a:gd name="connsiteY66" fmla="*/ 6140 h 10000"/>
              <a:gd name="connsiteX67" fmla="*/ 2135 w 10000"/>
              <a:gd name="connsiteY67" fmla="*/ 6133 h 10000"/>
              <a:gd name="connsiteX68" fmla="*/ 2025 w 10000"/>
              <a:gd name="connsiteY68" fmla="*/ 6260 h 10000"/>
              <a:gd name="connsiteX69" fmla="*/ 1845 w 10000"/>
              <a:gd name="connsiteY69" fmla="*/ 6326 h 10000"/>
              <a:gd name="connsiteX70" fmla="*/ 1675 w 10000"/>
              <a:gd name="connsiteY70" fmla="*/ 6326 h 10000"/>
              <a:gd name="connsiteX71" fmla="*/ 1590 w 10000"/>
              <a:gd name="connsiteY71" fmla="*/ 6378 h 10000"/>
              <a:gd name="connsiteX72" fmla="*/ 1486 w 10000"/>
              <a:gd name="connsiteY72" fmla="*/ 6372 h 10000"/>
              <a:gd name="connsiteX73" fmla="*/ 1444 w 10000"/>
              <a:gd name="connsiteY73" fmla="*/ 6286 h 10000"/>
              <a:gd name="connsiteX74" fmla="*/ 1299 w 10000"/>
              <a:gd name="connsiteY74" fmla="*/ 6293 h 10000"/>
              <a:gd name="connsiteX75" fmla="*/ 1180 w 10000"/>
              <a:gd name="connsiteY75" fmla="*/ 6398 h 10000"/>
              <a:gd name="connsiteX76" fmla="*/ 1231 w 10000"/>
              <a:gd name="connsiteY76" fmla="*/ 6492 h 10000"/>
              <a:gd name="connsiteX77" fmla="*/ 1367 w 10000"/>
              <a:gd name="connsiteY77" fmla="*/ 6539 h 10000"/>
              <a:gd name="connsiteX78" fmla="*/ 1410 w 10000"/>
              <a:gd name="connsiteY78" fmla="*/ 6704 h 10000"/>
              <a:gd name="connsiteX79" fmla="*/ 1486 w 10000"/>
              <a:gd name="connsiteY79" fmla="*/ 6797 h 10000"/>
              <a:gd name="connsiteX80" fmla="*/ 1486 w 10000"/>
              <a:gd name="connsiteY80" fmla="*/ 6977 h 10000"/>
              <a:gd name="connsiteX81" fmla="*/ 1435 w 10000"/>
              <a:gd name="connsiteY81" fmla="*/ 7044 h 10000"/>
              <a:gd name="connsiteX82" fmla="*/ 1324 w 10000"/>
              <a:gd name="connsiteY82" fmla="*/ 7029 h 10000"/>
              <a:gd name="connsiteX83" fmla="*/ 1256 w 10000"/>
              <a:gd name="connsiteY83" fmla="*/ 6977 h 10000"/>
              <a:gd name="connsiteX84" fmla="*/ 1205 w 10000"/>
              <a:gd name="connsiteY84" fmla="*/ 6804 h 10000"/>
              <a:gd name="connsiteX85" fmla="*/ 1137 w 10000"/>
              <a:gd name="connsiteY85" fmla="*/ 6751 h 10000"/>
              <a:gd name="connsiteX86" fmla="*/ 949 w 10000"/>
              <a:gd name="connsiteY86" fmla="*/ 6751 h 10000"/>
              <a:gd name="connsiteX87" fmla="*/ 599 w 10000"/>
              <a:gd name="connsiteY87" fmla="*/ 6990 h 10000"/>
              <a:gd name="connsiteX88" fmla="*/ 539 w 10000"/>
              <a:gd name="connsiteY88" fmla="*/ 7156 h 10000"/>
              <a:gd name="connsiteX89" fmla="*/ 471 w 10000"/>
              <a:gd name="connsiteY89" fmla="*/ 7223 h 10000"/>
              <a:gd name="connsiteX90" fmla="*/ 471 w 10000"/>
              <a:gd name="connsiteY90" fmla="*/ 7468 h 10000"/>
              <a:gd name="connsiteX91" fmla="*/ 929 w 10000"/>
              <a:gd name="connsiteY91" fmla="*/ 6703 h 10000"/>
              <a:gd name="connsiteX92" fmla="*/ 1338 w 10000"/>
              <a:gd name="connsiteY92" fmla="*/ 6929 h 10000"/>
              <a:gd name="connsiteX93" fmla="*/ 1293 w 10000"/>
              <a:gd name="connsiteY93" fmla="*/ 6756 h 10000"/>
              <a:gd name="connsiteX94" fmla="*/ 1319 w 10000"/>
              <a:gd name="connsiteY94" fmla="*/ 6947 h 10000"/>
              <a:gd name="connsiteX95" fmla="*/ 1237 w 10000"/>
              <a:gd name="connsiteY95" fmla="*/ 6902 h 10000"/>
              <a:gd name="connsiteX96" fmla="*/ 1384 w 10000"/>
              <a:gd name="connsiteY96" fmla="*/ 6943 h 10000"/>
              <a:gd name="connsiteX97" fmla="*/ 1378 w 10000"/>
              <a:gd name="connsiteY97" fmla="*/ 6967 h 10000"/>
              <a:gd name="connsiteX98" fmla="*/ 1391 w 10000"/>
              <a:gd name="connsiteY98" fmla="*/ 6941 h 10000"/>
              <a:gd name="connsiteX99" fmla="*/ 1 w 10000"/>
              <a:gd name="connsiteY99" fmla="*/ 8691 h 10000"/>
              <a:gd name="connsiteX100" fmla="*/ 1413 w 10000"/>
              <a:gd name="connsiteY100" fmla="*/ 6966 h 10000"/>
              <a:gd name="connsiteX101" fmla="*/ 1827 w 10000"/>
              <a:gd name="connsiteY101" fmla="*/ 7070 h 10000"/>
              <a:gd name="connsiteX102" fmla="*/ 1756 w 10000"/>
              <a:gd name="connsiteY102" fmla="*/ 7300 h 10000"/>
              <a:gd name="connsiteX103" fmla="*/ 2043 w 10000"/>
              <a:gd name="connsiteY103" fmla="*/ 7135 h 10000"/>
              <a:gd name="connsiteX104" fmla="*/ 1975 w 10000"/>
              <a:gd name="connsiteY104" fmla="*/ 6997 h 10000"/>
              <a:gd name="connsiteX105" fmla="*/ 2420 w 10000"/>
              <a:gd name="connsiteY105" fmla="*/ 7174 h 10000"/>
              <a:gd name="connsiteX106" fmla="*/ 2686 w 10000"/>
              <a:gd name="connsiteY106" fmla="*/ 7290 h 10000"/>
              <a:gd name="connsiteX107" fmla="*/ 2935 w 10000"/>
              <a:gd name="connsiteY107" fmla="*/ 7583 h 10000"/>
              <a:gd name="connsiteX108" fmla="*/ 3107 w 10000"/>
              <a:gd name="connsiteY108" fmla="*/ 8108 h 10000"/>
              <a:gd name="connsiteX109" fmla="*/ 3756 w 10000"/>
              <a:gd name="connsiteY109" fmla="*/ 8563 h 10000"/>
              <a:gd name="connsiteX110" fmla="*/ 3801 w 10000"/>
              <a:gd name="connsiteY110" fmla="*/ 8917 h 10000"/>
              <a:gd name="connsiteX111" fmla="*/ 4048 w 10000"/>
              <a:gd name="connsiteY111" fmla="*/ 9290 h 10000"/>
              <a:gd name="connsiteX112" fmla="*/ 4475 w 10000"/>
              <a:gd name="connsiteY112" fmla="*/ 9429 h 10000"/>
              <a:gd name="connsiteX113" fmla="*/ 4971 w 10000"/>
              <a:gd name="connsiteY113" fmla="*/ 9934 h 10000"/>
              <a:gd name="connsiteX114" fmla="*/ 5064 w 10000"/>
              <a:gd name="connsiteY114" fmla="*/ 9994 h 10000"/>
              <a:gd name="connsiteX115" fmla="*/ 5226 w 10000"/>
              <a:gd name="connsiteY115" fmla="*/ 10000 h 10000"/>
              <a:gd name="connsiteX116" fmla="*/ 5381 w 10000"/>
              <a:gd name="connsiteY116" fmla="*/ 9908 h 10000"/>
              <a:gd name="connsiteX117" fmla="*/ 5415 w 10000"/>
              <a:gd name="connsiteY117" fmla="*/ 9615 h 10000"/>
              <a:gd name="connsiteX118" fmla="*/ 6115 w 10000"/>
              <a:gd name="connsiteY118" fmla="*/ 9442 h 10000"/>
              <a:gd name="connsiteX119" fmla="*/ 6260 w 10000"/>
              <a:gd name="connsiteY119" fmla="*/ 9463 h 10000"/>
              <a:gd name="connsiteX120" fmla="*/ 6516 w 10000"/>
              <a:gd name="connsiteY120" fmla="*/ 9688 h 10000"/>
              <a:gd name="connsiteX121" fmla="*/ 6628 w 10000"/>
              <a:gd name="connsiteY121" fmla="*/ 9676 h 10000"/>
              <a:gd name="connsiteX122" fmla="*/ 6636 w 10000"/>
              <a:gd name="connsiteY122" fmla="*/ 9542 h 10000"/>
              <a:gd name="connsiteX123" fmla="*/ 6952 w 10000"/>
              <a:gd name="connsiteY123" fmla="*/ 9382 h 10000"/>
              <a:gd name="connsiteX124" fmla="*/ 7626 w 10000"/>
              <a:gd name="connsiteY124" fmla="*/ 9475 h 10000"/>
              <a:gd name="connsiteX125" fmla="*/ 7771 w 10000"/>
              <a:gd name="connsiteY125" fmla="*/ 9336 h 10000"/>
              <a:gd name="connsiteX126" fmla="*/ 8394 w 10000"/>
              <a:gd name="connsiteY126" fmla="*/ 9415 h 10000"/>
              <a:gd name="connsiteX127" fmla="*/ 8839 w 10000"/>
              <a:gd name="connsiteY127" fmla="*/ 9355 h 10000"/>
              <a:gd name="connsiteX128" fmla="*/ 9095 w 10000"/>
              <a:gd name="connsiteY128" fmla="*/ 9442 h 10000"/>
              <a:gd name="connsiteX129" fmla="*/ 9070 w 10000"/>
              <a:gd name="connsiteY129" fmla="*/ 8665 h 10000"/>
              <a:gd name="connsiteX130" fmla="*/ 9547 w 10000"/>
              <a:gd name="connsiteY130" fmla="*/ 7828 h 10000"/>
              <a:gd name="connsiteX131" fmla="*/ 10000 w 10000"/>
              <a:gd name="connsiteY131" fmla="*/ 7449 h 10000"/>
              <a:gd name="connsiteX132" fmla="*/ 8984 w 10000"/>
              <a:gd name="connsiteY132" fmla="*/ 6465 h 10000"/>
              <a:gd name="connsiteX133" fmla="*/ 8966 w 10000"/>
              <a:gd name="connsiteY133" fmla="*/ 5117 h 10000"/>
              <a:gd name="connsiteX134" fmla="*/ 9632 w 10000"/>
              <a:gd name="connsiteY134" fmla="*/ 4857 h 10000"/>
              <a:gd name="connsiteX135" fmla="*/ 9249 w 10000"/>
              <a:gd name="connsiteY135" fmla="*/ 4791 h 10000"/>
              <a:gd name="connsiteX136" fmla="*/ 8898 w 10000"/>
              <a:gd name="connsiteY136" fmla="*/ 4286 h 10000"/>
              <a:gd name="connsiteX137" fmla="*/ 9300 w 10000"/>
              <a:gd name="connsiteY137" fmla="*/ 3941 h 10000"/>
              <a:gd name="connsiteX138" fmla="*/ 9001 w 10000"/>
              <a:gd name="connsiteY138" fmla="*/ 3595 h 10000"/>
              <a:gd name="connsiteX139" fmla="*/ 8549 w 10000"/>
              <a:gd name="connsiteY139" fmla="*/ 3893 h 10000"/>
              <a:gd name="connsiteX140" fmla="*/ 7387 w 10000"/>
              <a:gd name="connsiteY140" fmla="*/ 3595 h 10000"/>
              <a:gd name="connsiteX141" fmla="*/ 6772 w 10000"/>
              <a:gd name="connsiteY141" fmla="*/ 3230 h 10000"/>
              <a:gd name="connsiteX142" fmla="*/ 6611 w 10000"/>
              <a:gd name="connsiteY142" fmla="*/ 2465 h 10000"/>
              <a:gd name="connsiteX143" fmla="*/ 6286 w 10000"/>
              <a:gd name="connsiteY143" fmla="*/ 2306 h 10000"/>
              <a:gd name="connsiteX144" fmla="*/ 5850 w 10000"/>
              <a:gd name="connsiteY144" fmla="*/ 2233 h 10000"/>
              <a:gd name="connsiteX145" fmla="*/ 5492 w 10000"/>
              <a:gd name="connsiteY145" fmla="*/ 1821 h 10000"/>
              <a:gd name="connsiteX146" fmla="*/ 5073 w 10000"/>
              <a:gd name="connsiteY146" fmla="*/ 904 h 10000"/>
              <a:gd name="connsiteX147" fmla="*/ 4663 w 10000"/>
              <a:gd name="connsiteY147" fmla="*/ 525 h 10000"/>
              <a:gd name="connsiteX148" fmla="*/ 3895 w 10000"/>
              <a:gd name="connsiteY148" fmla="*/ 219 h 10000"/>
              <a:gd name="connsiteX149" fmla="*/ 3707 w 10000"/>
              <a:gd name="connsiteY149" fmla="*/ 0 h 10000"/>
              <a:gd name="connsiteX150" fmla="*/ 3237 w 10000"/>
              <a:gd name="connsiteY150" fmla="*/ 127 h 10000"/>
              <a:gd name="connsiteX151" fmla="*/ 2759 w 10000"/>
              <a:gd name="connsiteY151" fmla="*/ 147 h 10000"/>
              <a:gd name="connsiteX152" fmla="*/ 2135 w 10000"/>
              <a:gd name="connsiteY152" fmla="*/ 459 h 10000"/>
              <a:gd name="connsiteX153" fmla="*/ 1573 w 10000"/>
              <a:gd name="connsiteY153" fmla="*/ 472 h 10000"/>
              <a:gd name="connsiteX154" fmla="*/ 1307 w 10000"/>
              <a:gd name="connsiteY154" fmla="*/ 631 h 10000"/>
              <a:gd name="connsiteX155" fmla="*/ 761 w 10000"/>
              <a:gd name="connsiteY155" fmla="*/ 672 h 10000"/>
              <a:gd name="connsiteX0" fmla="*/ 290 w 9529"/>
              <a:gd name="connsiteY0" fmla="*/ 672 h 10000"/>
              <a:gd name="connsiteX1" fmla="*/ 589 w 9529"/>
              <a:gd name="connsiteY1" fmla="*/ 898 h 10000"/>
              <a:gd name="connsiteX2" fmla="*/ 606 w 9529"/>
              <a:gd name="connsiteY2" fmla="*/ 1003 h 10000"/>
              <a:gd name="connsiteX3" fmla="*/ 547 w 9529"/>
              <a:gd name="connsiteY3" fmla="*/ 1070 h 10000"/>
              <a:gd name="connsiteX4" fmla="*/ 640 w 9529"/>
              <a:gd name="connsiteY4" fmla="*/ 1143 h 10000"/>
              <a:gd name="connsiteX5" fmla="*/ 649 w 9529"/>
              <a:gd name="connsiteY5" fmla="*/ 1243 h 10000"/>
              <a:gd name="connsiteX6" fmla="*/ 538 w 9529"/>
              <a:gd name="connsiteY6" fmla="*/ 1363 h 10000"/>
              <a:gd name="connsiteX7" fmla="*/ 555 w 9529"/>
              <a:gd name="connsiteY7" fmla="*/ 1442 h 10000"/>
              <a:gd name="connsiteX8" fmla="*/ 683 w 9529"/>
              <a:gd name="connsiteY8" fmla="*/ 1495 h 10000"/>
              <a:gd name="connsiteX9" fmla="*/ 768 w 9529"/>
              <a:gd name="connsiteY9" fmla="*/ 1428 h 10000"/>
              <a:gd name="connsiteX10" fmla="*/ 845 w 9529"/>
              <a:gd name="connsiteY10" fmla="*/ 1428 h 10000"/>
              <a:gd name="connsiteX11" fmla="*/ 964 w 9529"/>
              <a:gd name="connsiteY11" fmla="*/ 1501 h 10000"/>
              <a:gd name="connsiteX12" fmla="*/ 964 w 9529"/>
              <a:gd name="connsiteY12" fmla="*/ 1548 h 10000"/>
              <a:gd name="connsiteX13" fmla="*/ 888 w 9529"/>
              <a:gd name="connsiteY13" fmla="*/ 1595 h 10000"/>
              <a:gd name="connsiteX14" fmla="*/ 811 w 9529"/>
              <a:gd name="connsiteY14" fmla="*/ 1595 h 10000"/>
              <a:gd name="connsiteX15" fmla="*/ 777 w 9529"/>
              <a:gd name="connsiteY15" fmla="*/ 1675 h 10000"/>
              <a:gd name="connsiteX16" fmla="*/ 828 w 9529"/>
              <a:gd name="connsiteY16" fmla="*/ 1734 h 10000"/>
              <a:gd name="connsiteX17" fmla="*/ 768 w 9529"/>
              <a:gd name="connsiteY17" fmla="*/ 1881 h 10000"/>
              <a:gd name="connsiteX18" fmla="*/ 828 w 9529"/>
              <a:gd name="connsiteY18" fmla="*/ 1933 h 10000"/>
              <a:gd name="connsiteX19" fmla="*/ 981 w 9529"/>
              <a:gd name="connsiteY19" fmla="*/ 1933 h 10000"/>
              <a:gd name="connsiteX20" fmla="*/ 1161 w 9529"/>
              <a:gd name="connsiteY20" fmla="*/ 2080 h 10000"/>
              <a:gd name="connsiteX21" fmla="*/ 1340 w 9529"/>
              <a:gd name="connsiteY21" fmla="*/ 2067 h 10000"/>
              <a:gd name="connsiteX22" fmla="*/ 1485 w 9529"/>
              <a:gd name="connsiteY22" fmla="*/ 2125 h 10000"/>
              <a:gd name="connsiteX23" fmla="*/ 1656 w 9529"/>
              <a:gd name="connsiteY23" fmla="*/ 2119 h 10000"/>
              <a:gd name="connsiteX24" fmla="*/ 1742 w 9529"/>
              <a:gd name="connsiteY24" fmla="*/ 2153 h 10000"/>
              <a:gd name="connsiteX25" fmla="*/ 1759 w 9529"/>
              <a:gd name="connsiteY25" fmla="*/ 2219 h 10000"/>
              <a:gd name="connsiteX26" fmla="*/ 1613 w 9529"/>
              <a:gd name="connsiteY26" fmla="*/ 2278 h 10000"/>
              <a:gd name="connsiteX27" fmla="*/ 1315 w 9529"/>
              <a:gd name="connsiteY27" fmla="*/ 2227 h 10000"/>
              <a:gd name="connsiteX28" fmla="*/ 1230 w 9529"/>
              <a:gd name="connsiteY28" fmla="*/ 2239 h 10000"/>
              <a:gd name="connsiteX29" fmla="*/ 1178 w 9529"/>
              <a:gd name="connsiteY29" fmla="*/ 2386 h 10000"/>
              <a:gd name="connsiteX30" fmla="*/ 1084 w 9529"/>
              <a:gd name="connsiteY30" fmla="*/ 2479 h 10000"/>
              <a:gd name="connsiteX31" fmla="*/ 1136 w 9529"/>
              <a:gd name="connsiteY31" fmla="*/ 2771 h 10000"/>
              <a:gd name="connsiteX32" fmla="*/ 1221 w 9529"/>
              <a:gd name="connsiteY32" fmla="*/ 2817 h 10000"/>
              <a:gd name="connsiteX33" fmla="*/ 1170 w 9529"/>
              <a:gd name="connsiteY33" fmla="*/ 2963 h 10000"/>
              <a:gd name="connsiteX34" fmla="*/ 1647 w 9529"/>
              <a:gd name="connsiteY34" fmla="*/ 2998 h 10000"/>
              <a:gd name="connsiteX35" fmla="*/ 1742 w 9529"/>
              <a:gd name="connsiteY35" fmla="*/ 3091 h 10000"/>
              <a:gd name="connsiteX36" fmla="*/ 1673 w 9529"/>
              <a:gd name="connsiteY36" fmla="*/ 3196 h 10000"/>
              <a:gd name="connsiteX37" fmla="*/ 1673 w 9529"/>
              <a:gd name="connsiteY37" fmla="*/ 3329 h 10000"/>
              <a:gd name="connsiteX38" fmla="*/ 1281 w 9529"/>
              <a:gd name="connsiteY38" fmla="*/ 3887 h 10000"/>
              <a:gd name="connsiteX39" fmla="*/ 1187 w 9529"/>
              <a:gd name="connsiteY39" fmla="*/ 3927 h 10000"/>
              <a:gd name="connsiteX40" fmla="*/ 1187 w 9529"/>
              <a:gd name="connsiteY40" fmla="*/ 4020 h 10000"/>
              <a:gd name="connsiteX41" fmla="*/ 1247 w 9529"/>
              <a:gd name="connsiteY41" fmla="*/ 4087 h 10000"/>
              <a:gd name="connsiteX42" fmla="*/ 1110 w 9529"/>
              <a:gd name="connsiteY42" fmla="*/ 4247 h 10000"/>
              <a:gd name="connsiteX43" fmla="*/ 1187 w 9529"/>
              <a:gd name="connsiteY43" fmla="*/ 4451 h 10000"/>
              <a:gd name="connsiteX44" fmla="*/ 1323 w 9529"/>
              <a:gd name="connsiteY44" fmla="*/ 4479 h 10000"/>
              <a:gd name="connsiteX45" fmla="*/ 1426 w 9529"/>
              <a:gd name="connsiteY45" fmla="*/ 4538 h 10000"/>
              <a:gd name="connsiteX46" fmla="*/ 1579 w 9529"/>
              <a:gd name="connsiteY46" fmla="*/ 4511 h 10000"/>
              <a:gd name="connsiteX47" fmla="*/ 1647 w 9529"/>
              <a:gd name="connsiteY47" fmla="*/ 4604 h 10000"/>
              <a:gd name="connsiteX48" fmla="*/ 1681 w 9529"/>
              <a:gd name="connsiteY48" fmla="*/ 4712 h 10000"/>
              <a:gd name="connsiteX49" fmla="*/ 1844 w 9529"/>
              <a:gd name="connsiteY49" fmla="*/ 4844 h 10000"/>
              <a:gd name="connsiteX50" fmla="*/ 1955 w 9529"/>
              <a:gd name="connsiteY50" fmla="*/ 4831 h 10000"/>
              <a:gd name="connsiteX51" fmla="*/ 1998 w 9529"/>
              <a:gd name="connsiteY51" fmla="*/ 4865 h 10000"/>
              <a:gd name="connsiteX52" fmla="*/ 1989 w 9529"/>
              <a:gd name="connsiteY52" fmla="*/ 4944 h 10000"/>
              <a:gd name="connsiteX53" fmla="*/ 2151 w 9529"/>
              <a:gd name="connsiteY53" fmla="*/ 5024 h 10000"/>
              <a:gd name="connsiteX54" fmla="*/ 2254 w 9529"/>
              <a:gd name="connsiteY54" fmla="*/ 5043 h 10000"/>
              <a:gd name="connsiteX55" fmla="*/ 2271 w 9529"/>
              <a:gd name="connsiteY55" fmla="*/ 5150 h 10000"/>
              <a:gd name="connsiteX56" fmla="*/ 2100 w 9529"/>
              <a:gd name="connsiteY56" fmla="*/ 5282 h 10000"/>
              <a:gd name="connsiteX57" fmla="*/ 1785 w 9529"/>
              <a:gd name="connsiteY57" fmla="*/ 5289 h 10000"/>
              <a:gd name="connsiteX58" fmla="*/ 1579 w 9529"/>
              <a:gd name="connsiteY58" fmla="*/ 5190 h 10000"/>
              <a:gd name="connsiteX59" fmla="*/ 1468 w 9529"/>
              <a:gd name="connsiteY59" fmla="*/ 5190 h 10000"/>
              <a:gd name="connsiteX60" fmla="*/ 1426 w 9529"/>
              <a:gd name="connsiteY60" fmla="*/ 5229 h 10000"/>
              <a:gd name="connsiteX61" fmla="*/ 1972 w 9529"/>
              <a:gd name="connsiteY61" fmla="*/ 5801 h 10000"/>
              <a:gd name="connsiteX62" fmla="*/ 2049 w 9529"/>
              <a:gd name="connsiteY62" fmla="*/ 5834 h 10000"/>
              <a:gd name="connsiteX63" fmla="*/ 2023 w 9529"/>
              <a:gd name="connsiteY63" fmla="*/ 6073 h 10000"/>
              <a:gd name="connsiteX64" fmla="*/ 1981 w 9529"/>
              <a:gd name="connsiteY64" fmla="*/ 6166 h 10000"/>
              <a:gd name="connsiteX65" fmla="*/ 1853 w 9529"/>
              <a:gd name="connsiteY65" fmla="*/ 6206 h 10000"/>
              <a:gd name="connsiteX66" fmla="*/ 1759 w 9529"/>
              <a:gd name="connsiteY66" fmla="*/ 6140 h 10000"/>
              <a:gd name="connsiteX67" fmla="*/ 1664 w 9529"/>
              <a:gd name="connsiteY67" fmla="*/ 6133 h 10000"/>
              <a:gd name="connsiteX68" fmla="*/ 1554 w 9529"/>
              <a:gd name="connsiteY68" fmla="*/ 6260 h 10000"/>
              <a:gd name="connsiteX69" fmla="*/ 1374 w 9529"/>
              <a:gd name="connsiteY69" fmla="*/ 6326 h 10000"/>
              <a:gd name="connsiteX70" fmla="*/ 1204 w 9529"/>
              <a:gd name="connsiteY70" fmla="*/ 6326 h 10000"/>
              <a:gd name="connsiteX71" fmla="*/ 1119 w 9529"/>
              <a:gd name="connsiteY71" fmla="*/ 6378 h 10000"/>
              <a:gd name="connsiteX72" fmla="*/ 1015 w 9529"/>
              <a:gd name="connsiteY72" fmla="*/ 6372 h 10000"/>
              <a:gd name="connsiteX73" fmla="*/ 973 w 9529"/>
              <a:gd name="connsiteY73" fmla="*/ 6286 h 10000"/>
              <a:gd name="connsiteX74" fmla="*/ 828 w 9529"/>
              <a:gd name="connsiteY74" fmla="*/ 6293 h 10000"/>
              <a:gd name="connsiteX75" fmla="*/ 709 w 9529"/>
              <a:gd name="connsiteY75" fmla="*/ 6398 h 10000"/>
              <a:gd name="connsiteX76" fmla="*/ 760 w 9529"/>
              <a:gd name="connsiteY76" fmla="*/ 6492 h 10000"/>
              <a:gd name="connsiteX77" fmla="*/ 896 w 9529"/>
              <a:gd name="connsiteY77" fmla="*/ 6539 h 10000"/>
              <a:gd name="connsiteX78" fmla="*/ 939 w 9529"/>
              <a:gd name="connsiteY78" fmla="*/ 6704 h 10000"/>
              <a:gd name="connsiteX79" fmla="*/ 1015 w 9529"/>
              <a:gd name="connsiteY79" fmla="*/ 6797 h 10000"/>
              <a:gd name="connsiteX80" fmla="*/ 1015 w 9529"/>
              <a:gd name="connsiteY80" fmla="*/ 6977 h 10000"/>
              <a:gd name="connsiteX81" fmla="*/ 964 w 9529"/>
              <a:gd name="connsiteY81" fmla="*/ 7044 h 10000"/>
              <a:gd name="connsiteX82" fmla="*/ 853 w 9529"/>
              <a:gd name="connsiteY82" fmla="*/ 7029 h 10000"/>
              <a:gd name="connsiteX83" fmla="*/ 785 w 9529"/>
              <a:gd name="connsiteY83" fmla="*/ 6977 h 10000"/>
              <a:gd name="connsiteX84" fmla="*/ 734 w 9529"/>
              <a:gd name="connsiteY84" fmla="*/ 6804 h 10000"/>
              <a:gd name="connsiteX85" fmla="*/ 666 w 9529"/>
              <a:gd name="connsiteY85" fmla="*/ 6751 h 10000"/>
              <a:gd name="connsiteX86" fmla="*/ 478 w 9529"/>
              <a:gd name="connsiteY86" fmla="*/ 6751 h 10000"/>
              <a:gd name="connsiteX87" fmla="*/ 128 w 9529"/>
              <a:gd name="connsiteY87" fmla="*/ 6990 h 10000"/>
              <a:gd name="connsiteX88" fmla="*/ 68 w 9529"/>
              <a:gd name="connsiteY88" fmla="*/ 7156 h 10000"/>
              <a:gd name="connsiteX89" fmla="*/ 0 w 9529"/>
              <a:gd name="connsiteY89" fmla="*/ 7223 h 10000"/>
              <a:gd name="connsiteX90" fmla="*/ 0 w 9529"/>
              <a:gd name="connsiteY90" fmla="*/ 7468 h 10000"/>
              <a:gd name="connsiteX91" fmla="*/ 458 w 9529"/>
              <a:gd name="connsiteY91" fmla="*/ 6703 h 10000"/>
              <a:gd name="connsiteX92" fmla="*/ 867 w 9529"/>
              <a:gd name="connsiteY92" fmla="*/ 6929 h 10000"/>
              <a:gd name="connsiteX93" fmla="*/ 822 w 9529"/>
              <a:gd name="connsiteY93" fmla="*/ 6756 h 10000"/>
              <a:gd name="connsiteX94" fmla="*/ 848 w 9529"/>
              <a:gd name="connsiteY94" fmla="*/ 6947 h 10000"/>
              <a:gd name="connsiteX95" fmla="*/ 766 w 9529"/>
              <a:gd name="connsiteY95" fmla="*/ 6902 h 10000"/>
              <a:gd name="connsiteX96" fmla="*/ 913 w 9529"/>
              <a:gd name="connsiteY96" fmla="*/ 6943 h 10000"/>
              <a:gd name="connsiteX97" fmla="*/ 907 w 9529"/>
              <a:gd name="connsiteY97" fmla="*/ 6967 h 10000"/>
              <a:gd name="connsiteX98" fmla="*/ 920 w 9529"/>
              <a:gd name="connsiteY98" fmla="*/ 6941 h 10000"/>
              <a:gd name="connsiteX99" fmla="*/ 748 w 9529"/>
              <a:gd name="connsiteY99" fmla="*/ 6771 h 10000"/>
              <a:gd name="connsiteX100" fmla="*/ 942 w 9529"/>
              <a:gd name="connsiteY100" fmla="*/ 6966 h 10000"/>
              <a:gd name="connsiteX101" fmla="*/ 1356 w 9529"/>
              <a:gd name="connsiteY101" fmla="*/ 7070 h 10000"/>
              <a:gd name="connsiteX102" fmla="*/ 1285 w 9529"/>
              <a:gd name="connsiteY102" fmla="*/ 7300 h 10000"/>
              <a:gd name="connsiteX103" fmla="*/ 1572 w 9529"/>
              <a:gd name="connsiteY103" fmla="*/ 7135 h 10000"/>
              <a:gd name="connsiteX104" fmla="*/ 1504 w 9529"/>
              <a:gd name="connsiteY104" fmla="*/ 6997 h 10000"/>
              <a:gd name="connsiteX105" fmla="*/ 1949 w 9529"/>
              <a:gd name="connsiteY105" fmla="*/ 7174 h 10000"/>
              <a:gd name="connsiteX106" fmla="*/ 2215 w 9529"/>
              <a:gd name="connsiteY106" fmla="*/ 7290 h 10000"/>
              <a:gd name="connsiteX107" fmla="*/ 2464 w 9529"/>
              <a:gd name="connsiteY107" fmla="*/ 7583 h 10000"/>
              <a:gd name="connsiteX108" fmla="*/ 2636 w 9529"/>
              <a:gd name="connsiteY108" fmla="*/ 8108 h 10000"/>
              <a:gd name="connsiteX109" fmla="*/ 3285 w 9529"/>
              <a:gd name="connsiteY109" fmla="*/ 8563 h 10000"/>
              <a:gd name="connsiteX110" fmla="*/ 3330 w 9529"/>
              <a:gd name="connsiteY110" fmla="*/ 8917 h 10000"/>
              <a:gd name="connsiteX111" fmla="*/ 3577 w 9529"/>
              <a:gd name="connsiteY111" fmla="*/ 9290 h 10000"/>
              <a:gd name="connsiteX112" fmla="*/ 4004 w 9529"/>
              <a:gd name="connsiteY112" fmla="*/ 9429 h 10000"/>
              <a:gd name="connsiteX113" fmla="*/ 4500 w 9529"/>
              <a:gd name="connsiteY113" fmla="*/ 9934 h 10000"/>
              <a:gd name="connsiteX114" fmla="*/ 4593 w 9529"/>
              <a:gd name="connsiteY114" fmla="*/ 9994 h 10000"/>
              <a:gd name="connsiteX115" fmla="*/ 4755 w 9529"/>
              <a:gd name="connsiteY115" fmla="*/ 10000 h 10000"/>
              <a:gd name="connsiteX116" fmla="*/ 4910 w 9529"/>
              <a:gd name="connsiteY116" fmla="*/ 9908 h 10000"/>
              <a:gd name="connsiteX117" fmla="*/ 4944 w 9529"/>
              <a:gd name="connsiteY117" fmla="*/ 9615 h 10000"/>
              <a:gd name="connsiteX118" fmla="*/ 5644 w 9529"/>
              <a:gd name="connsiteY118" fmla="*/ 9442 h 10000"/>
              <a:gd name="connsiteX119" fmla="*/ 5789 w 9529"/>
              <a:gd name="connsiteY119" fmla="*/ 9463 h 10000"/>
              <a:gd name="connsiteX120" fmla="*/ 6045 w 9529"/>
              <a:gd name="connsiteY120" fmla="*/ 9688 h 10000"/>
              <a:gd name="connsiteX121" fmla="*/ 6157 w 9529"/>
              <a:gd name="connsiteY121" fmla="*/ 9676 h 10000"/>
              <a:gd name="connsiteX122" fmla="*/ 6165 w 9529"/>
              <a:gd name="connsiteY122" fmla="*/ 9542 h 10000"/>
              <a:gd name="connsiteX123" fmla="*/ 6481 w 9529"/>
              <a:gd name="connsiteY123" fmla="*/ 9382 h 10000"/>
              <a:gd name="connsiteX124" fmla="*/ 7155 w 9529"/>
              <a:gd name="connsiteY124" fmla="*/ 9475 h 10000"/>
              <a:gd name="connsiteX125" fmla="*/ 7300 w 9529"/>
              <a:gd name="connsiteY125" fmla="*/ 9336 h 10000"/>
              <a:gd name="connsiteX126" fmla="*/ 7923 w 9529"/>
              <a:gd name="connsiteY126" fmla="*/ 9415 h 10000"/>
              <a:gd name="connsiteX127" fmla="*/ 8368 w 9529"/>
              <a:gd name="connsiteY127" fmla="*/ 9355 h 10000"/>
              <a:gd name="connsiteX128" fmla="*/ 8624 w 9529"/>
              <a:gd name="connsiteY128" fmla="*/ 9442 h 10000"/>
              <a:gd name="connsiteX129" fmla="*/ 8599 w 9529"/>
              <a:gd name="connsiteY129" fmla="*/ 8665 h 10000"/>
              <a:gd name="connsiteX130" fmla="*/ 9076 w 9529"/>
              <a:gd name="connsiteY130" fmla="*/ 7828 h 10000"/>
              <a:gd name="connsiteX131" fmla="*/ 9529 w 9529"/>
              <a:gd name="connsiteY131" fmla="*/ 7449 h 10000"/>
              <a:gd name="connsiteX132" fmla="*/ 8513 w 9529"/>
              <a:gd name="connsiteY132" fmla="*/ 6465 h 10000"/>
              <a:gd name="connsiteX133" fmla="*/ 8495 w 9529"/>
              <a:gd name="connsiteY133" fmla="*/ 5117 h 10000"/>
              <a:gd name="connsiteX134" fmla="*/ 9161 w 9529"/>
              <a:gd name="connsiteY134" fmla="*/ 4857 h 10000"/>
              <a:gd name="connsiteX135" fmla="*/ 8778 w 9529"/>
              <a:gd name="connsiteY135" fmla="*/ 4791 h 10000"/>
              <a:gd name="connsiteX136" fmla="*/ 8427 w 9529"/>
              <a:gd name="connsiteY136" fmla="*/ 4286 h 10000"/>
              <a:gd name="connsiteX137" fmla="*/ 8829 w 9529"/>
              <a:gd name="connsiteY137" fmla="*/ 3941 h 10000"/>
              <a:gd name="connsiteX138" fmla="*/ 8530 w 9529"/>
              <a:gd name="connsiteY138" fmla="*/ 3595 h 10000"/>
              <a:gd name="connsiteX139" fmla="*/ 8078 w 9529"/>
              <a:gd name="connsiteY139" fmla="*/ 3893 h 10000"/>
              <a:gd name="connsiteX140" fmla="*/ 6916 w 9529"/>
              <a:gd name="connsiteY140" fmla="*/ 3595 h 10000"/>
              <a:gd name="connsiteX141" fmla="*/ 6301 w 9529"/>
              <a:gd name="connsiteY141" fmla="*/ 3230 h 10000"/>
              <a:gd name="connsiteX142" fmla="*/ 6140 w 9529"/>
              <a:gd name="connsiteY142" fmla="*/ 2465 h 10000"/>
              <a:gd name="connsiteX143" fmla="*/ 5815 w 9529"/>
              <a:gd name="connsiteY143" fmla="*/ 2306 h 10000"/>
              <a:gd name="connsiteX144" fmla="*/ 5379 w 9529"/>
              <a:gd name="connsiteY144" fmla="*/ 2233 h 10000"/>
              <a:gd name="connsiteX145" fmla="*/ 5021 w 9529"/>
              <a:gd name="connsiteY145" fmla="*/ 1821 h 10000"/>
              <a:gd name="connsiteX146" fmla="*/ 4602 w 9529"/>
              <a:gd name="connsiteY146" fmla="*/ 904 h 10000"/>
              <a:gd name="connsiteX147" fmla="*/ 4192 w 9529"/>
              <a:gd name="connsiteY147" fmla="*/ 525 h 10000"/>
              <a:gd name="connsiteX148" fmla="*/ 3424 w 9529"/>
              <a:gd name="connsiteY148" fmla="*/ 219 h 10000"/>
              <a:gd name="connsiteX149" fmla="*/ 3236 w 9529"/>
              <a:gd name="connsiteY149" fmla="*/ 0 h 10000"/>
              <a:gd name="connsiteX150" fmla="*/ 2766 w 9529"/>
              <a:gd name="connsiteY150" fmla="*/ 127 h 10000"/>
              <a:gd name="connsiteX151" fmla="*/ 2288 w 9529"/>
              <a:gd name="connsiteY151" fmla="*/ 147 h 10000"/>
              <a:gd name="connsiteX152" fmla="*/ 1664 w 9529"/>
              <a:gd name="connsiteY152" fmla="*/ 459 h 10000"/>
              <a:gd name="connsiteX153" fmla="*/ 1102 w 9529"/>
              <a:gd name="connsiteY153" fmla="*/ 472 h 10000"/>
              <a:gd name="connsiteX154" fmla="*/ 836 w 9529"/>
              <a:gd name="connsiteY154" fmla="*/ 631 h 10000"/>
              <a:gd name="connsiteX155" fmla="*/ 290 w 9529"/>
              <a:gd name="connsiteY155" fmla="*/ 672 h 10000"/>
              <a:gd name="connsiteX0" fmla="*/ 304 w 10000"/>
              <a:gd name="connsiteY0" fmla="*/ 672 h 10000"/>
              <a:gd name="connsiteX1" fmla="*/ 618 w 10000"/>
              <a:gd name="connsiteY1" fmla="*/ 898 h 10000"/>
              <a:gd name="connsiteX2" fmla="*/ 636 w 10000"/>
              <a:gd name="connsiteY2" fmla="*/ 1003 h 10000"/>
              <a:gd name="connsiteX3" fmla="*/ 574 w 10000"/>
              <a:gd name="connsiteY3" fmla="*/ 1070 h 10000"/>
              <a:gd name="connsiteX4" fmla="*/ 672 w 10000"/>
              <a:gd name="connsiteY4" fmla="*/ 1143 h 10000"/>
              <a:gd name="connsiteX5" fmla="*/ 681 w 10000"/>
              <a:gd name="connsiteY5" fmla="*/ 1243 h 10000"/>
              <a:gd name="connsiteX6" fmla="*/ 565 w 10000"/>
              <a:gd name="connsiteY6" fmla="*/ 1363 h 10000"/>
              <a:gd name="connsiteX7" fmla="*/ 582 w 10000"/>
              <a:gd name="connsiteY7" fmla="*/ 1442 h 10000"/>
              <a:gd name="connsiteX8" fmla="*/ 717 w 10000"/>
              <a:gd name="connsiteY8" fmla="*/ 1495 h 10000"/>
              <a:gd name="connsiteX9" fmla="*/ 806 w 10000"/>
              <a:gd name="connsiteY9" fmla="*/ 1428 h 10000"/>
              <a:gd name="connsiteX10" fmla="*/ 887 w 10000"/>
              <a:gd name="connsiteY10" fmla="*/ 1428 h 10000"/>
              <a:gd name="connsiteX11" fmla="*/ 1012 w 10000"/>
              <a:gd name="connsiteY11" fmla="*/ 1501 h 10000"/>
              <a:gd name="connsiteX12" fmla="*/ 1012 w 10000"/>
              <a:gd name="connsiteY12" fmla="*/ 1548 h 10000"/>
              <a:gd name="connsiteX13" fmla="*/ 932 w 10000"/>
              <a:gd name="connsiteY13" fmla="*/ 1595 h 10000"/>
              <a:gd name="connsiteX14" fmla="*/ 851 w 10000"/>
              <a:gd name="connsiteY14" fmla="*/ 1595 h 10000"/>
              <a:gd name="connsiteX15" fmla="*/ 815 w 10000"/>
              <a:gd name="connsiteY15" fmla="*/ 1675 h 10000"/>
              <a:gd name="connsiteX16" fmla="*/ 869 w 10000"/>
              <a:gd name="connsiteY16" fmla="*/ 1734 h 10000"/>
              <a:gd name="connsiteX17" fmla="*/ 806 w 10000"/>
              <a:gd name="connsiteY17" fmla="*/ 1881 h 10000"/>
              <a:gd name="connsiteX18" fmla="*/ 869 w 10000"/>
              <a:gd name="connsiteY18" fmla="*/ 1933 h 10000"/>
              <a:gd name="connsiteX19" fmla="*/ 1029 w 10000"/>
              <a:gd name="connsiteY19" fmla="*/ 1933 h 10000"/>
              <a:gd name="connsiteX20" fmla="*/ 1218 w 10000"/>
              <a:gd name="connsiteY20" fmla="*/ 2080 h 10000"/>
              <a:gd name="connsiteX21" fmla="*/ 1406 w 10000"/>
              <a:gd name="connsiteY21" fmla="*/ 2067 h 10000"/>
              <a:gd name="connsiteX22" fmla="*/ 1558 w 10000"/>
              <a:gd name="connsiteY22" fmla="*/ 2125 h 10000"/>
              <a:gd name="connsiteX23" fmla="*/ 1738 w 10000"/>
              <a:gd name="connsiteY23" fmla="*/ 2119 h 10000"/>
              <a:gd name="connsiteX24" fmla="*/ 1828 w 10000"/>
              <a:gd name="connsiteY24" fmla="*/ 2153 h 10000"/>
              <a:gd name="connsiteX25" fmla="*/ 1846 w 10000"/>
              <a:gd name="connsiteY25" fmla="*/ 2219 h 10000"/>
              <a:gd name="connsiteX26" fmla="*/ 1693 w 10000"/>
              <a:gd name="connsiteY26" fmla="*/ 2278 h 10000"/>
              <a:gd name="connsiteX27" fmla="*/ 1380 w 10000"/>
              <a:gd name="connsiteY27" fmla="*/ 2227 h 10000"/>
              <a:gd name="connsiteX28" fmla="*/ 1291 w 10000"/>
              <a:gd name="connsiteY28" fmla="*/ 2239 h 10000"/>
              <a:gd name="connsiteX29" fmla="*/ 1236 w 10000"/>
              <a:gd name="connsiteY29" fmla="*/ 2386 h 10000"/>
              <a:gd name="connsiteX30" fmla="*/ 1138 w 10000"/>
              <a:gd name="connsiteY30" fmla="*/ 2479 h 10000"/>
              <a:gd name="connsiteX31" fmla="*/ 1192 w 10000"/>
              <a:gd name="connsiteY31" fmla="*/ 2771 h 10000"/>
              <a:gd name="connsiteX32" fmla="*/ 1281 w 10000"/>
              <a:gd name="connsiteY32" fmla="*/ 2817 h 10000"/>
              <a:gd name="connsiteX33" fmla="*/ 1228 w 10000"/>
              <a:gd name="connsiteY33" fmla="*/ 2963 h 10000"/>
              <a:gd name="connsiteX34" fmla="*/ 1728 w 10000"/>
              <a:gd name="connsiteY34" fmla="*/ 2998 h 10000"/>
              <a:gd name="connsiteX35" fmla="*/ 1828 w 10000"/>
              <a:gd name="connsiteY35" fmla="*/ 3091 h 10000"/>
              <a:gd name="connsiteX36" fmla="*/ 1756 w 10000"/>
              <a:gd name="connsiteY36" fmla="*/ 3196 h 10000"/>
              <a:gd name="connsiteX37" fmla="*/ 1756 w 10000"/>
              <a:gd name="connsiteY37" fmla="*/ 3329 h 10000"/>
              <a:gd name="connsiteX38" fmla="*/ 1344 w 10000"/>
              <a:gd name="connsiteY38" fmla="*/ 3887 h 10000"/>
              <a:gd name="connsiteX39" fmla="*/ 1246 w 10000"/>
              <a:gd name="connsiteY39" fmla="*/ 3927 h 10000"/>
              <a:gd name="connsiteX40" fmla="*/ 1246 w 10000"/>
              <a:gd name="connsiteY40" fmla="*/ 4020 h 10000"/>
              <a:gd name="connsiteX41" fmla="*/ 1309 w 10000"/>
              <a:gd name="connsiteY41" fmla="*/ 4087 h 10000"/>
              <a:gd name="connsiteX42" fmla="*/ 1165 w 10000"/>
              <a:gd name="connsiteY42" fmla="*/ 4247 h 10000"/>
              <a:gd name="connsiteX43" fmla="*/ 1246 w 10000"/>
              <a:gd name="connsiteY43" fmla="*/ 4451 h 10000"/>
              <a:gd name="connsiteX44" fmla="*/ 1388 w 10000"/>
              <a:gd name="connsiteY44" fmla="*/ 4479 h 10000"/>
              <a:gd name="connsiteX45" fmla="*/ 1496 w 10000"/>
              <a:gd name="connsiteY45" fmla="*/ 4538 h 10000"/>
              <a:gd name="connsiteX46" fmla="*/ 1657 w 10000"/>
              <a:gd name="connsiteY46" fmla="*/ 4511 h 10000"/>
              <a:gd name="connsiteX47" fmla="*/ 1728 w 10000"/>
              <a:gd name="connsiteY47" fmla="*/ 4604 h 10000"/>
              <a:gd name="connsiteX48" fmla="*/ 1764 w 10000"/>
              <a:gd name="connsiteY48" fmla="*/ 4712 h 10000"/>
              <a:gd name="connsiteX49" fmla="*/ 1935 w 10000"/>
              <a:gd name="connsiteY49" fmla="*/ 4844 h 10000"/>
              <a:gd name="connsiteX50" fmla="*/ 2052 w 10000"/>
              <a:gd name="connsiteY50" fmla="*/ 4831 h 10000"/>
              <a:gd name="connsiteX51" fmla="*/ 2097 w 10000"/>
              <a:gd name="connsiteY51" fmla="*/ 4865 h 10000"/>
              <a:gd name="connsiteX52" fmla="*/ 2087 w 10000"/>
              <a:gd name="connsiteY52" fmla="*/ 4944 h 10000"/>
              <a:gd name="connsiteX53" fmla="*/ 2257 w 10000"/>
              <a:gd name="connsiteY53" fmla="*/ 5024 h 10000"/>
              <a:gd name="connsiteX54" fmla="*/ 2365 w 10000"/>
              <a:gd name="connsiteY54" fmla="*/ 5043 h 10000"/>
              <a:gd name="connsiteX55" fmla="*/ 2383 w 10000"/>
              <a:gd name="connsiteY55" fmla="*/ 5150 h 10000"/>
              <a:gd name="connsiteX56" fmla="*/ 2204 w 10000"/>
              <a:gd name="connsiteY56" fmla="*/ 5282 h 10000"/>
              <a:gd name="connsiteX57" fmla="*/ 1873 w 10000"/>
              <a:gd name="connsiteY57" fmla="*/ 5289 h 10000"/>
              <a:gd name="connsiteX58" fmla="*/ 1657 w 10000"/>
              <a:gd name="connsiteY58" fmla="*/ 5190 h 10000"/>
              <a:gd name="connsiteX59" fmla="*/ 1541 w 10000"/>
              <a:gd name="connsiteY59" fmla="*/ 5190 h 10000"/>
              <a:gd name="connsiteX60" fmla="*/ 1496 w 10000"/>
              <a:gd name="connsiteY60" fmla="*/ 5229 h 10000"/>
              <a:gd name="connsiteX61" fmla="*/ 2069 w 10000"/>
              <a:gd name="connsiteY61" fmla="*/ 5801 h 10000"/>
              <a:gd name="connsiteX62" fmla="*/ 2150 w 10000"/>
              <a:gd name="connsiteY62" fmla="*/ 5834 h 10000"/>
              <a:gd name="connsiteX63" fmla="*/ 2123 w 10000"/>
              <a:gd name="connsiteY63" fmla="*/ 6073 h 10000"/>
              <a:gd name="connsiteX64" fmla="*/ 2079 w 10000"/>
              <a:gd name="connsiteY64" fmla="*/ 6166 h 10000"/>
              <a:gd name="connsiteX65" fmla="*/ 1945 w 10000"/>
              <a:gd name="connsiteY65" fmla="*/ 6206 h 10000"/>
              <a:gd name="connsiteX66" fmla="*/ 1846 w 10000"/>
              <a:gd name="connsiteY66" fmla="*/ 6140 h 10000"/>
              <a:gd name="connsiteX67" fmla="*/ 1746 w 10000"/>
              <a:gd name="connsiteY67" fmla="*/ 6133 h 10000"/>
              <a:gd name="connsiteX68" fmla="*/ 1631 w 10000"/>
              <a:gd name="connsiteY68" fmla="*/ 6260 h 10000"/>
              <a:gd name="connsiteX69" fmla="*/ 1442 w 10000"/>
              <a:gd name="connsiteY69" fmla="*/ 6326 h 10000"/>
              <a:gd name="connsiteX70" fmla="*/ 1264 w 10000"/>
              <a:gd name="connsiteY70" fmla="*/ 6326 h 10000"/>
              <a:gd name="connsiteX71" fmla="*/ 1174 w 10000"/>
              <a:gd name="connsiteY71" fmla="*/ 6378 h 10000"/>
              <a:gd name="connsiteX72" fmla="*/ 1065 w 10000"/>
              <a:gd name="connsiteY72" fmla="*/ 6372 h 10000"/>
              <a:gd name="connsiteX73" fmla="*/ 1021 w 10000"/>
              <a:gd name="connsiteY73" fmla="*/ 6286 h 10000"/>
              <a:gd name="connsiteX74" fmla="*/ 869 w 10000"/>
              <a:gd name="connsiteY74" fmla="*/ 6293 h 10000"/>
              <a:gd name="connsiteX75" fmla="*/ 744 w 10000"/>
              <a:gd name="connsiteY75" fmla="*/ 6398 h 10000"/>
              <a:gd name="connsiteX76" fmla="*/ 798 w 10000"/>
              <a:gd name="connsiteY76" fmla="*/ 6492 h 10000"/>
              <a:gd name="connsiteX77" fmla="*/ 940 w 10000"/>
              <a:gd name="connsiteY77" fmla="*/ 6539 h 10000"/>
              <a:gd name="connsiteX78" fmla="*/ 985 w 10000"/>
              <a:gd name="connsiteY78" fmla="*/ 6704 h 10000"/>
              <a:gd name="connsiteX79" fmla="*/ 1065 w 10000"/>
              <a:gd name="connsiteY79" fmla="*/ 6797 h 10000"/>
              <a:gd name="connsiteX80" fmla="*/ 1065 w 10000"/>
              <a:gd name="connsiteY80" fmla="*/ 6977 h 10000"/>
              <a:gd name="connsiteX81" fmla="*/ 1012 w 10000"/>
              <a:gd name="connsiteY81" fmla="*/ 7044 h 10000"/>
              <a:gd name="connsiteX82" fmla="*/ 895 w 10000"/>
              <a:gd name="connsiteY82" fmla="*/ 7029 h 10000"/>
              <a:gd name="connsiteX83" fmla="*/ 824 w 10000"/>
              <a:gd name="connsiteY83" fmla="*/ 6977 h 10000"/>
              <a:gd name="connsiteX84" fmla="*/ 770 w 10000"/>
              <a:gd name="connsiteY84" fmla="*/ 6804 h 10000"/>
              <a:gd name="connsiteX85" fmla="*/ 699 w 10000"/>
              <a:gd name="connsiteY85" fmla="*/ 6751 h 10000"/>
              <a:gd name="connsiteX86" fmla="*/ 502 w 10000"/>
              <a:gd name="connsiteY86" fmla="*/ 6751 h 10000"/>
              <a:gd name="connsiteX87" fmla="*/ 134 w 10000"/>
              <a:gd name="connsiteY87" fmla="*/ 6990 h 10000"/>
              <a:gd name="connsiteX88" fmla="*/ 71 w 10000"/>
              <a:gd name="connsiteY88" fmla="*/ 7156 h 10000"/>
              <a:gd name="connsiteX89" fmla="*/ 0 w 10000"/>
              <a:gd name="connsiteY89" fmla="*/ 7223 h 10000"/>
              <a:gd name="connsiteX90" fmla="*/ 647 w 10000"/>
              <a:gd name="connsiteY90" fmla="*/ 6788 h 10000"/>
              <a:gd name="connsiteX91" fmla="*/ 481 w 10000"/>
              <a:gd name="connsiteY91" fmla="*/ 6703 h 10000"/>
              <a:gd name="connsiteX92" fmla="*/ 910 w 10000"/>
              <a:gd name="connsiteY92" fmla="*/ 6929 h 10000"/>
              <a:gd name="connsiteX93" fmla="*/ 863 w 10000"/>
              <a:gd name="connsiteY93" fmla="*/ 6756 h 10000"/>
              <a:gd name="connsiteX94" fmla="*/ 890 w 10000"/>
              <a:gd name="connsiteY94" fmla="*/ 6947 h 10000"/>
              <a:gd name="connsiteX95" fmla="*/ 804 w 10000"/>
              <a:gd name="connsiteY95" fmla="*/ 6902 h 10000"/>
              <a:gd name="connsiteX96" fmla="*/ 958 w 10000"/>
              <a:gd name="connsiteY96" fmla="*/ 6943 h 10000"/>
              <a:gd name="connsiteX97" fmla="*/ 952 w 10000"/>
              <a:gd name="connsiteY97" fmla="*/ 6967 h 10000"/>
              <a:gd name="connsiteX98" fmla="*/ 965 w 10000"/>
              <a:gd name="connsiteY98" fmla="*/ 6941 h 10000"/>
              <a:gd name="connsiteX99" fmla="*/ 785 w 10000"/>
              <a:gd name="connsiteY99" fmla="*/ 6771 h 10000"/>
              <a:gd name="connsiteX100" fmla="*/ 989 w 10000"/>
              <a:gd name="connsiteY100" fmla="*/ 6966 h 10000"/>
              <a:gd name="connsiteX101" fmla="*/ 1423 w 10000"/>
              <a:gd name="connsiteY101" fmla="*/ 7070 h 10000"/>
              <a:gd name="connsiteX102" fmla="*/ 1349 w 10000"/>
              <a:gd name="connsiteY102" fmla="*/ 7300 h 10000"/>
              <a:gd name="connsiteX103" fmla="*/ 1650 w 10000"/>
              <a:gd name="connsiteY103" fmla="*/ 7135 h 10000"/>
              <a:gd name="connsiteX104" fmla="*/ 1578 w 10000"/>
              <a:gd name="connsiteY104" fmla="*/ 6997 h 10000"/>
              <a:gd name="connsiteX105" fmla="*/ 2045 w 10000"/>
              <a:gd name="connsiteY105" fmla="*/ 7174 h 10000"/>
              <a:gd name="connsiteX106" fmla="*/ 2324 w 10000"/>
              <a:gd name="connsiteY106" fmla="*/ 7290 h 10000"/>
              <a:gd name="connsiteX107" fmla="*/ 2586 w 10000"/>
              <a:gd name="connsiteY107" fmla="*/ 7583 h 10000"/>
              <a:gd name="connsiteX108" fmla="*/ 2766 w 10000"/>
              <a:gd name="connsiteY108" fmla="*/ 8108 h 10000"/>
              <a:gd name="connsiteX109" fmla="*/ 3447 w 10000"/>
              <a:gd name="connsiteY109" fmla="*/ 8563 h 10000"/>
              <a:gd name="connsiteX110" fmla="*/ 3495 w 10000"/>
              <a:gd name="connsiteY110" fmla="*/ 8917 h 10000"/>
              <a:gd name="connsiteX111" fmla="*/ 3754 w 10000"/>
              <a:gd name="connsiteY111" fmla="*/ 9290 h 10000"/>
              <a:gd name="connsiteX112" fmla="*/ 4202 w 10000"/>
              <a:gd name="connsiteY112" fmla="*/ 9429 h 10000"/>
              <a:gd name="connsiteX113" fmla="*/ 4722 w 10000"/>
              <a:gd name="connsiteY113" fmla="*/ 9934 h 10000"/>
              <a:gd name="connsiteX114" fmla="*/ 4820 w 10000"/>
              <a:gd name="connsiteY114" fmla="*/ 9994 h 10000"/>
              <a:gd name="connsiteX115" fmla="*/ 4990 w 10000"/>
              <a:gd name="connsiteY115" fmla="*/ 10000 h 10000"/>
              <a:gd name="connsiteX116" fmla="*/ 5153 w 10000"/>
              <a:gd name="connsiteY116" fmla="*/ 9908 h 10000"/>
              <a:gd name="connsiteX117" fmla="*/ 5188 w 10000"/>
              <a:gd name="connsiteY117" fmla="*/ 9615 h 10000"/>
              <a:gd name="connsiteX118" fmla="*/ 5923 w 10000"/>
              <a:gd name="connsiteY118" fmla="*/ 9442 h 10000"/>
              <a:gd name="connsiteX119" fmla="*/ 6075 w 10000"/>
              <a:gd name="connsiteY119" fmla="*/ 9463 h 10000"/>
              <a:gd name="connsiteX120" fmla="*/ 6344 w 10000"/>
              <a:gd name="connsiteY120" fmla="*/ 9688 h 10000"/>
              <a:gd name="connsiteX121" fmla="*/ 6461 w 10000"/>
              <a:gd name="connsiteY121" fmla="*/ 9676 h 10000"/>
              <a:gd name="connsiteX122" fmla="*/ 6470 w 10000"/>
              <a:gd name="connsiteY122" fmla="*/ 9542 h 10000"/>
              <a:gd name="connsiteX123" fmla="*/ 6801 w 10000"/>
              <a:gd name="connsiteY123" fmla="*/ 9382 h 10000"/>
              <a:gd name="connsiteX124" fmla="*/ 7509 w 10000"/>
              <a:gd name="connsiteY124" fmla="*/ 9475 h 10000"/>
              <a:gd name="connsiteX125" fmla="*/ 7661 w 10000"/>
              <a:gd name="connsiteY125" fmla="*/ 9336 h 10000"/>
              <a:gd name="connsiteX126" fmla="*/ 8315 w 10000"/>
              <a:gd name="connsiteY126" fmla="*/ 9415 h 10000"/>
              <a:gd name="connsiteX127" fmla="*/ 8782 w 10000"/>
              <a:gd name="connsiteY127" fmla="*/ 9355 h 10000"/>
              <a:gd name="connsiteX128" fmla="*/ 9050 w 10000"/>
              <a:gd name="connsiteY128" fmla="*/ 9442 h 10000"/>
              <a:gd name="connsiteX129" fmla="*/ 9024 w 10000"/>
              <a:gd name="connsiteY129" fmla="*/ 8665 h 10000"/>
              <a:gd name="connsiteX130" fmla="*/ 9525 w 10000"/>
              <a:gd name="connsiteY130" fmla="*/ 7828 h 10000"/>
              <a:gd name="connsiteX131" fmla="*/ 10000 w 10000"/>
              <a:gd name="connsiteY131" fmla="*/ 7449 h 10000"/>
              <a:gd name="connsiteX132" fmla="*/ 8934 w 10000"/>
              <a:gd name="connsiteY132" fmla="*/ 6465 h 10000"/>
              <a:gd name="connsiteX133" fmla="*/ 8915 w 10000"/>
              <a:gd name="connsiteY133" fmla="*/ 5117 h 10000"/>
              <a:gd name="connsiteX134" fmla="*/ 9614 w 10000"/>
              <a:gd name="connsiteY134" fmla="*/ 4857 h 10000"/>
              <a:gd name="connsiteX135" fmla="*/ 9212 w 10000"/>
              <a:gd name="connsiteY135" fmla="*/ 4791 h 10000"/>
              <a:gd name="connsiteX136" fmla="*/ 8844 w 10000"/>
              <a:gd name="connsiteY136" fmla="*/ 4286 h 10000"/>
              <a:gd name="connsiteX137" fmla="*/ 9265 w 10000"/>
              <a:gd name="connsiteY137" fmla="*/ 3941 h 10000"/>
              <a:gd name="connsiteX138" fmla="*/ 8952 w 10000"/>
              <a:gd name="connsiteY138" fmla="*/ 3595 h 10000"/>
              <a:gd name="connsiteX139" fmla="*/ 8477 w 10000"/>
              <a:gd name="connsiteY139" fmla="*/ 3893 h 10000"/>
              <a:gd name="connsiteX140" fmla="*/ 7258 w 10000"/>
              <a:gd name="connsiteY140" fmla="*/ 3595 h 10000"/>
              <a:gd name="connsiteX141" fmla="*/ 6612 w 10000"/>
              <a:gd name="connsiteY141" fmla="*/ 3230 h 10000"/>
              <a:gd name="connsiteX142" fmla="*/ 6443 w 10000"/>
              <a:gd name="connsiteY142" fmla="*/ 2465 h 10000"/>
              <a:gd name="connsiteX143" fmla="*/ 6102 w 10000"/>
              <a:gd name="connsiteY143" fmla="*/ 2306 h 10000"/>
              <a:gd name="connsiteX144" fmla="*/ 5645 w 10000"/>
              <a:gd name="connsiteY144" fmla="*/ 2233 h 10000"/>
              <a:gd name="connsiteX145" fmla="*/ 5269 w 10000"/>
              <a:gd name="connsiteY145" fmla="*/ 1821 h 10000"/>
              <a:gd name="connsiteX146" fmla="*/ 4829 w 10000"/>
              <a:gd name="connsiteY146" fmla="*/ 904 h 10000"/>
              <a:gd name="connsiteX147" fmla="*/ 4399 w 10000"/>
              <a:gd name="connsiteY147" fmla="*/ 525 h 10000"/>
              <a:gd name="connsiteX148" fmla="*/ 3593 w 10000"/>
              <a:gd name="connsiteY148" fmla="*/ 219 h 10000"/>
              <a:gd name="connsiteX149" fmla="*/ 3396 w 10000"/>
              <a:gd name="connsiteY149" fmla="*/ 0 h 10000"/>
              <a:gd name="connsiteX150" fmla="*/ 2903 w 10000"/>
              <a:gd name="connsiteY150" fmla="*/ 127 h 10000"/>
              <a:gd name="connsiteX151" fmla="*/ 2401 w 10000"/>
              <a:gd name="connsiteY151" fmla="*/ 147 h 10000"/>
              <a:gd name="connsiteX152" fmla="*/ 1746 w 10000"/>
              <a:gd name="connsiteY152" fmla="*/ 459 h 10000"/>
              <a:gd name="connsiteX153" fmla="*/ 1156 w 10000"/>
              <a:gd name="connsiteY153" fmla="*/ 472 h 10000"/>
              <a:gd name="connsiteX154" fmla="*/ 877 w 10000"/>
              <a:gd name="connsiteY154" fmla="*/ 631 h 10000"/>
              <a:gd name="connsiteX155" fmla="*/ 304 w 10000"/>
              <a:gd name="connsiteY155" fmla="*/ 672 h 10000"/>
              <a:gd name="connsiteX0" fmla="*/ 234 w 9930"/>
              <a:gd name="connsiteY0" fmla="*/ 672 h 10000"/>
              <a:gd name="connsiteX1" fmla="*/ 548 w 9930"/>
              <a:gd name="connsiteY1" fmla="*/ 898 h 10000"/>
              <a:gd name="connsiteX2" fmla="*/ 566 w 9930"/>
              <a:gd name="connsiteY2" fmla="*/ 1003 h 10000"/>
              <a:gd name="connsiteX3" fmla="*/ 504 w 9930"/>
              <a:gd name="connsiteY3" fmla="*/ 1070 h 10000"/>
              <a:gd name="connsiteX4" fmla="*/ 602 w 9930"/>
              <a:gd name="connsiteY4" fmla="*/ 1143 h 10000"/>
              <a:gd name="connsiteX5" fmla="*/ 611 w 9930"/>
              <a:gd name="connsiteY5" fmla="*/ 1243 h 10000"/>
              <a:gd name="connsiteX6" fmla="*/ 495 w 9930"/>
              <a:gd name="connsiteY6" fmla="*/ 1363 h 10000"/>
              <a:gd name="connsiteX7" fmla="*/ 512 w 9930"/>
              <a:gd name="connsiteY7" fmla="*/ 1442 h 10000"/>
              <a:gd name="connsiteX8" fmla="*/ 647 w 9930"/>
              <a:gd name="connsiteY8" fmla="*/ 1495 h 10000"/>
              <a:gd name="connsiteX9" fmla="*/ 736 w 9930"/>
              <a:gd name="connsiteY9" fmla="*/ 1428 h 10000"/>
              <a:gd name="connsiteX10" fmla="*/ 817 w 9930"/>
              <a:gd name="connsiteY10" fmla="*/ 1428 h 10000"/>
              <a:gd name="connsiteX11" fmla="*/ 942 w 9930"/>
              <a:gd name="connsiteY11" fmla="*/ 1501 h 10000"/>
              <a:gd name="connsiteX12" fmla="*/ 942 w 9930"/>
              <a:gd name="connsiteY12" fmla="*/ 1548 h 10000"/>
              <a:gd name="connsiteX13" fmla="*/ 862 w 9930"/>
              <a:gd name="connsiteY13" fmla="*/ 1595 h 10000"/>
              <a:gd name="connsiteX14" fmla="*/ 781 w 9930"/>
              <a:gd name="connsiteY14" fmla="*/ 1595 h 10000"/>
              <a:gd name="connsiteX15" fmla="*/ 745 w 9930"/>
              <a:gd name="connsiteY15" fmla="*/ 1675 h 10000"/>
              <a:gd name="connsiteX16" fmla="*/ 799 w 9930"/>
              <a:gd name="connsiteY16" fmla="*/ 1734 h 10000"/>
              <a:gd name="connsiteX17" fmla="*/ 736 w 9930"/>
              <a:gd name="connsiteY17" fmla="*/ 1881 h 10000"/>
              <a:gd name="connsiteX18" fmla="*/ 799 w 9930"/>
              <a:gd name="connsiteY18" fmla="*/ 1933 h 10000"/>
              <a:gd name="connsiteX19" fmla="*/ 959 w 9930"/>
              <a:gd name="connsiteY19" fmla="*/ 1933 h 10000"/>
              <a:gd name="connsiteX20" fmla="*/ 1148 w 9930"/>
              <a:gd name="connsiteY20" fmla="*/ 2080 h 10000"/>
              <a:gd name="connsiteX21" fmla="*/ 1336 w 9930"/>
              <a:gd name="connsiteY21" fmla="*/ 2067 h 10000"/>
              <a:gd name="connsiteX22" fmla="*/ 1488 w 9930"/>
              <a:gd name="connsiteY22" fmla="*/ 2125 h 10000"/>
              <a:gd name="connsiteX23" fmla="*/ 1668 w 9930"/>
              <a:gd name="connsiteY23" fmla="*/ 2119 h 10000"/>
              <a:gd name="connsiteX24" fmla="*/ 1758 w 9930"/>
              <a:gd name="connsiteY24" fmla="*/ 2153 h 10000"/>
              <a:gd name="connsiteX25" fmla="*/ 1776 w 9930"/>
              <a:gd name="connsiteY25" fmla="*/ 2219 h 10000"/>
              <a:gd name="connsiteX26" fmla="*/ 1623 w 9930"/>
              <a:gd name="connsiteY26" fmla="*/ 2278 h 10000"/>
              <a:gd name="connsiteX27" fmla="*/ 1310 w 9930"/>
              <a:gd name="connsiteY27" fmla="*/ 2227 h 10000"/>
              <a:gd name="connsiteX28" fmla="*/ 1221 w 9930"/>
              <a:gd name="connsiteY28" fmla="*/ 2239 h 10000"/>
              <a:gd name="connsiteX29" fmla="*/ 1166 w 9930"/>
              <a:gd name="connsiteY29" fmla="*/ 2386 h 10000"/>
              <a:gd name="connsiteX30" fmla="*/ 1068 w 9930"/>
              <a:gd name="connsiteY30" fmla="*/ 2479 h 10000"/>
              <a:gd name="connsiteX31" fmla="*/ 1122 w 9930"/>
              <a:gd name="connsiteY31" fmla="*/ 2771 h 10000"/>
              <a:gd name="connsiteX32" fmla="*/ 1211 w 9930"/>
              <a:gd name="connsiteY32" fmla="*/ 2817 h 10000"/>
              <a:gd name="connsiteX33" fmla="*/ 1158 w 9930"/>
              <a:gd name="connsiteY33" fmla="*/ 2963 h 10000"/>
              <a:gd name="connsiteX34" fmla="*/ 1658 w 9930"/>
              <a:gd name="connsiteY34" fmla="*/ 2998 h 10000"/>
              <a:gd name="connsiteX35" fmla="*/ 1758 w 9930"/>
              <a:gd name="connsiteY35" fmla="*/ 3091 h 10000"/>
              <a:gd name="connsiteX36" fmla="*/ 1686 w 9930"/>
              <a:gd name="connsiteY36" fmla="*/ 3196 h 10000"/>
              <a:gd name="connsiteX37" fmla="*/ 1686 w 9930"/>
              <a:gd name="connsiteY37" fmla="*/ 3329 h 10000"/>
              <a:gd name="connsiteX38" fmla="*/ 1274 w 9930"/>
              <a:gd name="connsiteY38" fmla="*/ 3887 h 10000"/>
              <a:gd name="connsiteX39" fmla="*/ 1176 w 9930"/>
              <a:gd name="connsiteY39" fmla="*/ 3927 h 10000"/>
              <a:gd name="connsiteX40" fmla="*/ 1176 w 9930"/>
              <a:gd name="connsiteY40" fmla="*/ 4020 h 10000"/>
              <a:gd name="connsiteX41" fmla="*/ 1239 w 9930"/>
              <a:gd name="connsiteY41" fmla="*/ 4087 h 10000"/>
              <a:gd name="connsiteX42" fmla="*/ 1095 w 9930"/>
              <a:gd name="connsiteY42" fmla="*/ 4247 h 10000"/>
              <a:gd name="connsiteX43" fmla="*/ 1176 w 9930"/>
              <a:gd name="connsiteY43" fmla="*/ 4451 h 10000"/>
              <a:gd name="connsiteX44" fmla="*/ 1318 w 9930"/>
              <a:gd name="connsiteY44" fmla="*/ 4479 h 10000"/>
              <a:gd name="connsiteX45" fmla="*/ 1426 w 9930"/>
              <a:gd name="connsiteY45" fmla="*/ 4538 h 10000"/>
              <a:gd name="connsiteX46" fmla="*/ 1587 w 9930"/>
              <a:gd name="connsiteY46" fmla="*/ 4511 h 10000"/>
              <a:gd name="connsiteX47" fmla="*/ 1658 w 9930"/>
              <a:gd name="connsiteY47" fmla="*/ 4604 h 10000"/>
              <a:gd name="connsiteX48" fmla="*/ 1694 w 9930"/>
              <a:gd name="connsiteY48" fmla="*/ 4712 h 10000"/>
              <a:gd name="connsiteX49" fmla="*/ 1865 w 9930"/>
              <a:gd name="connsiteY49" fmla="*/ 4844 h 10000"/>
              <a:gd name="connsiteX50" fmla="*/ 1982 w 9930"/>
              <a:gd name="connsiteY50" fmla="*/ 4831 h 10000"/>
              <a:gd name="connsiteX51" fmla="*/ 2027 w 9930"/>
              <a:gd name="connsiteY51" fmla="*/ 4865 h 10000"/>
              <a:gd name="connsiteX52" fmla="*/ 2017 w 9930"/>
              <a:gd name="connsiteY52" fmla="*/ 4944 h 10000"/>
              <a:gd name="connsiteX53" fmla="*/ 2187 w 9930"/>
              <a:gd name="connsiteY53" fmla="*/ 5024 h 10000"/>
              <a:gd name="connsiteX54" fmla="*/ 2295 w 9930"/>
              <a:gd name="connsiteY54" fmla="*/ 5043 h 10000"/>
              <a:gd name="connsiteX55" fmla="*/ 2313 w 9930"/>
              <a:gd name="connsiteY55" fmla="*/ 5150 h 10000"/>
              <a:gd name="connsiteX56" fmla="*/ 2134 w 9930"/>
              <a:gd name="connsiteY56" fmla="*/ 5282 h 10000"/>
              <a:gd name="connsiteX57" fmla="*/ 1803 w 9930"/>
              <a:gd name="connsiteY57" fmla="*/ 5289 h 10000"/>
              <a:gd name="connsiteX58" fmla="*/ 1587 w 9930"/>
              <a:gd name="connsiteY58" fmla="*/ 5190 h 10000"/>
              <a:gd name="connsiteX59" fmla="*/ 1471 w 9930"/>
              <a:gd name="connsiteY59" fmla="*/ 5190 h 10000"/>
              <a:gd name="connsiteX60" fmla="*/ 1426 w 9930"/>
              <a:gd name="connsiteY60" fmla="*/ 5229 h 10000"/>
              <a:gd name="connsiteX61" fmla="*/ 1999 w 9930"/>
              <a:gd name="connsiteY61" fmla="*/ 5801 h 10000"/>
              <a:gd name="connsiteX62" fmla="*/ 2080 w 9930"/>
              <a:gd name="connsiteY62" fmla="*/ 5834 h 10000"/>
              <a:gd name="connsiteX63" fmla="*/ 2053 w 9930"/>
              <a:gd name="connsiteY63" fmla="*/ 6073 h 10000"/>
              <a:gd name="connsiteX64" fmla="*/ 2009 w 9930"/>
              <a:gd name="connsiteY64" fmla="*/ 6166 h 10000"/>
              <a:gd name="connsiteX65" fmla="*/ 1875 w 9930"/>
              <a:gd name="connsiteY65" fmla="*/ 6206 h 10000"/>
              <a:gd name="connsiteX66" fmla="*/ 1776 w 9930"/>
              <a:gd name="connsiteY66" fmla="*/ 6140 h 10000"/>
              <a:gd name="connsiteX67" fmla="*/ 1676 w 9930"/>
              <a:gd name="connsiteY67" fmla="*/ 6133 h 10000"/>
              <a:gd name="connsiteX68" fmla="*/ 1561 w 9930"/>
              <a:gd name="connsiteY68" fmla="*/ 6260 h 10000"/>
              <a:gd name="connsiteX69" fmla="*/ 1372 w 9930"/>
              <a:gd name="connsiteY69" fmla="*/ 6326 h 10000"/>
              <a:gd name="connsiteX70" fmla="*/ 1194 w 9930"/>
              <a:gd name="connsiteY70" fmla="*/ 6326 h 10000"/>
              <a:gd name="connsiteX71" fmla="*/ 1104 w 9930"/>
              <a:gd name="connsiteY71" fmla="*/ 6378 h 10000"/>
              <a:gd name="connsiteX72" fmla="*/ 995 w 9930"/>
              <a:gd name="connsiteY72" fmla="*/ 6372 h 10000"/>
              <a:gd name="connsiteX73" fmla="*/ 951 w 9930"/>
              <a:gd name="connsiteY73" fmla="*/ 6286 h 10000"/>
              <a:gd name="connsiteX74" fmla="*/ 799 w 9930"/>
              <a:gd name="connsiteY74" fmla="*/ 6293 h 10000"/>
              <a:gd name="connsiteX75" fmla="*/ 674 w 9930"/>
              <a:gd name="connsiteY75" fmla="*/ 6398 h 10000"/>
              <a:gd name="connsiteX76" fmla="*/ 728 w 9930"/>
              <a:gd name="connsiteY76" fmla="*/ 6492 h 10000"/>
              <a:gd name="connsiteX77" fmla="*/ 870 w 9930"/>
              <a:gd name="connsiteY77" fmla="*/ 6539 h 10000"/>
              <a:gd name="connsiteX78" fmla="*/ 915 w 9930"/>
              <a:gd name="connsiteY78" fmla="*/ 6704 h 10000"/>
              <a:gd name="connsiteX79" fmla="*/ 995 w 9930"/>
              <a:gd name="connsiteY79" fmla="*/ 6797 h 10000"/>
              <a:gd name="connsiteX80" fmla="*/ 995 w 9930"/>
              <a:gd name="connsiteY80" fmla="*/ 6977 h 10000"/>
              <a:gd name="connsiteX81" fmla="*/ 942 w 9930"/>
              <a:gd name="connsiteY81" fmla="*/ 7044 h 10000"/>
              <a:gd name="connsiteX82" fmla="*/ 825 w 9930"/>
              <a:gd name="connsiteY82" fmla="*/ 7029 h 10000"/>
              <a:gd name="connsiteX83" fmla="*/ 754 w 9930"/>
              <a:gd name="connsiteY83" fmla="*/ 6977 h 10000"/>
              <a:gd name="connsiteX84" fmla="*/ 700 w 9930"/>
              <a:gd name="connsiteY84" fmla="*/ 6804 h 10000"/>
              <a:gd name="connsiteX85" fmla="*/ 629 w 9930"/>
              <a:gd name="connsiteY85" fmla="*/ 6751 h 10000"/>
              <a:gd name="connsiteX86" fmla="*/ 432 w 9930"/>
              <a:gd name="connsiteY86" fmla="*/ 6751 h 10000"/>
              <a:gd name="connsiteX87" fmla="*/ 64 w 9930"/>
              <a:gd name="connsiteY87" fmla="*/ 6990 h 10000"/>
              <a:gd name="connsiteX88" fmla="*/ 1 w 9930"/>
              <a:gd name="connsiteY88" fmla="*/ 7156 h 10000"/>
              <a:gd name="connsiteX89" fmla="*/ 627 w 9930"/>
              <a:gd name="connsiteY89" fmla="*/ 6827 h 10000"/>
              <a:gd name="connsiteX90" fmla="*/ 577 w 9930"/>
              <a:gd name="connsiteY90" fmla="*/ 6788 h 10000"/>
              <a:gd name="connsiteX91" fmla="*/ 411 w 9930"/>
              <a:gd name="connsiteY91" fmla="*/ 6703 h 10000"/>
              <a:gd name="connsiteX92" fmla="*/ 840 w 9930"/>
              <a:gd name="connsiteY92" fmla="*/ 6929 h 10000"/>
              <a:gd name="connsiteX93" fmla="*/ 793 w 9930"/>
              <a:gd name="connsiteY93" fmla="*/ 6756 h 10000"/>
              <a:gd name="connsiteX94" fmla="*/ 820 w 9930"/>
              <a:gd name="connsiteY94" fmla="*/ 6947 h 10000"/>
              <a:gd name="connsiteX95" fmla="*/ 734 w 9930"/>
              <a:gd name="connsiteY95" fmla="*/ 6902 h 10000"/>
              <a:gd name="connsiteX96" fmla="*/ 888 w 9930"/>
              <a:gd name="connsiteY96" fmla="*/ 6943 h 10000"/>
              <a:gd name="connsiteX97" fmla="*/ 882 w 9930"/>
              <a:gd name="connsiteY97" fmla="*/ 6967 h 10000"/>
              <a:gd name="connsiteX98" fmla="*/ 895 w 9930"/>
              <a:gd name="connsiteY98" fmla="*/ 6941 h 10000"/>
              <a:gd name="connsiteX99" fmla="*/ 715 w 9930"/>
              <a:gd name="connsiteY99" fmla="*/ 6771 h 10000"/>
              <a:gd name="connsiteX100" fmla="*/ 919 w 9930"/>
              <a:gd name="connsiteY100" fmla="*/ 6966 h 10000"/>
              <a:gd name="connsiteX101" fmla="*/ 1353 w 9930"/>
              <a:gd name="connsiteY101" fmla="*/ 7070 h 10000"/>
              <a:gd name="connsiteX102" fmla="*/ 1279 w 9930"/>
              <a:gd name="connsiteY102" fmla="*/ 7300 h 10000"/>
              <a:gd name="connsiteX103" fmla="*/ 1580 w 9930"/>
              <a:gd name="connsiteY103" fmla="*/ 7135 h 10000"/>
              <a:gd name="connsiteX104" fmla="*/ 1508 w 9930"/>
              <a:gd name="connsiteY104" fmla="*/ 6997 h 10000"/>
              <a:gd name="connsiteX105" fmla="*/ 1975 w 9930"/>
              <a:gd name="connsiteY105" fmla="*/ 7174 h 10000"/>
              <a:gd name="connsiteX106" fmla="*/ 2254 w 9930"/>
              <a:gd name="connsiteY106" fmla="*/ 7290 h 10000"/>
              <a:gd name="connsiteX107" fmla="*/ 2516 w 9930"/>
              <a:gd name="connsiteY107" fmla="*/ 7583 h 10000"/>
              <a:gd name="connsiteX108" fmla="*/ 2696 w 9930"/>
              <a:gd name="connsiteY108" fmla="*/ 8108 h 10000"/>
              <a:gd name="connsiteX109" fmla="*/ 3377 w 9930"/>
              <a:gd name="connsiteY109" fmla="*/ 8563 h 10000"/>
              <a:gd name="connsiteX110" fmla="*/ 3425 w 9930"/>
              <a:gd name="connsiteY110" fmla="*/ 8917 h 10000"/>
              <a:gd name="connsiteX111" fmla="*/ 3684 w 9930"/>
              <a:gd name="connsiteY111" fmla="*/ 9290 h 10000"/>
              <a:gd name="connsiteX112" fmla="*/ 4132 w 9930"/>
              <a:gd name="connsiteY112" fmla="*/ 9429 h 10000"/>
              <a:gd name="connsiteX113" fmla="*/ 4652 w 9930"/>
              <a:gd name="connsiteY113" fmla="*/ 9934 h 10000"/>
              <a:gd name="connsiteX114" fmla="*/ 4750 w 9930"/>
              <a:gd name="connsiteY114" fmla="*/ 9994 h 10000"/>
              <a:gd name="connsiteX115" fmla="*/ 4920 w 9930"/>
              <a:gd name="connsiteY115" fmla="*/ 10000 h 10000"/>
              <a:gd name="connsiteX116" fmla="*/ 5083 w 9930"/>
              <a:gd name="connsiteY116" fmla="*/ 9908 h 10000"/>
              <a:gd name="connsiteX117" fmla="*/ 5118 w 9930"/>
              <a:gd name="connsiteY117" fmla="*/ 9615 h 10000"/>
              <a:gd name="connsiteX118" fmla="*/ 5853 w 9930"/>
              <a:gd name="connsiteY118" fmla="*/ 9442 h 10000"/>
              <a:gd name="connsiteX119" fmla="*/ 6005 w 9930"/>
              <a:gd name="connsiteY119" fmla="*/ 9463 h 10000"/>
              <a:gd name="connsiteX120" fmla="*/ 6274 w 9930"/>
              <a:gd name="connsiteY120" fmla="*/ 9688 h 10000"/>
              <a:gd name="connsiteX121" fmla="*/ 6391 w 9930"/>
              <a:gd name="connsiteY121" fmla="*/ 9676 h 10000"/>
              <a:gd name="connsiteX122" fmla="*/ 6400 w 9930"/>
              <a:gd name="connsiteY122" fmla="*/ 9542 h 10000"/>
              <a:gd name="connsiteX123" fmla="*/ 6731 w 9930"/>
              <a:gd name="connsiteY123" fmla="*/ 9382 h 10000"/>
              <a:gd name="connsiteX124" fmla="*/ 7439 w 9930"/>
              <a:gd name="connsiteY124" fmla="*/ 9475 h 10000"/>
              <a:gd name="connsiteX125" fmla="*/ 7591 w 9930"/>
              <a:gd name="connsiteY125" fmla="*/ 9336 h 10000"/>
              <a:gd name="connsiteX126" fmla="*/ 8245 w 9930"/>
              <a:gd name="connsiteY126" fmla="*/ 9415 h 10000"/>
              <a:gd name="connsiteX127" fmla="*/ 8712 w 9930"/>
              <a:gd name="connsiteY127" fmla="*/ 9355 h 10000"/>
              <a:gd name="connsiteX128" fmla="*/ 8980 w 9930"/>
              <a:gd name="connsiteY128" fmla="*/ 9442 h 10000"/>
              <a:gd name="connsiteX129" fmla="*/ 8954 w 9930"/>
              <a:gd name="connsiteY129" fmla="*/ 8665 h 10000"/>
              <a:gd name="connsiteX130" fmla="*/ 9455 w 9930"/>
              <a:gd name="connsiteY130" fmla="*/ 7828 h 10000"/>
              <a:gd name="connsiteX131" fmla="*/ 9930 w 9930"/>
              <a:gd name="connsiteY131" fmla="*/ 7449 h 10000"/>
              <a:gd name="connsiteX132" fmla="*/ 8864 w 9930"/>
              <a:gd name="connsiteY132" fmla="*/ 6465 h 10000"/>
              <a:gd name="connsiteX133" fmla="*/ 8845 w 9930"/>
              <a:gd name="connsiteY133" fmla="*/ 5117 h 10000"/>
              <a:gd name="connsiteX134" fmla="*/ 9544 w 9930"/>
              <a:gd name="connsiteY134" fmla="*/ 4857 h 10000"/>
              <a:gd name="connsiteX135" fmla="*/ 9142 w 9930"/>
              <a:gd name="connsiteY135" fmla="*/ 4791 h 10000"/>
              <a:gd name="connsiteX136" fmla="*/ 8774 w 9930"/>
              <a:gd name="connsiteY136" fmla="*/ 4286 h 10000"/>
              <a:gd name="connsiteX137" fmla="*/ 9195 w 9930"/>
              <a:gd name="connsiteY137" fmla="*/ 3941 h 10000"/>
              <a:gd name="connsiteX138" fmla="*/ 8882 w 9930"/>
              <a:gd name="connsiteY138" fmla="*/ 3595 h 10000"/>
              <a:gd name="connsiteX139" fmla="*/ 8407 w 9930"/>
              <a:gd name="connsiteY139" fmla="*/ 3893 h 10000"/>
              <a:gd name="connsiteX140" fmla="*/ 7188 w 9930"/>
              <a:gd name="connsiteY140" fmla="*/ 3595 h 10000"/>
              <a:gd name="connsiteX141" fmla="*/ 6542 w 9930"/>
              <a:gd name="connsiteY141" fmla="*/ 3230 h 10000"/>
              <a:gd name="connsiteX142" fmla="*/ 6373 w 9930"/>
              <a:gd name="connsiteY142" fmla="*/ 2465 h 10000"/>
              <a:gd name="connsiteX143" fmla="*/ 6032 w 9930"/>
              <a:gd name="connsiteY143" fmla="*/ 2306 h 10000"/>
              <a:gd name="connsiteX144" fmla="*/ 5575 w 9930"/>
              <a:gd name="connsiteY144" fmla="*/ 2233 h 10000"/>
              <a:gd name="connsiteX145" fmla="*/ 5199 w 9930"/>
              <a:gd name="connsiteY145" fmla="*/ 1821 h 10000"/>
              <a:gd name="connsiteX146" fmla="*/ 4759 w 9930"/>
              <a:gd name="connsiteY146" fmla="*/ 904 h 10000"/>
              <a:gd name="connsiteX147" fmla="*/ 4329 w 9930"/>
              <a:gd name="connsiteY147" fmla="*/ 525 h 10000"/>
              <a:gd name="connsiteX148" fmla="*/ 3523 w 9930"/>
              <a:gd name="connsiteY148" fmla="*/ 219 h 10000"/>
              <a:gd name="connsiteX149" fmla="*/ 3326 w 9930"/>
              <a:gd name="connsiteY149" fmla="*/ 0 h 10000"/>
              <a:gd name="connsiteX150" fmla="*/ 2833 w 9930"/>
              <a:gd name="connsiteY150" fmla="*/ 127 h 10000"/>
              <a:gd name="connsiteX151" fmla="*/ 2331 w 9930"/>
              <a:gd name="connsiteY151" fmla="*/ 147 h 10000"/>
              <a:gd name="connsiteX152" fmla="*/ 1676 w 9930"/>
              <a:gd name="connsiteY152" fmla="*/ 459 h 10000"/>
              <a:gd name="connsiteX153" fmla="*/ 1086 w 9930"/>
              <a:gd name="connsiteY153" fmla="*/ 472 h 10000"/>
              <a:gd name="connsiteX154" fmla="*/ 807 w 9930"/>
              <a:gd name="connsiteY154" fmla="*/ 631 h 10000"/>
              <a:gd name="connsiteX155" fmla="*/ 234 w 9930"/>
              <a:gd name="connsiteY155" fmla="*/ 672 h 10000"/>
              <a:gd name="connsiteX0" fmla="*/ 173 w 9937"/>
              <a:gd name="connsiteY0" fmla="*/ 672 h 10000"/>
              <a:gd name="connsiteX1" fmla="*/ 489 w 9937"/>
              <a:gd name="connsiteY1" fmla="*/ 898 h 10000"/>
              <a:gd name="connsiteX2" fmla="*/ 507 w 9937"/>
              <a:gd name="connsiteY2" fmla="*/ 1003 h 10000"/>
              <a:gd name="connsiteX3" fmla="*/ 445 w 9937"/>
              <a:gd name="connsiteY3" fmla="*/ 1070 h 10000"/>
              <a:gd name="connsiteX4" fmla="*/ 543 w 9937"/>
              <a:gd name="connsiteY4" fmla="*/ 1143 h 10000"/>
              <a:gd name="connsiteX5" fmla="*/ 552 w 9937"/>
              <a:gd name="connsiteY5" fmla="*/ 1243 h 10000"/>
              <a:gd name="connsiteX6" fmla="*/ 435 w 9937"/>
              <a:gd name="connsiteY6" fmla="*/ 1363 h 10000"/>
              <a:gd name="connsiteX7" fmla="*/ 453 w 9937"/>
              <a:gd name="connsiteY7" fmla="*/ 1442 h 10000"/>
              <a:gd name="connsiteX8" fmla="*/ 589 w 9937"/>
              <a:gd name="connsiteY8" fmla="*/ 1495 h 10000"/>
              <a:gd name="connsiteX9" fmla="*/ 678 w 9937"/>
              <a:gd name="connsiteY9" fmla="*/ 1428 h 10000"/>
              <a:gd name="connsiteX10" fmla="*/ 760 w 9937"/>
              <a:gd name="connsiteY10" fmla="*/ 1428 h 10000"/>
              <a:gd name="connsiteX11" fmla="*/ 886 w 9937"/>
              <a:gd name="connsiteY11" fmla="*/ 1501 h 10000"/>
              <a:gd name="connsiteX12" fmla="*/ 886 w 9937"/>
              <a:gd name="connsiteY12" fmla="*/ 1548 h 10000"/>
              <a:gd name="connsiteX13" fmla="*/ 805 w 9937"/>
              <a:gd name="connsiteY13" fmla="*/ 1595 h 10000"/>
              <a:gd name="connsiteX14" fmla="*/ 724 w 9937"/>
              <a:gd name="connsiteY14" fmla="*/ 1595 h 10000"/>
              <a:gd name="connsiteX15" fmla="*/ 687 w 9937"/>
              <a:gd name="connsiteY15" fmla="*/ 1675 h 10000"/>
              <a:gd name="connsiteX16" fmla="*/ 742 w 9937"/>
              <a:gd name="connsiteY16" fmla="*/ 1734 h 10000"/>
              <a:gd name="connsiteX17" fmla="*/ 678 w 9937"/>
              <a:gd name="connsiteY17" fmla="*/ 1881 h 10000"/>
              <a:gd name="connsiteX18" fmla="*/ 742 w 9937"/>
              <a:gd name="connsiteY18" fmla="*/ 1933 h 10000"/>
              <a:gd name="connsiteX19" fmla="*/ 903 w 9937"/>
              <a:gd name="connsiteY19" fmla="*/ 1933 h 10000"/>
              <a:gd name="connsiteX20" fmla="*/ 1093 w 9937"/>
              <a:gd name="connsiteY20" fmla="*/ 2080 h 10000"/>
              <a:gd name="connsiteX21" fmla="*/ 1282 w 9937"/>
              <a:gd name="connsiteY21" fmla="*/ 2067 h 10000"/>
              <a:gd name="connsiteX22" fmla="*/ 1435 w 9937"/>
              <a:gd name="connsiteY22" fmla="*/ 2125 h 10000"/>
              <a:gd name="connsiteX23" fmla="*/ 1617 w 9937"/>
              <a:gd name="connsiteY23" fmla="*/ 2119 h 10000"/>
              <a:gd name="connsiteX24" fmla="*/ 1707 w 9937"/>
              <a:gd name="connsiteY24" fmla="*/ 2153 h 10000"/>
              <a:gd name="connsiteX25" fmla="*/ 1726 w 9937"/>
              <a:gd name="connsiteY25" fmla="*/ 2219 h 10000"/>
              <a:gd name="connsiteX26" fmla="*/ 1571 w 9937"/>
              <a:gd name="connsiteY26" fmla="*/ 2278 h 10000"/>
              <a:gd name="connsiteX27" fmla="*/ 1256 w 9937"/>
              <a:gd name="connsiteY27" fmla="*/ 2227 h 10000"/>
              <a:gd name="connsiteX28" fmla="*/ 1167 w 9937"/>
              <a:gd name="connsiteY28" fmla="*/ 2239 h 10000"/>
              <a:gd name="connsiteX29" fmla="*/ 1111 w 9937"/>
              <a:gd name="connsiteY29" fmla="*/ 2386 h 10000"/>
              <a:gd name="connsiteX30" fmla="*/ 1013 w 9937"/>
              <a:gd name="connsiteY30" fmla="*/ 2479 h 10000"/>
              <a:gd name="connsiteX31" fmla="*/ 1067 w 9937"/>
              <a:gd name="connsiteY31" fmla="*/ 2771 h 10000"/>
              <a:gd name="connsiteX32" fmla="*/ 1157 w 9937"/>
              <a:gd name="connsiteY32" fmla="*/ 2817 h 10000"/>
              <a:gd name="connsiteX33" fmla="*/ 1103 w 9937"/>
              <a:gd name="connsiteY33" fmla="*/ 2963 h 10000"/>
              <a:gd name="connsiteX34" fmla="*/ 1607 w 9937"/>
              <a:gd name="connsiteY34" fmla="*/ 2998 h 10000"/>
              <a:gd name="connsiteX35" fmla="*/ 1707 w 9937"/>
              <a:gd name="connsiteY35" fmla="*/ 3091 h 10000"/>
              <a:gd name="connsiteX36" fmla="*/ 1635 w 9937"/>
              <a:gd name="connsiteY36" fmla="*/ 3196 h 10000"/>
              <a:gd name="connsiteX37" fmla="*/ 1635 w 9937"/>
              <a:gd name="connsiteY37" fmla="*/ 3329 h 10000"/>
              <a:gd name="connsiteX38" fmla="*/ 1220 w 9937"/>
              <a:gd name="connsiteY38" fmla="*/ 3887 h 10000"/>
              <a:gd name="connsiteX39" fmla="*/ 1121 w 9937"/>
              <a:gd name="connsiteY39" fmla="*/ 3927 h 10000"/>
              <a:gd name="connsiteX40" fmla="*/ 1121 w 9937"/>
              <a:gd name="connsiteY40" fmla="*/ 4020 h 10000"/>
              <a:gd name="connsiteX41" fmla="*/ 1185 w 9937"/>
              <a:gd name="connsiteY41" fmla="*/ 4087 h 10000"/>
              <a:gd name="connsiteX42" fmla="*/ 1040 w 9937"/>
              <a:gd name="connsiteY42" fmla="*/ 4247 h 10000"/>
              <a:gd name="connsiteX43" fmla="*/ 1121 w 9937"/>
              <a:gd name="connsiteY43" fmla="*/ 4451 h 10000"/>
              <a:gd name="connsiteX44" fmla="*/ 1264 w 9937"/>
              <a:gd name="connsiteY44" fmla="*/ 4479 h 10000"/>
              <a:gd name="connsiteX45" fmla="*/ 1373 w 9937"/>
              <a:gd name="connsiteY45" fmla="*/ 4538 h 10000"/>
              <a:gd name="connsiteX46" fmla="*/ 1535 w 9937"/>
              <a:gd name="connsiteY46" fmla="*/ 4511 h 10000"/>
              <a:gd name="connsiteX47" fmla="*/ 1607 w 9937"/>
              <a:gd name="connsiteY47" fmla="*/ 4604 h 10000"/>
              <a:gd name="connsiteX48" fmla="*/ 1643 w 9937"/>
              <a:gd name="connsiteY48" fmla="*/ 4712 h 10000"/>
              <a:gd name="connsiteX49" fmla="*/ 1815 w 9937"/>
              <a:gd name="connsiteY49" fmla="*/ 4844 h 10000"/>
              <a:gd name="connsiteX50" fmla="*/ 1933 w 9937"/>
              <a:gd name="connsiteY50" fmla="*/ 4831 h 10000"/>
              <a:gd name="connsiteX51" fmla="*/ 1978 w 9937"/>
              <a:gd name="connsiteY51" fmla="*/ 4865 h 10000"/>
              <a:gd name="connsiteX52" fmla="*/ 1968 w 9937"/>
              <a:gd name="connsiteY52" fmla="*/ 4944 h 10000"/>
              <a:gd name="connsiteX53" fmla="*/ 2139 w 9937"/>
              <a:gd name="connsiteY53" fmla="*/ 5024 h 10000"/>
              <a:gd name="connsiteX54" fmla="*/ 2248 w 9937"/>
              <a:gd name="connsiteY54" fmla="*/ 5043 h 10000"/>
              <a:gd name="connsiteX55" fmla="*/ 2266 w 9937"/>
              <a:gd name="connsiteY55" fmla="*/ 5150 h 10000"/>
              <a:gd name="connsiteX56" fmla="*/ 2086 w 9937"/>
              <a:gd name="connsiteY56" fmla="*/ 5282 h 10000"/>
              <a:gd name="connsiteX57" fmla="*/ 1753 w 9937"/>
              <a:gd name="connsiteY57" fmla="*/ 5289 h 10000"/>
              <a:gd name="connsiteX58" fmla="*/ 1535 w 9937"/>
              <a:gd name="connsiteY58" fmla="*/ 5190 h 10000"/>
              <a:gd name="connsiteX59" fmla="*/ 1418 w 9937"/>
              <a:gd name="connsiteY59" fmla="*/ 5190 h 10000"/>
              <a:gd name="connsiteX60" fmla="*/ 1373 w 9937"/>
              <a:gd name="connsiteY60" fmla="*/ 5229 h 10000"/>
              <a:gd name="connsiteX61" fmla="*/ 1950 w 9937"/>
              <a:gd name="connsiteY61" fmla="*/ 5801 h 10000"/>
              <a:gd name="connsiteX62" fmla="*/ 2032 w 9937"/>
              <a:gd name="connsiteY62" fmla="*/ 5834 h 10000"/>
              <a:gd name="connsiteX63" fmla="*/ 2004 w 9937"/>
              <a:gd name="connsiteY63" fmla="*/ 6073 h 10000"/>
              <a:gd name="connsiteX64" fmla="*/ 1960 w 9937"/>
              <a:gd name="connsiteY64" fmla="*/ 6166 h 10000"/>
              <a:gd name="connsiteX65" fmla="*/ 1825 w 9937"/>
              <a:gd name="connsiteY65" fmla="*/ 6206 h 10000"/>
              <a:gd name="connsiteX66" fmla="*/ 1726 w 9937"/>
              <a:gd name="connsiteY66" fmla="*/ 6140 h 10000"/>
              <a:gd name="connsiteX67" fmla="*/ 1625 w 9937"/>
              <a:gd name="connsiteY67" fmla="*/ 6133 h 10000"/>
              <a:gd name="connsiteX68" fmla="*/ 1509 w 9937"/>
              <a:gd name="connsiteY68" fmla="*/ 6260 h 10000"/>
              <a:gd name="connsiteX69" fmla="*/ 1319 w 9937"/>
              <a:gd name="connsiteY69" fmla="*/ 6326 h 10000"/>
              <a:gd name="connsiteX70" fmla="*/ 1139 w 9937"/>
              <a:gd name="connsiteY70" fmla="*/ 6326 h 10000"/>
              <a:gd name="connsiteX71" fmla="*/ 1049 w 9937"/>
              <a:gd name="connsiteY71" fmla="*/ 6378 h 10000"/>
              <a:gd name="connsiteX72" fmla="*/ 939 w 9937"/>
              <a:gd name="connsiteY72" fmla="*/ 6372 h 10000"/>
              <a:gd name="connsiteX73" fmla="*/ 895 w 9937"/>
              <a:gd name="connsiteY73" fmla="*/ 6286 h 10000"/>
              <a:gd name="connsiteX74" fmla="*/ 742 w 9937"/>
              <a:gd name="connsiteY74" fmla="*/ 6293 h 10000"/>
              <a:gd name="connsiteX75" fmla="*/ 616 w 9937"/>
              <a:gd name="connsiteY75" fmla="*/ 6398 h 10000"/>
              <a:gd name="connsiteX76" fmla="*/ 670 w 9937"/>
              <a:gd name="connsiteY76" fmla="*/ 6492 h 10000"/>
              <a:gd name="connsiteX77" fmla="*/ 813 w 9937"/>
              <a:gd name="connsiteY77" fmla="*/ 6539 h 10000"/>
              <a:gd name="connsiteX78" fmla="*/ 858 w 9937"/>
              <a:gd name="connsiteY78" fmla="*/ 6704 h 10000"/>
              <a:gd name="connsiteX79" fmla="*/ 939 w 9937"/>
              <a:gd name="connsiteY79" fmla="*/ 6797 h 10000"/>
              <a:gd name="connsiteX80" fmla="*/ 939 w 9937"/>
              <a:gd name="connsiteY80" fmla="*/ 6977 h 10000"/>
              <a:gd name="connsiteX81" fmla="*/ 886 w 9937"/>
              <a:gd name="connsiteY81" fmla="*/ 7044 h 10000"/>
              <a:gd name="connsiteX82" fmla="*/ 768 w 9937"/>
              <a:gd name="connsiteY82" fmla="*/ 7029 h 10000"/>
              <a:gd name="connsiteX83" fmla="*/ 696 w 9937"/>
              <a:gd name="connsiteY83" fmla="*/ 6977 h 10000"/>
              <a:gd name="connsiteX84" fmla="*/ 642 w 9937"/>
              <a:gd name="connsiteY84" fmla="*/ 6804 h 10000"/>
              <a:gd name="connsiteX85" fmla="*/ 570 w 9937"/>
              <a:gd name="connsiteY85" fmla="*/ 6751 h 10000"/>
              <a:gd name="connsiteX86" fmla="*/ 372 w 9937"/>
              <a:gd name="connsiteY86" fmla="*/ 6751 h 10000"/>
              <a:gd name="connsiteX87" fmla="*/ 1 w 9937"/>
              <a:gd name="connsiteY87" fmla="*/ 6990 h 10000"/>
              <a:gd name="connsiteX88" fmla="*/ 511 w 9937"/>
              <a:gd name="connsiteY88" fmla="*/ 6749 h 10000"/>
              <a:gd name="connsiteX89" fmla="*/ 568 w 9937"/>
              <a:gd name="connsiteY89" fmla="*/ 6827 h 10000"/>
              <a:gd name="connsiteX90" fmla="*/ 518 w 9937"/>
              <a:gd name="connsiteY90" fmla="*/ 6788 h 10000"/>
              <a:gd name="connsiteX91" fmla="*/ 351 w 9937"/>
              <a:gd name="connsiteY91" fmla="*/ 6703 h 10000"/>
              <a:gd name="connsiteX92" fmla="*/ 783 w 9937"/>
              <a:gd name="connsiteY92" fmla="*/ 6929 h 10000"/>
              <a:gd name="connsiteX93" fmla="*/ 736 w 9937"/>
              <a:gd name="connsiteY93" fmla="*/ 6756 h 10000"/>
              <a:gd name="connsiteX94" fmla="*/ 763 w 9937"/>
              <a:gd name="connsiteY94" fmla="*/ 6947 h 10000"/>
              <a:gd name="connsiteX95" fmla="*/ 676 w 9937"/>
              <a:gd name="connsiteY95" fmla="*/ 6902 h 10000"/>
              <a:gd name="connsiteX96" fmla="*/ 831 w 9937"/>
              <a:gd name="connsiteY96" fmla="*/ 6943 h 10000"/>
              <a:gd name="connsiteX97" fmla="*/ 825 w 9937"/>
              <a:gd name="connsiteY97" fmla="*/ 6967 h 10000"/>
              <a:gd name="connsiteX98" fmla="*/ 838 w 9937"/>
              <a:gd name="connsiteY98" fmla="*/ 6941 h 10000"/>
              <a:gd name="connsiteX99" fmla="*/ 657 w 9937"/>
              <a:gd name="connsiteY99" fmla="*/ 6771 h 10000"/>
              <a:gd name="connsiteX100" fmla="*/ 862 w 9937"/>
              <a:gd name="connsiteY100" fmla="*/ 6966 h 10000"/>
              <a:gd name="connsiteX101" fmla="*/ 1300 w 9937"/>
              <a:gd name="connsiteY101" fmla="*/ 7070 h 10000"/>
              <a:gd name="connsiteX102" fmla="*/ 1225 w 9937"/>
              <a:gd name="connsiteY102" fmla="*/ 7300 h 10000"/>
              <a:gd name="connsiteX103" fmla="*/ 1528 w 9937"/>
              <a:gd name="connsiteY103" fmla="*/ 7135 h 10000"/>
              <a:gd name="connsiteX104" fmla="*/ 1456 w 9937"/>
              <a:gd name="connsiteY104" fmla="*/ 6997 h 10000"/>
              <a:gd name="connsiteX105" fmla="*/ 1926 w 9937"/>
              <a:gd name="connsiteY105" fmla="*/ 7174 h 10000"/>
              <a:gd name="connsiteX106" fmla="*/ 2207 w 9937"/>
              <a:gd name="connsiteY106" fmla="*/ 7290 h 10000"/>
              <a:gd name="connsiteX107" fmla="*/ 2471 w 9937"/>
              <a:gd name="connsiteY107" fmla="*/ 7583 h 10000"/>
              <a:gd name="connsiteX108" fmla="*/ 2652 w 9937"/>
              <a:gd name="connsiteY108" fmla="*/ 8108 h 10000"/>
              <a:gd name="connsiteX109" fmla="*/ 3338 w 9937"/>
              <a:gd name="connsiteY109" fmla="*/ 8563 h 10000"/>
              <a:gd name="connsiteX110" fmla="*/ 3386 w 9937"/>
              <a:gd name="connsiteY110" fmla="*/ 8917 h 10000"/>
              <a:gd name="connsiteX111" fmla="*/ 3647 w 9937"/>
              <a:gd name="connsiteY111" fmla="*/ 9290 h 10000"/>
              <a:gd name="connsiteX112" fmla="*/ 4098 w 9937"/>
              <a:gd name="connsiteY112" fmla="*/ 9429 h 10000"/>
              <a:gd name="connsiteX113" fmla="*/ 4622 w 9937"/>
              <a:gd name="connsiteY113" fmla="*/ 9934 h 10000"/>
              <a:gd name="connsiteX114" fmla="*/ 4720 w 9937"/>
              <a:gd name="connsiteY114" fmla="*/ 9994 h 10000"/>
              <a:gd name="connsiteX115" fmla="*/ 4892 w 9937"/>
              <a:gd name="connsiteY115" fmla="*/ 10000 h 10000"/>
              <a:gd name="connsiteX116" fmla="*/ 5056 w 9937"/>
              <a:gd name="connsiteY116" fmla="*/ 9908 h 10000"/>
              <a:gd name="connsiteX117" fmla="*/ 5091 w 9937"/>
              <a:gd name="connsiteY117" fmla="*/ 9615 h 10000"/>
              <a:gd name="connsiteX118" fmla="*/ 5831 w 9937"/>
              <a:gd name="connsiteY118" fmla="*/ 9442 h 10000"/>
              <a:gd name="connsiteX119" fmla="*/ 5984 w 9937"/>
              <a:gd name="connsiteY119" fmla="*/ 9463 h 10000"/>
              <a:gd name="connsiteX120" fmla="*/ 6255 w 9937"/>
              <a:gd name="connsiteY120" fmla="*/ 9688 h 10000"/>
              <a:gd name="connsiteX121" fmla="*/ 6373 w 9937"/>
              <a:gd name="connsiteY121" fmla="*/ 9676 h 10000"/>
              <a:gd name="connsiteX122" fmla="*/ 6382 w 9937"/>
              <a:gd name="connsiteY122" fmla="*/ 9542 h 10000"/>
              <a:gd name="connsiteX123" fmla="*/ 6715 w 9937"/>
              <a:gd name="connsiteY123" fmla="*/ 9382 h 10000"/>
              <a:gd name="connsiteX124" fmla="*/ 7428 w 9937"/>
              <a:gd name="connsiteY124" fmla="*/ 9475 h 10000"/>
              <a:gd name="connsiteX125" fmla="*/ 7582 w 9937"/>
              <a:gd name="connsiteY125" fmla="*/ 9336 h 10000"/>
              <a:gd name="connsiteX126" fmla="*/ 8240 w 9937"/>
              <a:gd name="connsiteY126" fmla="*/ 9415 h 10000"/>
              <a:gd name="connsiteX127" fmla="*/ 8710 w 9937"/>
              <a:gd name="connsiteY127" fmla="*/ 9355 h 10000"/>
              <a:gd name="connsiteX128" fmla="*/ 8980 w 9937"/>
              <a:gd name="connsiteY128" fmla="*/ 9442 h 10000"/>
              <a:gd name="connsiteX129" fmla="*/ 8954 w 9937"/>
              <a:gd name="connsiteY129" fmla="*/ 8665 h 10000"/>
              <a:gd name="connsiteX130" fmla="*/ 9459 w 9937"/>
              <a:gd name="connsiteY130" fmla="*/ 7828 h 10000"/>
              <a:gd name="connsiteX131" fmla="*/ 9937 w 9937"/>
              <a:gd name="connsiteY131" fmla="*/ 7449 h 10000"/>
              <a:gd name="connsiteX132" fmla="*/ 8863 w 9937"/>
              <a:gd name="connsiteY132" fmla="*/ 6465 h 10000"/>
              <a:gd name="connsiteX133" fmla="*/ 8844 w 9937"/>
              <a:gd name="connsiteY133" fmla="*/ 5117 h 10000"/>
              <a:gd name="connsiteX134" fmla="*/ 9548 w 9937"/>
              <a:gd name="connsiteY134" fmla="*/ 4857 h 10000"/>
              <a:gd name="connsiteX135" fmla="*/ 9143 w 9937"/>
              <a:gd name="connsiteY135" fmla="*/ 4791 h 10000"/>
              <a:gd name="connsiteX136" fmla="*/ 8773 w 9937"/>
              <a:gd name="connsiteY136" fmla="*/ 4286 h 10000"/>
              <a:gd name="connsiteX137" fmla="*/ 9197 w 9937"/>
              <a:gd name="connsiteY137" fmla="*/ 3941 h 10000"/>
              <a:gd name="connsiteX138" fmla="*/ 8882 w 9937"/>
              <a:gd name="connsiteY138" fmla="*/ 3595 h 10000"/>
              <a:gd name="connsiteX139" fmla="*/ 8403 w 9937"/>
              <a:gd name="connsiteY139" fmla="*/ 3893 h 10000"/>
              <a:gd name="connsiteX140" fmla="*/ 7176 w 9937"/>
              <a:gd name="connsiteY140" fmla="*/ 3595 h 10000"/>
              <a:gd name="connsiteX141" fmla="*/ 6525 w 9937"/>
              <a:gd name="connsiteY141" fmla="*/ 3230 h 10000"/>
              <a:gd name="connsiteX142" fmla="*/ 6355 w 9937"/>
              <a:gd name="connsiteY142" fmla="*/ 2465 h 10000"/>
              <a:gd name="connsiteX143" fmla="*/ 6012 w 9937"/>
              <a:gd name="connsiteY143" fmla="*/ 2306 h 10000"/>
              <a:gd name="connsiteX144" fmla="*/ 5551 w 9937"/>
              <a:gd name="connsiteY144" fmla="*/ 2233 h 10000"/>
              <a:gd name="connsiteX145" fmla="*/ 5173 w 9937"/>
              <a:gd name="connsiteY145" fmla="*/ 1821 h 10000"/>
              <a:gd name="connsiteX146" fmla="*/ 4730 w 9937"/>
              <a:gd name="connsiteY146" fmla="*/ 904 h 10000"/>
              <a:gd name="connsiteX147" fmla="*/ 4297 w 9937"/>
              <a:gd name="connsiteY147" fmla="*/ 525 h 10000"/>
              <a:gd name="connsiteX148" fmla="*/ 3485 w 9937"/>
              <a:gd name="connsiteY148" fmla="*/ 219 h 10000"/>
              <a:gd name="connsiteX149" fmla="*/ 3286 w 9937"/>
              <a:gd name="connsiteY149" fmla="*/ 0 h 10000"/>
              <a:gd name="connsiteX150" fmla="*/ 2790 w 9937"/>
              <a:gd name="connsiteY150" fmla="*/ 127 h 10000"/>
              <a:gd name="connsiteX151" fmla="*/ 2284 w 9937"/>
              <a:gd name="connsiteY151" fmla="*/ 147 h 10000"/>
              <a:gd name="connsiteX152" fmla="*/ 1625 w 9937"/>
              <a:gd name="connsiteY152" fmla="*/ 459 h 10000"/>
              <a:gd name="connsiteX153" fmla="*/ 1031 w 9937"/>
              <a:gd name="connsiteY153" fmla="*/ 472 h 10000"/>
              <a:gd name="connsiteX154" fmla="*/ 750 w 9937"/>
              <a:gd name="connsiteY154" fmla="*/ 631 h 10000"/>
              <a:gd name="connsiteX155" fmla="*/ 173 w 9937"/>
              <a:gd name="connsiteY155" fmla="*/ 672 h 10000"/>
              <a:gd name="connsiteX0" fmla="*/ 0 w 9826"/>
              <a:gd name="connsiteY0" fmla="*/ 672 h 10000"/>
              <a:gd name="connsiteX1" fmla="*/ 318 w 9826"/>
              <a:gd name="connsiteY1" fmla="*/ 898 h 10000"/>
              <a:gd name="connsiteX2" fmla="*/ 336 w 9826"/>
              <a:gd name="connsiteY2" fmla="*/ 1003 h 10000"/>
              <a:gd name="connsiteX3" fmla="*/ 274 w 9826"/>
              <a:gd name="connsiteY3" fmla="*/ 1070 h 10000"/>
              <a:gd name="connsiteX4" fmla="*/ 372 w 9826"/>
              <a:gd name="connsiteY4" fmla="*/ 1143 h 10000"/>
              <a:gd name="connsiteX5" fmla="*/ 381 w 9826"/>
              <a:gd name="connsiteY5" fmla="*/ 1243 h 10000"/>
              <a:gd name="connsiteX6" fmla="*/ 264 w 9826"/>
              <a:gd name="connsiteY6" fmla="*/ 1363 h 10000"/>
              <a:gd name="connsiteX7" fmla="*/ 282 w 9826"/>
              <a:gd name="connsiteY7" fmla="*/ 1442 h 10000"/>
              <a:gd name="connsiteX8" fmla="*/ 419 w 9826"/>
              <a:gd name="connsiteY8" fmla="*/ 1495 h 10000"/>
              <a:gd name="connsiteX9" fmla="*/ 508 w 9826"/>
              <a:gd name="connsiteY9" fmla="*/ 1428 h 10000"/>
              <a:gd name="connsiteX10" fmla="*/ 591 w 9826"/>
              <a:gd name="connsiteY10" fmla="*/ 1428 h 10000"/>
              <a:gd name="connsiteX11" fmla="*/ 718 w 9826"/>
              <a:gd name="connsiteY11" fmla="*/ 1501 h 10000"/>
              <a:gd name="connsiteX12" fmla="*/ 718 w 9826"/>
              <a:gd name="connsiteY12" fmla="*/ 1548 h 10000"/>
              <a:gd name="connsiteX13" fmla="*/ 636 w 9826"/>
              <a:gd name="connsiteY13" fmla="*/ 1595 h 10000"/>
              <a:gd name="connsiteX14" fmla="*/ 555 w 9826"/>
              <a:gd name="connsiteY14" fmla="*/ 1595 h 10000"/>
              <a:gd name="connsiteX15" fmla="*/ 517 w 9826"/>
              <a:gd name="connsiteY15" fmla="*/ 1675 h 10000"/>
              <a:gd name="connsiteX16" fmla="*/ 573 w 9826"/>
              <a:gd name="connsiteY16" fmla="*/ 1734 h 10000"/>
              <a:gd name="connsiteX17" fmla="*/ 508 w 9826"/>
              <a:gd name="connsiteY17" fmla="*/ 1881 h 10000"/>
              <a:gd name="connsiteX18" fmla="*/ 573 w 9826"/>
              <a:gd name="connsiteY18" fmla="*/ 1933 h 10000"/>
              <a:gd name="connsiteX19" fmla="*/ 735 w 9826"/>
              <a:gd name="connsiteY19" fmla="*/ 1933 h 10000"/>
              <a:gd name="connsiteX20" fmla="*/ 926 w 9826"/>
              <a:gd name="connsiteY20" fmla="*/ 2080 h 10000"/>
              <a:gd name="connsiteX21" fmla="*/ 1116 w 9826"/>
              <a:gd name="connsiteY21" fmla="*/ 2067 h 10000"/>
              <a:gd name="connsiteX22" fmla="*/ 1270 w 9826"/>
              <a:gd name="connsiteY22" fmla="*/ 2125 h 10000"/>
              <a:gd name="connsiteX23" fmla="*/ 1453 w 9826"/>
              <a:gd name="connsiteY23" fmla="*/ 2119 h 10000"/>
              <a:gd name="connsiteX24" fmla="*/ 1544 w 9826"/>
              <a:gd name="connsiteY24" fmla="*/ 2153 h 10000"/>
              <a:gd name="connsiteX25" fmla="*/ 1563 w 9826"/>
              <a:gd name="connsiteY25" fmla="*/ 2219 h 10000"/>
              <a:gd name="connsiteX26" fmla="*/ 1407 w 9826"/>
              <a:gd name="connsiteY26" fmla="*/ 2278 h 10000"/>
              <a:gd name="connsiteX27" fmla="*/ 1090 w 9826"/>
              <a:gd name="connsiteY27" fmla="*/ 2227 h 10000"/>
              <a:gd name="connsiteX28" fmla="*/ 1000 w 9826"/>
              <a:gd name="connsiteY28" fmla="*/ 2239 h 10000"/>
              <a:gd name="connsiteX29" fmla="*/ 944 w 9826"/>
              <a:gd name="connsiteY29" fmla="*/ 2386 h 10000"/>
              <a:gd name="connsiteX30" fmla="*/ 845 w 9826"/>
              <a:gd name="connsiteY30" fmla="*/ 2479 h 10000"/>
              <a:gd name="connsiteX31" fmla="*/ 900 w 9826"/>
              <a:gd name="connsiteY31" fmla="*/ 2771 h 10000"/>
              <a:gd name="connsiteX32" fmla="*/ 990 w 9826"/>
              <a:gd name="connsiteY32" fmla="*/ 2817 h 10000"/>
              <a:gd name="connsiteX33" fmla="*/ 936 w 9826"/>
              <a:gd name="connsiteY33" fmla="*/ 2963 h 10000"/>
              <a:gd name="connsiteX34" fmla="*/ 1443 w 9826"/>
              <a:gd name="connsiteY34" fmla="*/ 2998 h 10000"/>
              <a:gd name="connsiteX35" fmla="*/ 1544 w 9826"/>
              <a:gd name="connsiteY35" fmla="*/ 3091 h 10000"/>
              <a:gd name="connsiteX36" fmla="*/ 1471 w 9826"/>
              <a:gd name="connsiteY36" fmla="*/ 3196 h 10000"/>
              <a:gd name="connsiteX37" fmla="*/ 1471 w 9826"/>
              <a:gd name="connsiteY37" fmla="*/ 3329 h 10000"/>
              <a:gd name="connsiteX38" fmla="*/ 1054 w 9826"/>
              <a:gd name="connsiteY38" fmla="*/ 3887 h 10000"/>
              <a:gd name="connsiteX39" fmla="*/ 954 w 9826"/>
              <a:gd name="connsiteY39" fmla="*/ 3927 h 10000"/>
              <a:gd name="connsiteX40" fmla="*/ 954 w 9826"/>
              <a:gd name="connsiteY40" fmla="*/ 4020 h 10000"/>
              <a:gd name="connsiteX41" fmla="*/ 1019 w 9826"/>
              <a:gd name="connsiteY41" fmla="*/ 4087 h 10000"/>
              <a:gd name="connsiteX42" fmla="*/ 873 w 9826"/>
              <a:gd name="connsiteY42" fmla="*/ 4247 h 10000"/>
              <a:gd name="connsiteX43" fmla="*/ 954 w 9826"/>
              <a:gd name="connsiteY43" fmla="*/ 4451 h 10000"/>
              <a:gd name="connsiteX44" fmla="*/ 1098 w 9826"/>
              <a:gd name="connsiteY44" fmla="*/ 4479 h 10000"/>
              <a:gd name="connsiteX45" fmla="*/ 1208 w 9826"/>
              <a:gd name="connsiteY45" fmla="*/ 4538 h 10000"/>
              <a:gd name="connsiteX46" fmla="*/ 1371 w 9826"/>
              <a:gd name="connsiteY46" fmla="*/ 4511 h 10000"/>
              <a:gd name="connsiteX47" fmla="*/ 1443 w 9826"/>
              <a:gd name="connsiteY47" fmla="*/ 4604 h 10000"/>
              <a:gd name="connsiteX48" fmla="*/ 1479 w 9826"/>
              <a:gd name="connsiteY48" fmla="*/ 4712 h 10000"/>
              <a:gd name="connsiteX49" fmla="*/ 1653 w 9826"/>
              <a:gd name="connsiteY49" fmla="*/ 4844 h 10000"/>
              <a:gd name="connsiteX50" fmla="*/ 1771 w 9826"/>
              <a:gd name="connsiteY50" fmla="*/ 4831 h 10000"/>
              <a:gd name="connsiteX51" fmla="*/ 1817 w 9826"/>
              <a:gd name="connsiteY51" fmla="*/ 4865 h 10000"/>
              <a:gd name="connsiteX52" fmla="*/ 1806 w 9826"/>
              <a:gd name="connsiteY52" fmla="*/ 4944 h 10000"/>
              <a:gd name="connsiteX53" fmla="*/ 1979 w 9826"/>
              <a:gd name="connsiteY53" fmla="*/ 5024 h 10000"/>
              <a:gd name="connsiteX54" fmla="*/ 2088 w 9826"/>
              <a:gd name="connsiteY54" fmla="*/ 5043 h 10000"/>
              <a:gd name="connsiteX55" fmla="*/ 2106 w 9826"/>
              <a:gd name="connsiteY55" fmla="*/ 5150 h 10000"/>
              <a:gd name="connsiteX56" fmla="*/ 1925 w 9826"/>
              <a:gd name="connsiteY56" fmla="*/ 5282 h 10000"/>
              <a:gd name="connsiteX57" fmla="*/ 1590 w 9826"/>
              <a:gd name="connsiteY57" fmla="*/ 5289 h 10000"/>
              <a:gd name="connsiteX58" fmla="*/ 1371 w 9826"/>
              <a:gd name="connsiteY58" fmla="*/ 5190 h 10000"/>
              <a:gd name="connsiteX59" fmla="*/ 1253 w 9826"/>
              <a:gd name="connsiteY59" fmla="*/ 5190 h 10000"/>
              <a:gd name="connsiteX60" fmla="*/ 1208 w 9826"/>
              <a:gd name="connsiteY60" fmla="*/ 5229 h 10000"/>
              <a:gd name="connsiteX61" fmla="*/ 1788 w 9826"/>
              <a:gd name="connsiteY61" fmla="*/ 5801 h 10000"/>
              <a:gd name="connsiteX62" fmla="*/ 1871 w 9826"/>
              <a:gd name="connsiteY62" fmla="*/ 5834 h 10000"/>
              <a:gd name="connsiteX63" fmla="*/ 1843 w 9826"/>
              <a:gd name="connsiteY63" fmla="*/ 6073 h 10000"/>
              <a:gd name="connsiteX64" fmla="*/ 1798 w 9826"/>
              <a:gd name="connsiteY64" fmla="*/ 6166 h 10000"/>
              <a:gd name="connsiteX65" fmla="*/ 1663 w 9826"/>
              <a:gd name="connsiteY65" fmla="*/ 6206 h 10000"/>
              <a:gd name="connsiteX66" fmla="*/ 1563 w 9826"/>
              <a:gd name="connsiteY66" fmla="*/ 6140 h 10000"/>
              <a:gd name="connsiteX67" fmla="*/ 1461 w 9826"/>
              <a:gd name="connsiteY67" fmla="*/ 6133 h 10000"/>
              <a:gd name="connsiteX68" fmla="*/ 1345 w 9826"/>
              <a:gd name="connsiteY68" fmla="*/ 6260 h 10000"/>
              <a:gd name="connsiteX69" fmla="*/ 1153 w 9826"/>
              <a:gd name="connsiteY69" fmla="*/ 6326 h 10000"/>
              <a:gd name="connsiteX70" fmla="*/ 972 w 9826"/>
              <a:gd name="connsiteY70" fmla="*/ 6326 h 10000"/>
              <a:gd name="connsiteX71" fmla="*/ 882 w 9826"/>
              <a:gd name="connsiteY71" fmla="*/ 6378 h 10000"/>
              <a:gd name="connsiteX72" fmla="*/ 771 w 9826"/>
              <a:gd name="connsiteY72" fmla="*/ 6372 h 10000"/>
              <a:gd name="connsiteX73" fmla="*/ 727 w 9826"/>
              <a:gd name="connsiteY73" fmla="*/ 6286 h 10000"/>
              <a:gd name="connsiteX74" fmla="*/ 573 w 9826"/>
              <a:gd name="connsiteY74" fmla="*/ 6293 h 10000"/>
              <a:gd name="connsiteX75" fmla="*/ 446 w 9826"/>
              <a:gd name="connsiteY75" fmla="*/ 6398 h 10000"/>
              <a:gd name="connsiteX76" fmla="*/ 500 w 9826"/>
              <a:gd name="connsiteY76" fmla="*/ 6492 h 10000"/>
              <a:gd name="connsiteX77" fmla="*/ 644 w 9826"/>
              <a:gd name="connsiteY77" fmla="*/ 6539 h 10000"/>
              <a:gd name="connsiteX78" fmla="*/ 689 w 9826"/>
              <a:gd name="connsiteY78" fmla="*/ 6704 h 10000"/>
              <a:gd name="connsiteX79" fmla="*/ 771 w 9826"/>
              <a:gd name="connsiteY79" fmla="*/ 6797 h 10000"/>
              <a:gd name="connsiteX80" fmla="*/ 771 w 9826"/>
              <a:gd name="connsiteY80" fmla="*/ 6977 h 10000"/>
              <a:gd name="connsiteX81" fmla="*/ 718 w 9826"/>
              <a:gd name="connsiteY81" fmla="*/ 7044 h 10000"/>
              <a:gd name="connsiteX82" fmla="*/ 599 w 9826"/>
              <a:gd name="connsiteY82" fmla="*/ 7029 h 10000"/>
              <a:gd name="connsiteX83" fmla="*/ 526 w 9826"/>
              <a:gd name="connsiteY83" fmla="*/ 6977 h 10000"/>
              <a:gd name="connsiteX84" fmla="*/ 472 w 9826"/>
              <a:gd name="connsiteY84" fmla="*/ 6804 h 10000"/>
              <a:gd name="connsiteX85" fmla="*/ 400 w 9826"/>
              <a:gd name="connsiteY85" fmla="*/ 6751 h 10000"/>
              <a:gd name="connsiteX86" fmla="*/ 200 w 9826"/>
              <a:gd name="connsiteY86" fmla="*/ 6751 h 10000"/>
              <a:gd name="connsiteX87" fmla="*/ 365 w 9826"/>
              <a:gd name="connsiteY87" fmla="*/ 6545 h 10000"/>
              <a:gd name="connsiteX88" fmla="*/ 340 w 9826"/>
              <a:gd name="connsiteY88" fmla="*/ 6749 h 10000"/>
              <a:gd name="connsiteX89" fmla="*/ 398 w 9826"/>
              <a:gd name="connsiteY89" fmla="*/ 6827 h 10000"/>
              <a:gd name="connsiteX90" fmla="*/ 347 w 9826"/>
              <a:gd name="connsiteY90" fmla="*/ 6788 h 10000"/>
              <a:gd name="connsiteX91" fmla="*/ 179 w 9826"/>
              <a:gd name="connsiteY91" fmla="*/ 6703 h 10000"/>
              <a:gd name="connsiteX92" fmla="*/ 614 w 9826"/>
              <a:gd name="connsiteY92" fmla="*/ 6929 h 10000"/>
              <a:gd name="connsiteX93" fmla="*/ 567 w 9826"/>
              <a:gd name="connsiteY93" fmla="*/ 6756 h 10000"/>
              <a:gd name="connsiteX94" fmla="*/ 594 w 9826"/>
              <a:gd name="connsiteY94" fmla="*/ 6947 h 10000"/>
              <a:gd name="connsiteX95" fmla="*/ 506 w 9826"/>
              <a:gd name="connsiteY95" fmla="*/ 6902 h 10000"/>
              <a:gd name="connsiteX96" fmla="*/ 662 w 9826"/>
              <a:gd name="connsiteY96" fmla="*/ 6943 h 10000"/>
              <a:gd name="connsiteX97" fmla="*/ 656 w 9826"/>
              <a:gd name="connsiteY97" fmla="*/ 6967 h 10000"/>
              <a:gd name="connsiteX98" fmla="*/ 669 w 9826"/>
              <a:gd name="connsiteY98" fmla="*/ 6941 h 10000"/>
              <a:gd name="connsiteX99" fmla="*/ 487 w 9826"/>
              <a:gd name="connsiteY99" fmla="*/ 6771 h 10000"/>
              <a:gd name="connsiteX100" fmla="*/ 693 w 9826"/>
              <a:gd name="connsiteY100" fmla="*/ 6966 h 10000"/>
              <a:gd name="connsiteX101" fmla="*/ 1134 w 9826"/>
              <a:gd name="connsiteY101" fmla="*/ 7070 h 10000"/>
              <a:gd name="connsiteX102" fmla="*/ 1059 w 9826"/>
              <a:gd name="connsiteY102" fmla="*/ 7300 h 10000"/>
              <a:gd name="connsiteX103" fmla="*/ 1364 w 9826"/>
              <a:gd name="connsiteY103" fmla="*/ 7135 h 10000"/>
              <a:gd name="connsiteX104" fmla="*/ 1291 w 9826"/>
              <a:gd name="connsiteY104" fmla="*/ 6997 h 10000"/>
              <a:gd name="connsiteX105" fmla="*/ 1764 w 9826"/>
              <a:gd name="connsiteY105" fmla="*/ 7174 h 10000"/>
              <a:gd name="connsiteX106" fmla="*/ 2047 w 9826"/>
              <a:gd name="connsiteY106" fmla="*/ 7290 h 10000"/>
              <a:gd name="connsiteX107" fmla="*/ 2313 w 9826"/>
              <a:gd name="connsiteY107" fmla="*/ 7583 h 10000"/>
              <a:gd name="connsiteX108" fmla="*/ 2495 w 9826"/>
              <a:gd name="connsiteY108" fmla="*/ 8108 h 10000"/>
              <a:gd name="connsiteX109" fmla="*/ 3185 w 9826"/>
              <a:gd name="connsiteY109" fmla="*/ 8563 h 10000"/>
              <a:gd name="connsiteX110" fmla="*/ 3233 w 9826"/>
              <a:gd name="connsiteY110" fmla="*/ 8917 h 10000"/>
              <a:gd name="connsiteX111" fmla="*/ 3496 w 9826"/>
              <a:gd name="connsiteY111" fmla="*/ 9290 h 10000"/>
              <a:gd name="connsiteX112" fmla="*/ 3950 w 9826"/>
              <a:gd name="connsiteY112" fmla="*/ 9429 h 10000"/>
              <a:gd name="connsiteX113" fmla="*/ 4477 w 9826"/>
              <a:gd name="connsiteY113" fmla="*/ 9934 h 10000"/>
              <a:gd name="connsiteX114" fmla="*/ 4576 w 9826"/>
              <a:gd name="connsiteY114" fmla="*/ 9994 h 10000"/>
              <a:gd name="connsiteX115" fmla="*/ 4749 w 9826"/>
              <a:gd name="connsiteY115" fmla="*/ 10000 h 10000"/>
              <a:gd name="connsiteX116" fmla="*/ 4914 w 9826"/>
              <a:gd name="connsiteY116" fmla="*/ 9908 h 10000"/>
              <a:gd name="connsiteX117" fmla="*/ 4949 w 9826"/>
              <a:gd name="connsiteY117" fmla="*/ 9615 h 10000"/>
              <a:gd name="connsiteX118" fmla="*/ 5694 w 9826"/>
              <a:gd name="connsiteY118" fmla="*/ 9442 h 10000"/>
              <a:gd name="connsiteX119" fmla="*/ 5848 w 9826"/>
              <a:gd name="connsiteY119" fmla="*/ 9463 h 10000"/>
              <a:gd name="connsiteX120" fmla="*/ 6121 w 9826"/>
              <a:gd name="connsiteY120" fmla="*/ 9688 h 10000"/>
              <a:gd name="connsiteX121" fmla="*/ 6239 w 9826"/>
              <a:gd name="connsiteY121" fmla="*/ 9676 h 10000"/>
              <a:gd name="connsiteX122" fmla="*/ 6248 w 9826"/>
              <a:gd name="connsiteY122" fmla="*/ 9542 h 10000"/>
              <a:gd name="connsiteX123" fmla="*/ 6584 w 9826"/>
              <a:gd name="connsiteY123" fmla="*/ 9382 h 10000"/>
              <a:gd name="connsiteX124" fmla="*/ 7301 w 9826"/>
              <a:gd name="connsiteY124" fmla="*/ 9475 h 10000"/>
              <a:gd name="connsiteX125" fmla="*/ 7456 w 9826"/>
              <a:gd name="connsiteY125" fmla="*/ 9336 h 10000"/>
              <a:gd name="connsiteX126" fmla="*/ 8118 w 9826"/>
              <a:gd name="connsiteY126" fmla="*/ 9415 h 10000"/>
              <a:gd name="connsiteX127" fmla="*/ 8591 w 9826"/>
              <a:gd name="connsiteY127" fmla="*/ 9355 h 10000"/>
              <a:gd name="connsiteX128" fmla="*/ 8863 w 9826"/>
              <a:gd name="connsiteY128" fmla="*/ 9442 h 10000"/>
              <a:gd name="connsiteX129" fmla="*/ 8837 w 9826"/>
              <a:gd name="connsiteY129" fmla="*/ 8665 h 10000"/>
              <a:gd name="connsiteX130" fmla="*/ 9345 w 9826"/>
              <a:gd name="connsiteY130" fmla="*/ 7828 h 10000"/>
              <a:gd name="connsiteX131" fmla="*/ 9826 w 9826"/>
              <a:gd name="connsiteY131" fmla="*/ 7449 h 10000"/>
              <a:gd name="connsiteX132" fmla="*/ 8745 w 9826"/>
              <a:gd name="connsiteY132" fmla="*/ 6465 h 10000"/>
              <a:gd name="connsiteX133" fmla="*/ 8726 w 9826"/>
              <a:gd name="connsiteY133" fmla="*/ 5117 h 10000"/>
              <a:gd name="connsiteX134" fmla="*/ 9435 w 9826"/>
              <a:gd name="connsiteY134" fmla="*/ 4857 h 10000"/>
              <a:gd name="connsiteX135" fmla="*/ 9027 w 9826"/>
              <a:gd name="connsiteY135" fmla="*/ 4791 h 10000"/>
              <a:gd name="connsiteX136" fmla="*/ 8655 w 9826"/>
              <a:gd name="connsiteY136" fmla="*/ 4286 h 10000"/>
              <a:gd name="connsiteX137" fmla="*/ 9081 w 9826"/>
              <a:gd name="connsiteY137" fmla="*/ 3941 h 10000"/>
              <a:gd name="connsiteX138" fmla="*/ 8764 w 9826"/>
              <a:gd name="connsiteY138" fmla="*/ 3595 h 10000"/>
              <a:gd name="connsiteX139" fmla="*/ 8282 w 9826"/>
              <a:gd name="connsiteY139" fmla="*/ 3893 h 10000"/>
              <a:gd name="connsiteX140" fmla="*/ 7047 w 9826"/>
              <a:gd name="connsiteY140" fmla="*/ 3595 h 10000"/>
              <a:gd name="connsiteX141" fmla="*/ 6392 w 9826"/>
              <a:gd name="connsiteY141" fmla="*/ 3230 h 10000"/>
              <a:gd name="connsiteX142" fmla="*/ 6221 w 9826"/>
              <a:gd name="connsiteY142" fmla="*/ 2465 h 10000"/>
              <a:gd name="connsiteX143" fmla="*/ 5876 w 9826"/>
              <a:gd name="connsiteY143" fmla="*/ 2306 h 10000"/>
              <a:gd name="connsiteX144" fmla="*/ 5412 w 9826"/>
              <a:gd name="connsiteY144" fmla="*/ 2233 h 10000"/>
              <a:gd name="connsiteX145" fmla="*/ 5032 w 9826"/>
              <a:gd name="connsiteY145" fmla="*/ 1821 h 10000"/>
              <a:gd name="connsiteX146" fmla="*/ 4586 w 9826"/>
              <a:gd name="connsiteY146" fmla="*/ 904 h 10000"/>
              <a:gd name="connsiteX147" fmla="*/ 4150 w 9826"/>
              <a:gd name="connsiteY147" fmla="*/ 525 h 10000"/>
              <a:gd name="connsiteX148" fmla="*/ 3333 w 9826"/>
              <a:gd name="connsiteY148" fmla="*/ 219 h 10000"/>
              <a:gd name="connsiteX149" fmla="*/ 3133 w 9826"/>
              <a:gd name="connsiteY149" fmla="*/ 0 h 10000"/>
              <a:gd name="connsiteX150" fmla="*/ 2634 w 9826"/>
              <a:gd name="connsiteY150" fmla="*/ 127 h 10000"/>
              <a:gd name="connsiteX151" fmla="*/ 2124 w 9826"/>
              <a:gd name="connsiteY151" fmla="*/ 147 h 10000"/>
              <a:gd name="connsiteX152" fmla="*/ 1461 w 9826"/>
              <a:gd name="connsiteY152" fmla="*/ 459 h 10000"/>
              <a:gd name="connsiteX153" fmla="*/ 864 w 9826"/>
              <a:gd name="connsiteY153" fmla="*/ 472 h 10000"/>
              <a:gd name="connsiteX154" fmla="*/ 581 w 9826"/>
              <a:gd name="connsiteY154" fmla="*/ 631 h 10000"/>
              <a:gd name="connsiteX155" fmla="*/ 0 w 9826"/>
              <a:gd name="connsiteY155" fmla="*/ 672 h 10000"/>
              <a:gd name="connsiteX0" fmla="*/ 0 w 10000"/>
              <a:gd name="connsiteY0" fmla="*/ 672 h 10000"/>
              <a:gd name="connsiteX1" fmla="*/ 324 w 10000"/>
              <a:gd name="connsiteY1" fmla="*/ 898 h 10000"/>
              <a:gd name="connsiteX2" fmla="*/ 342 w 10000"/>
              <a:gd name="connsiteY2" fmla="*/ 1003 h 10000"/>
              <a:gd name="connsiteX3" fmla="*/ 279 w 10000"/>
              <a:gd name="connsiteY3" fmla="*/ 1070 h 10000"/>
              <a:gd name="connsiteX4" fmla="*/ 379 w 10000"/>
              <a:gd name="connsiteY4" fmla="*/ 1143 h 10000"/>
              <a:gd name="connsiteX5" fmla="*/ 388 w 10000"/>
              <a:gd name="connsiteY5" fmla="*/ 1243 h 10000"/>
              <a:gd name="connsiteX6" fmla="*/ 269 w 10000"/>
              <a:gd name="connsiteY6" fmla="*/ 1363 h 10000"/>
              <a:gd name="connsiteX7" fmla="*/ 287 w 10000"/>
              <a:gd name="connsiteY7" fmla="*/ 1442 h 10000"/>
              <a:gd name="connsiteX8" fmla="*/ 426 w 10000"/>
              <a:gd name="connsiteY8" fmla="*/ 1495 h 10000"/>
              <a:gd name="connsiteX9" fmla="*/ 517 w 10000"/>
              <a:gd name="connsiteY9" fmla="*/ 1428 h 10000"/>
              <a:gd name="connsiteX10" fmla="*/ 601 w 10000"/>
              <a:gd name="connsiteY10" fmla="*/ 1428 h 10000"/>
              <a:gd name="connsiteX11" fmla="*/ 731 w 10000"/>
              <a:gd name="connsiteY11" fmla="*/ 1501 h 10000"/>
              <a:gd name="connsiteX12" fmla="*/ 731 w 10000"/>
              <a:gd name="connsiteY12" fmla="*/ 1548 h 10000"/>
              <a:gd name="connsiteX13" fmla="*/ 647 w 10000"/>
              <a:gd name="connsiteY13" fmla="*/ 1595 h 10000"/>
              <a:gd name="connsiteX14" fmla="*/ 565 w 10000"/>
              <a:gd name="connsiteY14" fmla="*/ 1595 h 10000"/>
              <a:gd name="connsiteX15" fmla="*/ 526 w 10000"/>
              <a:gd name="connsiteY15" fmla="*/ 1675 h 10000"/>
              <a:gd name="connsiteX16" fmla="*/ 583 w 10000"/>
              <a:gd name="connsiteY16" fmla="*/ 1734 h 10000"/>
              <a:gd name="connsiteX17" fmla="*/ 517 w 10000"/>
              <a:gd name="connsiteY17" fmla="*/ 1881 h 10000"/>
              <a:gd name="connsiteX18" fmla="*/ 583 w 10000"/>
              <a:gd name="connsiteY18" fmla="*/ 1933 h 10000"/>
              <a:gd name="connsiteX19" fmla="*/ 748 w 10000"/>
              <a:gd name="connsiteY19" fmla="*/ 1933 h 10000"/>
              <a:gd name="connsiteX20" fmla="*/ 942 w 10000"/>
              <a:gd name="connsiteY20" fmla="*/ 2080 h 10000"/>
              <a:gd name="connsiteX21" fmla="*/ 1136 w 10000"/>
              <a:gd name="connsiteY21" fmla="*/ 2067 h 10000"/>
              <a:gd name="connsiteX22" fmla="*/ 1292 w 10000"/>
              <a:gd name="connsiteY22" fmla="*/ 2125 h 10000"/>
              <a:gd name="connsiteX23" fmla="*/ 1479 w 10000"/>
              <a:gd name="connsiteY23" fmla="*/ 2119 h 10000"/>
              <a:gd name="connsiteX24" fmla="*/ 1571 w 10000"/>
              <a:gd name="connsiteY24" fmla="*/ 2153 h 10000"/>
              <a:gd name="connsiteX25" fmla="*/ 1591 w 10000"/>
              <a:gd name="connsiteY25" fmla="*/ 2219 h 10000"/>
              <a:gd name="connsiteX26" fmla="*/ 1432 w 10000"/>
              <a:gd name="connsiteY26" fmla="*/ 2278 h 10000"/>
              <a:gd name="connsiteX27" fmla="*/ 1109 w 10000"/>
              <a:gd name="connsiteY27" fmla="*/ 2227 h 10000"/>
              <a:gd name="connsiteX28" fmla="*/ 1018 w 10000"/>
              <a:gd name="connsiteY28" fmla="*/ 2239 h 10000"/>
              <a:gd name="connsiteX29" fmla="*/ 961 w 10000"/>
              <a:gd name="connsiteY29" fmla="*/ 2386 h 10000"/>
              <a:gd name="connsiteX30" fmla="*/ 860 w 10000"/>
              <a:gd name="connsiteY30" fmla="*/ 2479 h 10000"/>
              <a:gd name="connsiteX31" fmla="*/ 916 w 10000"/>
              <a:gd name="connsiteY31" fmla="*/ 2771 h 10000"/>
              <a:gd name="connsiteX32" fmla="*/ 1008 w 10000"/>
              <a:gd name="connsiteY32" fmla="*/ 2817 h 10000"/>
              <a:gd name="connsiteX33" fmla="*/ 953 w 10000"/>
              <a:gd name="connsiteY33" fmla="*/ 2963 h 10000"/>
              <a:gd name="connsiteX34" fmla="*/ 1469 w 10000"/>
              <a:gd name="connsiteY34" fmla="*/ 2998 h 10000"/>
              <a:gd name="connsiteX35" fmla="*/ 1571 w 10000"/>
              <a:gd name="connsiteY35" fmla="*/ 3091 h 10000"/>
              <a:gd name="connsiteX36" fmla="*/ 1497 w 10000"/>
              <a:gd name="connsiteY36" fmla="*/ 3196 h 10000"/>
              <a:gd name="connsiteX37" fmla="*/ 1497 w 10000"/>
              <a:gd name="connsiteY37" fmla="*/ 3329 h 10000"/>
              <a:gd name="connsiteX38" fmla="*/ 1073 w 10000"/>
              <a:gd name="connsiteY38" fmla="*/ 3887 h 10000"/>
              <a:gd name="connsiteX39" fmla="*/ 971 w 10000"/>
              <a:gd name="connsiteY39" fmla="*/ 3927 h 10000"/>
              <a:gd name="connsiteX40" fmla="*/ 971 w 10000"/>
              <a:gd name="connsiteY40" fmla="*/ 4020 h 10000"/>
              <a:gd name="connsiteX41" fmla="*/ 1037 w 10000"/>
              <a:gd name="connsiteY41" fmla="*/ 4087 h 10000"/>
              <a:gd name="connsiteX42" fmla="*/ 888 w 10000"/>
              <a:gd name="connsiteY42" fmla="*/ 4247 h 10000"/>
              <a:gd name="connsiteX43" fmla="*/ 971 w 10000"/>
              <a:gd name="connsiteY43" fmla="*/ 4451 h 10000"/>
              <a:gd name="connsiteX44" fmla="*/ 1117 w 10000"/>
              <a:gd name="connsiteY44" fmla="*/ 4479 h 10000"/>
              <a:gd name="connsiteX45" fmla="*/ 1229 w 10000"/>
              <a:gd name="connsiteY45" fmla="*/ 4538 h 10000"/>
              <a:gd name="connsiteX46" fmla="*/ 1395 w 10000"/>
              <a:gd name="connsiteY46" fmla="*/ 4511 h 10000"/>
              <a:gd name="connsiteX47" fmla="*/ 1469 w 10000"/>
              <a:gd name="connsiteY47" fmla="*/ 4604 h 10000"/>
              <a:gd name="connsiteX48" fmla="*/ 1505 w 10000"/>
              <a:gd name="connsiteY48" fmla="*/ 4712 h 10000"/>
              <a:gd name="connsiteX49" fmla="*/ 1682 w 10000"/>
              <a:gd name="connsiteY49" fmla="*/ 4844 h 10000"/>
              <a:gd name="connsiteX50" fmla="*/ 1802 w 10000"/>
              <a:gd name="connsiteY50" fmla="*/ 4831 h 10000"/>
              <a:gd name="connsiteX51" fmla="*/ 1849 w 10000"/>
              <a:gd name="connsiteY51" fmla="*/ 4865 h 10000"/>
              <a:gd name="connsiteX52" fmla="*/ 1838 w 10000"/>
              <a:gd name="connsiteY52" fmla="*/ 4944 h 10000"/>
              <a:gd name="connsiteX53" fmla="*/ 2014 w 10000"/>
              <a:gd name="connsiteY53" fmla="*/ 5024 h 10000"/>
              <a:gd name="connsiteX54" fmla="*/ 2125 w 10000"/>
              <a:gd name="connsiteY54" fmla="*/ 5043 h 10000"/>
              <a:gd name="connsiteX55" fmla="*/ 2143 w 10000"/>
              <a:gd name="connsiteY55" fmla="*/ 5150 h 10000"/>
              <a:gd name="connsiteX56" fmla="*/ 1959 w 10000"/>
              <a:gd name="connsiteY56" fmla="*/ 5282 h 10000"/>
              <a:gd name="connsiteX57" fmla="*/ 1618 w 10000"/>
              <a:gd name="connsiteY57" fmla="*/ 5289 h 10000"/>
              <a:gd name="connsiteX58" fmla="*/ 1395 w 10000"/>
              <a:gd name="connsiteY58" fmla="*/ 5190 h 10000"/>
              <a:gd name="connsiteX59" fmla="*/ 1275 w 10000"/>
              <a:gd name="connsiteY59" fmla="*/ 5190 h 10000"/>
              <a:gd name="connsiteX60" fmla="*/ 1229 w 10000"/>
              <a:gd name="connsiteY60" fmla="*/ 5229 h 10000"/>
              <a:gd name="connsiteX61" fmla="*/ 1820 w 10000"/>
              <a:gd name="connsiteY61" fmla="*/ 5801 h 10000"/>
              <a:gd name="connsiteX62" fmla="*/ 1904 w 10000"/>
              <a:gd name="connsiteY62" fmla="*/ 5834 h 10000"/>
              <a:gd name="connsiteX63" fmla="*/ 1876 w 10000"/>
              <a:gd name="connsiteY63" fmla="*/ 6073 h 10000"/>
              <a:gd name="connsiteX64" fmla="*/ 1830 w 10000"/>
              <a:gd name="connsiteY64" fmla="*/ 6166 h 10000"/>
              <a:gd name="connsiteX65" fmla="*/ 1692 w 10000"/>
              <a:gd name="connsiteY65" fmla="*/ 6206 h 10000"/>
              <a:gd name="connsiteX66" fmla="*/ 1591 w 10000"/>
              <a:gd name="connsiteY66" fmla="*/ 6140 h 10000"/>
              <a:gd name="connsiteX67" fmla="*/ 1487 w 10000"/>
              <a:gd name="connsiteY67" fmla="*/ 6133 h 10000"/>
              <a:gd name="connsiteX68" fmla="*/ 1369 w 10000"/>
              <a:gd name="connsiteY68" fmla="*/ 6260 h 10000"/>
              <a:gd name="connsiteX69" fmla="*/ 1173 w 10000"/>
              <a:gd name="connsiteY69" fmla="*/ 6326 h 10000"/>
              <a:gd name="connsiteX70" fmla="*/ 989 w 10000"/>
              <a:gd name="connsiteY70" fmla="*/ 6326 h 10000"/>
              <a:gd name="connsiteX71" fmla="*/ 898 w 10000"/>
              <a:gd name="connsiteY71" fmla="*/ 6378 h 10000"/>
              <a:gd name="connsiteX72" fmla="*/ 785 w 10000"/>
              <a:gd name="connsiteY72" fmla="*/ 6372 h 10000"/>
              <a:gd name="connsiteX73" fmla="*/ 740 w 10000"/>
              <a:gd name="connsiteY73" fmla="*/ 6286 h 10000"/>
              <a:gd name="connsiteX74" fmla="*/ 583 w 10000"/>
              <a:gd name="connsiteY74" fmla="*/ 6293 h 10000"/>
              <a:gd name="connsiteX75" fmla="*/ 454 w 10000"/>
              <a:gd name="connsiteY75" fmla="*/ 6398 h 10000"/>
              <a:gd name="connsiteX76" fmla="*/ 509 w 10000"/>
              <a:gd name="connsiteY76" fmla="*/ 6492 h 10000"/>
              <a:gd name="connsiteX77" fmla="*/ 655 w 10000"/>
              <a:gd name="connsiteY77" fmla="*/ 6539 h 10000"/>
              <a:gd name="connsiteX78" fmla="*/ 701 w 10000"/>
              <a:gd name="connsiteY78" fmla="*/ 6704 h 10000"/>
              <a:gd name="connsiteX79" fmla="*/ 785 w 10000"/>
              <a:gd name="connsiteY79" fmla="*/ 6797 h 10000"/>
              <a:gd name="connsiteX80" fmla="*/ 785 w 10000"/>
              <a:gd name="connsiteY80" fmla="*/ 6977 h 10000"/>
              <a:gd name="connsiteX81" fmla="*/ 731 w 10000"/>
              <a:gd name="connsiteY81" fmla="*/ 7044 h 10000"/>
              <a:gd name="connsiteX82" fmla="*/ 610 w 10000"/>
              <a:gd name="connsiteY82" fmla="*/ 7029 h 10000"/>
              <a:gd name="connsiteX83" fmla="*/ 535 w 10000"/>
              <a:gd name="connsiteY83" fmla="*/ 6977 h 10000"/>
              <a:gd name="connsiteX84" fmla="*/ 480 w 10000"/>
              <a:gd name="connsiteY84" fmla="*/ 6804 h 10000"/>
              <a:gd name="connsiteX85" fmla="*/ 407 w 10000"/>
              <a:gd name="connsiteY85" fmla="*/ 6751 h 10000"/>
              <a:gd name="connsiteX86" fmla="*/ 204 w 10000"/>
              <a:gd name="connsiteY86" fmla="*/ 6751 h 10000"/>
              <a:gd name="connsiteX87" fmla="*/ 371 w 10000"/>
              <a:gd name="connsiteY87" fmla="*/ 6545 h 10000"/>
              <a:gd name="connsiteX88" fmla="*/ 346 w 10000"/>
              <a:gd name="connsiteY88" fmla="*/ 6749 h 10000"/>
              <a:gd name="connsiteX89" fmla="*/ 405 w 10000"/>
              <a:gd name="connsiteY89" fmla="*/ 6827 h 10000"/>
              <a:gd name="connsiteX90" fmla="*/ 353 w 10000"/>
              <a:gd name="connsiteY90" fmla="*/ 6788 h 10000"/>
              <a:gd name="connsiteX91" fmla="*/ 182 w 10000"/>
              <a:gd name="connsiteY91" fmla="*/ 6703 h 10000"/>
              <a:gd name="connsiteX92" fmla="*/ 625 w 10000"/>
              <a:gd name="connsiteY92" fmla="*/ 6929 h 10000"/>
              <a:gd name="connsiteX93" fmla="*/ 577 w 10000"/>
              <a:gd name="connsiteY93" fmla="*/ 6756 h 10000"/>
              <a:gd name="connsiteX94" fmla="*/ 605 w 10000"/>
              <a:gd name="connsiteY94" fmla="*/ 6947 h 10000"/>
              <a:gd name="connsiteX95" fmla="*/ 515 w 10000"/>
              <a:gd name="connsiteY95" fmla="*/ 6902 h 10000"/>
              <a:gd name="connsiteX96" fmla="*/ 674 w 10000"/>
              <a:gd name="connsiteY96" fmla="*/ 6943 h 10000"/>
              <a:gd name="connsiteX97" fmla="*/ 668 w 10000"/>
              <a:gd name="connsiteY97" fmla="*/ 6967 h 10000"/>
              <a:gd name="connsiteX98" fmla="*/ 681 w 10000"/>
              <a:gd name="connsiteY98" fmla="*/ 6941 h 10000"/>
              <a:gd name="connsiteX99" fmla="*/ 496 w 10000"/>
              <a:gd name="connsiteY99" fmla="*/ 6771 h 10000"/>
              <a:gd name="connsiteX100" fmla="*/ 705 w 10000"/>
              <a:gd name="connsiteY100" fmla="*/ 6966 h 10000"/>
              <a:gd name="connsiteX101" fmla="*/ 1154 w 10000"/>
              <a:gd name="connsiteY101" fmla="*/ 7070 h 10000"/>
              <a:gd name="connsiteX102" fmla="*/ 1078 w 10000"/>
              <a:gd name="connsiteY102" fmla="*/ 7300 h 10000"/>
              <a:gd name="connsiteX103" fmla="*/ 1388 w 10000"/>
              <a:gd name="connsiteY103" fmla="*/ 7135 h 10000"/>
              <a:gd name="connsiteX104" fmla="*/ 1314 w 10000"/>
              <a:gd name="connsiteY104" fmla="*/ 6997 h 10000"/>
              <a:gd name="connsiteX105" fmla="*/ 1795 w 10000"/>
              <a:gd name="connsiteY105" fmla="*/ 7174 h 10000"/>
              <a:gd name="connsiteX106" fmla="*/ 2083 w 10000"/>
              <a:gd name="connsiteY106" fmla="*/ 7290 h 10000"/>
              <a:gd name="connsiteX107" fmla="*/ 2354 w 10000"/>
              <a:gd name="connsiteY107" fmla="*/ 7583 h 10000"/>
              <a:gd name="connsiteX108" fmla="*/ 2539 w 10000"/>
              <a:gd name="connsiteY108" fmla="*/ 8108 h 10000"/>
              <a:gd name="connsiteX109" fmla="*/ 3241 w 10000"/>
              <a:gd name="connsiteY109" fmla="*/ 8563 h 10000"/>
              <a:gd name="connsiteX110" fmla="*/ 3290 w 10000"/>
              <a:gd name="connsiteY110" fmla="*/ 8917 h 10000"/>
              <a:gd name="connsiteX111" fmla="*/ 3558 w 10000"/>
              <a:gd name="connsiteY111" fmla="*/ 9290 h 10000"/>
              <a:gd name="connsiteX112" fmla="*/ 4020 w 10000"/>
              <a:gd name="connsiteY112" fmla="*/ 9429 h 10000"/>
              <a:gd name="connsiteX113" fmla="*/ 4556 w 10000"/>
              <a:gd name="connsiteY113" fmla="*/ 9934 h 10000"/>
              <a:gd name="connsiteX114" fmla="*/ 4657 w 10000"/>
              <a:gd name="connsiteY114" fmla="*/ 9994 h 10000"/>
              <a:gd name="connsiteX115" fmla="*/ 4833 w 10000"/>
              <a:gd name="connsiteY115" fmla="*/ 10000 h 10000"/>
              <a:gd name="connsiteX116" fmla="*/ 5001 w 10000"/>
              <a:gd name="connsiteY116" fmla="*/ 9908 h 10000"/>
              <a:gd name="connsiteX117" fmla="*/ 5037 w 10000"/>
              <a:gd name="connsiteY117" fmla="*/ 9615 h 10000"/>
              <a:gd name="connsiteX118" fmla="*/ 5795 w 10000"/>
              <a:gd name="connsiteY118" fmla="*/ 9442 h 10000"/>
              <a:gd name="connsiteX119" fmla="*/ 5952 w 10000"/>
              <a:gd name="connsiteY119" fmla="*/ 9463 h 10000"/>
              <a:gd name="connsiteX120" fmla="*/ 6229 w 10000"/>
              <a:gd name="connsiteY120" fmla="*/ 9688 h 10000"/>
              <a:gd name="connsiteX121" fmla="*/ 6349 w 10000"/>
              <a:gd name="connsiteY121" fmla="*/ 9676 h 10000"/>
              <a:gd name="connsiteX122" fmla="*/ 6359 w 10000"/>
              <a:gd name="connsiteY122" fmla="*/ 9542 h 10000"/>
              <a:gd name="connsiteX123" fmla="*/ 6701 w 10000"/>
              <a:gd name="connsiteY123" fmla="*/ 9382 h 10000"/>
              <a:gd name="connsiteX124" fmla="*/ 7430 w 10000"/>
              <a:gd name="connsiteY124" fmla="*/ 9475 h 10000"/>
              <a:gd name="connsiteX125" fmla="*/ 7588 w 10000"/>
              <a:gd name="connsiteY125" fmla="*/ 9336 h 10000"/>
              <a:gd name="connsiteX126" fmla="*/ 8262 w 10000"/>
              <a:gd name="connsiteY126" fmla="*/ 9415 h 10000"/>
              <a:gd name="connsiteX127" fmla="*/ 8743 w 10000"/>
              <a:gd name="connsiteY127" fmla="*/ 9355 h 10000"/>
              <a:gd name="connsiteX128" fmla="*/ 9020 w 10000"/>
              <a:gd name="connsiteY128" fmla="*/ 9442 h 10000"/>
              <a:gd name="connsiteX129" fmla="*/ 8993 w 10000"/>
              <a:gd name="connsiteY129" fmla="*/ 8665 h 10000"/>
              <a:gd name="connsiteX130" fmla="*/ 9510 w 10000"/>
              <a:gd name="connsiteY130" fmla="*/ 7828 h 10000"/>
              <a:gd name="connsiteX131" fmla="*/ 10000 w 10000"/>
              <a:gd name="connsiteY131" fmla="*/ 7449 h 10000"/>
              <a:gd name="connsiteX132" fmla="*/ 8900 w 10000"/>
              <a:gd name="connsiteY132" fmla="*/ 6465 h 10000"/>
              <a:gd name="connsiteX133" fmla="*/ 8881 w 10000"/>
              <a:gd name="connsiteY133" fmla="*/ 5117 h 10000"/>
              <a:gd name="connsiteX134" fmla="*/ 9602 w 10000"/>
              <a:gd name="connsiteY134" fmla="*/ 4857 h 10000"/>
              <a:gd name="connsiteX135" fmla="*/ 9187 w 10000"/>
              <a:gd name="connsiteY135" fmla="*/ 4791 h 10000"/>
              <a:gd name="connsiteX136" fmla="*/ 8808 w 10000"/>
              <a:gd name="connsiteY136" fmla="*/ 4286 h 10000"/>
              <a:gd name="connsiteX137" fmla="*/ 9242 w 10000"/>
              <a:gd name="connsiteY137" fmla="*/ 3941 h 10000"/>
              <a:gd name="connsiteX138" fmla="*/ 8919 w 10000"/>
              <a:gd name="connsiteY138" fmla="*/ 3595 h 10000"/>
              <a:gd name="connsiteX139" fmla="*/ 8429 w 10000"/>
              <a:gd name="connsiteY139" fmla="*/ 3893 h 10000"/>
              <a:gd name="connsiteX140" fmla="*/ 7172 w 10000"/>
              <a:gd name="connsiteY140" fmla="*/ 3595 h 10000"/>
              <a:gd name="connsiteX141" fmla="*/ 6505 w 10000"/>
              <a:gd name="connsiteY141" fmla="*/ 3230 h 10000"/>
              <a:gd name="connsiteX142" fmla="*/ 6331 w 10000"/>
              <a:gd name="connsiteY142" fmla="*/ 2465 h 10000"/>
              <a:gd name="connsiteX143" fmla="*/ 5980 w 10000"/>
              <a:gd name="connsiteY143" fmla="*/ 2306 h 10000"/>
              <a:gd name="connsiteX144" fmla="*/ 5508 w 10000"/>
              <a:gd name="connsiteY144" fmla="*/ 2233 h 10000"/>
              <a:gd name="connsiteX145" fmla="*/ 5121 w 10000"/>
              <a:gd name="connsiteY145" fmla="*/ 1821 h 10000"/>
              <a:gd name="connsiteX146" fmla="*/ 4667 w 10000"/>
              <a:gd name="connsiteY146" fmla="*/ 904 h 10000"/>
              <a:gd name="connsiteX147" fmla="*/ 4223 w 10000"/>
              <a:gd name="connsiteY147" fmla="*/ 525 h 10000"/>
              <a:gd name="connsiteX148" fmla="*/ 3392 w 10000"/>
              <a:gd name="connsiteY148" fmla="*/ 219 h 10000"/>
              <a:gd name="connsiteX149" fmla="*/ 3188 w 10000"/>
              <a:gd name="connsiteY149" fmla="*/ 0 h 10000"/>
              <a:gd name="connsiteX150" fmla="*/ 2681 w 10000"/>
              <a:gd name="connsiteY150" fmla="*/ 127 h 10000"/>
              <a:gd name="connsiteX151" fmla="*/ 2162 w 10000"/>
              <a:gd name="connsiteY151" fmla="*/ 147 h 10000"/>
              <a:gd name="connsiteX152" fmla="*/ 1487 w 10000"/>
              <a:gd name="connsiteY152" fmla="*/ 459 h 10000"/>
              <a:gd name="connsiteX153" fmla="*/ 879 w 10000"/>
              <a:gd name="connsiteY153" fmla="*/ 472 h 10000"/>
              <a:gd name="connsiteX154" fmla="*/ 591 w 10000"/>
              <a:gd name="connsiteY154" fmla="*/ 631 h 10000"/>
              <a:gd name="connsiteX155" fmla="*/ 0 w 10000"/>
              <a:gd name="connsiteY155" fmla="*/ 672 h 10000"/>
              <a:gd name="connsiteX0" fmla="*/ 0 w 10000"/>
              <a:gd name="connsiteY0" fmla="*/ 672 h 10000"/>
              <a:gd name="connsiteX1" fmla="*/ 324 w 10000"/>
              <a:gd name="connsiteY1" fmla="*/ 898 h 10000"/>
              <a:gd name="connsiteX2" fmla="*/ 342 w 10000"/>
              <a:gd name="connsiteY2" fmla="*/ 1003 h 10000"/>
              <a:gd name="connsiteX3" fmla="*/ 279 w 10000"/>
              <a:gd name="connsiteY3" fmla="*/ 1070 h 10000"/>
              <a:gd name="connsiteX4" fmla="*/ 379 w 10000"/>
              <a:gd name="connsiteY4" fmla="*/ 1143 h 10000"/>
              <a:gd name="connsiteX5" fmla="*/ 388 w 10000"/>
              <a:gd name="connsiteY5" fmla="*/ 1243 h 10000"/>
              <a:gd name="connsiteX6" fmla="*/ 269 w 10000"/>
              <a:gd name="connsiteY6" fmla="*/ 1363 h 10000"/>
              <a:gd name="connsiteX7" fmla="*/ 287 w 10000"/>
              <a:gd name="connsiteY7" fmla="*/ 1442 h 10000"/>
              <a:gd name="connsiteX8" fmla="*/ 426 w 10000"/>
              <a:gd name="connsiteY8" fmla="*/ 1495 h 10000"/>
              <a:gd name="connsiteX9" fmla="*/ 517 w 10000"/>
              <a:gd name="connsiteY9" fmla="*/ 1428 h 10000"/>
              <a:gd name="connsiteX10" fmla="*/ 601 w 10000"/>
              <a:gd name="connsiteY10" fmla="*/ 1428 h 10000"/>
              <a:gd name="connsiteX11" fmla="*/ 731 w 10000"/>
              <a:gd name="connsiteY11" fmla="*/ 1501 h 10000"/>
              <a:gd name="connsiteX12" fmla="*/ 731 w 10000"/>
              <a:gd name="connsiteY12" fmla="*/ 1548 h 10000"/>
              <a:gd name="connsiteX13" fmla="*/ 647 w 10000"/>
              <a:gd name="connsiteY13" fmla="*/ 1595 h 10000"/>
              <a:gd name="connsiteX14" fmla="*/ 565 w 10000"/>
              <a:gd name="connsiteY14" fmla="*/ 1595 h 10000"/>
              <a:gd name="connsiteX15" fmla="*/ 526 w 10000"/>
              <a:gd name="connsiteY15" fmla="*/ 1675 h 10000"/>
              <a:gd name="connsiteX16" fmla="*/ 583 w 10000"/>
              <a:gd name="connsiteY16" fmla="*/ 1734 h 10000"/>
              <a:gd name="connsiteX17" fmla="*/ 517 w 10000"/>
              <a:gd name="connsiteY17" fmla="*/ 1881 h 10000"/>
              <a:gd name="connsiteX18" fmla="*/ 583 w 10000"/>
              <a:gd name="connsiteY18" fmla="*/ 1933 h 10000"/>
              <a:gd name="connsiteX19" fmla="*/ 748 w 10000"/>
              <a:gd name="connsiteY19" fmla="*/ 1933 h 10000"/>
              <a:gd name="connsiteX20" fmla="*/ 942 w 10000"/>
              <a:gd name="connsiteY20" fmla="*/ 2080 h 10000"/>
              <a:gd name="connsiteX21" fmla="*/ 1136 w 10000"/>
              <a:gd name="connsiteY21" fmla="*/ 2067 h 10000"/>
              <a:gd name="connsiteX22" fmla="*/ 1292 w 10000"/>
              <a:gd name="connsiteY22" fmla="*/ 2125 h 10000"/>
              <a:gd name="connsiteX23" fmla="*/ 1479 w 10000"/>
              <a:gd name="connsiteY23" fmla="*/ 2119 h 10000"/>
              <a:gd name="connsiteX24" fmla="*/ 1571 w 10000"/>
              <a:gd name="connsiteY24" fmla="*/ 2153 h 10000"/>
              <a:gd name="connsiteX25" fmla="*/ 1591 w 10000"/>
              <a:gd name="connsiteY25" fmla="*/ 2219 h 10000"/>
              <a:gd name="connsiteX26" fmla="*/ 1432 w 10000"/>
              <a:gd name="connsiteY26" fmla="*/ 2278 h 10000"/>
              <a:gd name="connsiteX27" fmla="*/ 1109 w 10000"/>
              <a:gd name="connsiteY27" fmla="*/ 2227 h 10000"/>
              <a:gd name="connsiteX28" fmla="*/ 1018 w 10000"/>
              <a:gd name="connsiteY28" fmla="*/ 2239 h 10000"/>
              <a:gd name="connsiteX29" fmla="*/ 961 w 10000"/>
              <a:gd name="connsiteY29" fmla="*/ 2386 h 10000"/>
              <a:gd name="connsiteX30" fmla="*/ 860 w 10000"/>
              <a:gd name="connsiteY30" fmla="*/ 2479 h 10000"/>
              <a:gd name="connsiteX31" fmla="*/ 916 w 10000"/>
              <a:gd name="connsiteY31" fmla="*/ 2771 h 10000"/>
              <a:gd name="connsiteX32" fmla="*/ 1008 w 10000"/>
              <a:gd name="connsiteY32" fmla="*/ 2817 h 10000"/>
              <a:gd name="connsiteX33" fmla="*/ 953 w 10000"/>
              <a:gd name="connsiteY33" fmla="*/ 2963 h 10000"/>
              <a:gd name="connsiteX34" fmla="*/ 1469 w 10000"/>
              <a:gd name="connsiteY34" fmla="*/ 2998 h 10000"/>
              <a:gd name="connsiteX35" fmla="*/ 1571 w 10000"/>
              <a:gd name="connsiteY35" fmla="*/ 3091 h 10000"/>
              <a:gd name="connsiteX36" fmla="*/ 1497 w 10000"/>
              <a:gd name="connsiteY36" fmla="*/ 3196 h 10000"/>
              <a:gd name="connsiteX37" fmla="*/ 1497 w 10000"/>
              <a:gd name="connsiteY37" fmla="*/ 3329 h 10000"/>
              <a:gd name="connsiteX38" fmla="*/ 1073 w 10000"/>
              <a:gd name="connsiteY38" fmla="*/ 3887 h 10000"/>
              <a:gd name="connsiteX39" fmla="*/ 971 w 10000"/>
              <a:gd name="connsiteY39" fmla="*/ 3927 h 10000"/>
              <a:gd name="connsiteX40" fmla="*/ 971 w 10000"/>
              <a:gd name="connsiteY40" fmla="*/ 4020 h 10000"/>
              <a:gd name="connsiteX41" fmla="*/ 1037 w 10000"/>
              <a:gd name="connsiteY41" fmla="*/ 4087 h 10000"/>
              <a:gd name="connsiteX42" fmla="*/ 888 w 10000"/>
              <a:gd name="connsiteY42" fmla="*/ 4247 h 10000"/>
              <a:gd name="connsiteX43" fmla="*/ 971 w 10000"/>
              <a:gd name="connsiteY43" fmla="*/ 4451 h 10000"/>
              <a:gd name="connsiteX44" fmla="*/ 1117 w 10000"/>
              <a:gd name="connsiteY44" fmla="*/ 4479 h 10000"/>
              <a:gd name="connsiteX45" fmla="*/ 1229 w 10000"/>
              <a:gd name="connsiteY45" fmla="*/ 4538 h 10000"/>
              <a:gd name="connsiteX46" fmla="*/ 1395 w 10000"/>
              <a:gd name="connsiteY46" fmla="*/ 4511 h 10000"/>
              <a:gd name="connsiteX47" fmla="*/ 1469 w 10000"/>
              <a:gd name="connsiteY47" fmla="*/ 4604 h 10000"/>
              <a:gd name="connsiteX48" fmla="*/ 1505 w 10000"/>
              <a:gd name="connsiteY48" fmla="*/ 4712 h 10000"/>
              <a:gd name="connsiteX49" fmla="*/ 1682 w 10000"/>
              <a:gd name="connsiteY49" fmla="*/ 4844 h 10000"/>
              <a:gd name="connsiteX50" fmla="*/ 1802 w 10000"/>
              <a:gd name="connsiteY50" fmla="*/ 4831 h 10000"/>
              <a:gd name="connsiteX51" fmla="*/ 1849 w 10000"/>
              <a:gd name="connsiteY51" fmla="*/ 4865 h 10000"/>
              <a:gd name="connsiteX52" fmla="*/ 1838 w 10000"/>
              <a:gd name="connsiteY52" fmla="*/ 4944 h 10000"/>
              <a:gd name="connsiteX53" fmla="*/ 2014 w 10000"/>
              <a:gd name="connsiteY53" fmla="*/ 5024 h 10000"/>
              <a:gd name="connsiteX54" fmla="*/ 2125 w 10000"/>
              <a:gd name="connsiteY54" fmla="*/ 5043 h 10000"/>
              <a:gd name="connsiteX55" fmla="*/ 2143 w 10000"/>
              <a:gd name="connsiteY55" fmla="*/ 5150 h 10000"/>
              <a:gd name="connsiteX56" fmla="*/ 1959 w 10000"/>
              <a:gd name="connsiteY56" fmla="*/ 5282 h 10000"/>
              <a:gd name="connsiteX57" fmla="*/ 1618 w 10000"/>
              <a:gd name="connsiteY57" fmla="*/ 5289 h 10000"/>
              <a:gd name="connsiteX58" fmla="*/ 1395 w 10000"/>
              <a:gd name="connsiteY58" fmla="*/ 5190 h 10000"/>
              <a:gd name="connsiteX59" fmla="*/ 1275 w 10000"/>
              <a:gd name="connsiteY59" fmla="*/ 5190 h 10000"/>
              <a:gd name="connsiteX60" fmla="*/ 1229 w 10000"/>
              <a:gd name="connsiteY60" fmla="*/ 5229 h 10000"/>
              <a:gd name="connsiteX61" fmla="*/ 1820 w 10000"/>
              <a:gd name="connsiteY61" fmla="*/ 5801 h 10000"/>
              <a:gd name="connsiteX62" fmla="*/ 1904 w 10000"/>
              <a:gd name="connsiteY62" fmla="*/ 5834 h 10000"/>
              <a:gd name="connsiteX63" fmla="*/ 1876 w 10000"/>
              <a:gd name="connsiteY63" fmla="*/ 6073 h 10000"/>
              <a:gd name="connsiteX64" fmla="*/ 1830 w 10000"/>
              <a:gd name="connsiteY64" fmla="*/ 6166 h 10000"/>
              <a:gd name="connsiteX65" fmla="*/ 1692 w 10000"/>
              <a:gd name="connsiteY65" fmla="*/ 6206 h 10000"/>
              <a:gd name="connsiteX66" fmla="*/ 1591 w 10000"/>
              <a:gd name="connsiteY66" fmla="*/ 6140 h 10000"/>
              <a:gd name="connsiteX67" fmla="*/ 1487 w 10000"/>
              <a:gd name="connsiteY67" fmla="*/ 6133 h 10000"/>
              <a:gd name="connsiteX68" fmla="*/ 1369 w 10000"/>
              <a:gd name="connsiteY68" fmla="*/ 6260 h 10000"/>
              <a:gd name="connsiteX69" fmla="*/ 1173 w 10000"/>
              <a:gd name="connsiteY69" fmla="*/ 6326 h 10000"/>
              <a:gd name="connsiteX70" fmla="*/ 989 w 10000"/>
              <a:gd name="connsiteY70" fmla="*/ 6326 h 10000"/>
              <a:gd name="connsiteX71" fmla="*/ 898 w 10000"/>
              <a:gd name="connsiteY71" fmla="*/ 6378 h 10000"/>
              <a:gd name="connsiteX72" fmla="*/ 785 w 10000"/>
              <a:gd name="connsiteY72" fmla="*/ 6372 h 10000"/>
              <a:gd name="connsiteX73" fmla="*/ 740 w 10000"/>
              <a:gd name="connsiteY73" fmla="*/ 6286 h 10000"/>
              <a:gd name="connsiteX74" fmla="*/ 583 w 10000"/>
              <a:gd name="connsiteY74" fmla="*/ 6293 h 10000"/>
              <a:gd name="connsiteX75" fmla="*/ 454 w 10000"/>
              <a:gd name="connsiteY75" fmla="*/ 6398 h 10000"/>
              <a:gd name="connsiteX76" fmla="*/ 509 w 10000"/>
              <a:gd name="connsiteY76" fmla="*/ 6492 h 10000"/>
              <a:gd name="connsiteX77" fmla="*/ 655 w 10000"/>
              <a:gd name="connsiteY77" fmla="*/ 6539 h 10000"/>
              <a:gd name="connsiteX78" fmla="*/ 701 w 10000"/>
              <a:gd name="connsiteY78" fmla="*/ 6704 h 10000"/>
              <a:gd name="connsiteX79" fmla="*/ 785 w 10000"/>
              <a:gd name="connsiteY79" fmla="*/ 6797 h 10000"/>
              <a:gd name="connsiteX80" fmla="*/ 785 w 10000"/>
              <a:gd name="connsiteY80" fmla="*/ 6977 h 10000"/>
              <a:gd name="connsiteX81" fmla="*/ 731 w 10000"/>
              <a:gd name="connsiteY81" fmla="*/ 7044 h 10000"/>
              <a:gd name="connsiteX82" fmla="*/ 610 w 10000"/>
              <a:gd name="connsiteY82" fmla="*/ 7029 h 10000"/>
              <a:gd name="connsiteX83" fmla="*/ 535 w 10000"/>
              <a:gd name="connsiteY83" fmla="*/ 6977 h 10000"/>
              <a:gd name="connsiteX84" fmla="*/ 480 w 10000"/>
              <a:gd name="connsiteY84" fmla="*/ 6804 h 10000"/>
              <a:gd name="connsiteX85" fmla="*/ 407 w 10000"/>
              <a:gd name="connsiteY85" fmla="*/ 6751 h 10000"/>
              <a:gd name="connsiteX86" fmla="*/ 204 w 10000"/>
              <a:gd name="connsiteY86" fmla="*/ 6751 h 10000"/>
              <a:gd name="connsiteX87" fmla="*/ 371 w 10000"/>
              <a:gd name="connsiteY87" fmla="*/ 6545 h 10000"/>
              <a:gd name="connsiteX88" fmla="*/ 346 w 10000"/>
              <a:gd name="connsiteY88" fmla="*/ 6749 h 10000"/>
              <a:gd name="connsiteX89" fmla="*/ 405 w 10000"/>
              <a:gd name="connsiteY89" fmla="*/ 6827 h 10000"/>
              <a:gd name="connsiteX90" fmla="*/ 353 w 10000"/>
              <a:gd name="connsiteY90" fmla="*/ 6788 h 10000"/>
              <a:gd name="connsiteX91" fmla="*/ 182 w 10000"/>
              <a:gd name="connsiteY91" fmla="*/ 6703 h 10000"/>
              <a:gd name="connsiteX92" fmla="*/ 625 w 10000"/>
              <a:gd name="connsiteY92" fmla="*/ 6929 h 10000"/>
              <a:gd name="connsiteX93" fmla="*/ 577 w 10000"/>
              <a:gd name="connsiteY93" fmla="*/ 6756 h 10000"/>
              <a:gd name="connsiteX94" fmla="*/ 605 w 10000"/>
              <a:gd name="connsiteY94" fmla="*/ 6947 h 10000"/>
              <a:gd name="connsiteX95" fmla="*/ 515 w 10000"/>
              <a:gd name="connsiteY95" fmla="*/ 6902 h 10000"/>
              <a:gd name="connsiteX96" fmla="*/ 674 w 10000"/>
              <a:gd name="connsiteY96" fmla="*/ 6943 h 10000"/>
              <a:gd name="connsiteX97" fmla="*/ 668 w 10000"/>
              <a:gd name="connsiteY97" fmla="*/ 6967 h 10000"/>
              <a:gd name="connsiteX98" fmla="*/ 681 w 10000"/>
              <a:gd name="connsiteY98" fmla="*/ 6941 h 10000"/>
              <a:gd name="connsiteX99" fmla="*/ 496 w 10000"/>
              <a:gd name="connsiteY99" fmla="*/ 6771 h 10000"/>
              <a:gd name="connsiteX100" fmla="*/ 705 w 10000"/>
              <a:gd name="connsiteY100" fmla="*/ 6966 h 10000"/>
              <a:gd name="connsiteX101" fmla="*/ 1154 w 10000"/>
              <a:gd name="connsiteY101" fmla="*/ 7070 h 10000"/>
              <a:gd name="connsiteX102" fmla="*/ 1026 w 10000"/>
              <a:gd name="connsiteY102" fmla="*/ 7016 h 10000"/>
              <a:gd name="connsiteX103" fmla="*/ 1388 w 10000"/>
              <a:gd name="connsiteY103" fmla="*/ 7135 h 10000"/>
              <a:gd name="connsiteX104" fmla="*/ 1314 w 10000"/>
              <a:gd name="connsiteY104" fmla="*/ 6997 h 10000"/>
              <a:gd name="connsiteX105" fmla="*/ 1795 w 10000"/>
              <a:gd name="connsiteY105" fmla="*/ 7174 h 10000"/>
              <a:gd name="connsiteX106" fmla="*/ 2083 w 10000"/>
              <a:gd name="connsiteY106" fmla="*/ 7290 h 10000"/>
              <a:gd name="connsiteX107" fmla="*/ 2354 w 10000"/>
              <a:gd name="connsiteY107" fmla="*/ 7583 h 10000"/>
              <a:gd name="connsiteX108" fmla="*/ 2539 w 10000"/>
              <a:gd name="connsiteY108" fmla="*/ 8108 h 10000"/>
              <a:gd name="connsiteX109" fmla="*/ 3241 w 10000"/>
              <a:gd name="connsiteY109" fmla="*/ 8563 h 10000"/>
              <a:gd name="connsiteX110" fmla="*/ 3290 w 10000"/>
              <a:gd name="connsiteY110" fmla="*/ 8917 h 10000"/>
              <a:gd name="connsiteX111" fmla="*/ 3558 w 10000"/>
              <a:gd name="connsiteY111" fmla="*/ 9290 h 10000"/>
              <a:gd name="connsiteX112" fmla="*/ 4020 w 10000"/>
              <a:gd name="connsiteY112" fmla="*/ 9429 h 10000"/>
              <a:gd name="connsiteX113" fmla="*/ 4556 w 10000"/>
              <a:gd name="connsiteY113" fmla="*/ 9934 h 10000"/>
              <a:gd name="connsiteX114" fmla="*/ 4657 w 10000"/>
              <a:gd name="connsiteY114" fmla="*/ 9994 h 10000"/>
              <a:gd name="connsiteX115" fmla="*/ 4833 w 10000"/>
              <a:gd name="connsiteY115" fmla="*/ 10000 h 10000"/>
              <a:gd name="connsiteX116" fmla="*/ 5001 w 10000"/>
              <a:gd name="connsiteY116" fmla="*/ 9908 h 10000"/>
              <a:gd name="connsiteX117" fmla="*/ 5037 w 10000"/>
              <a:gd name="connsiteY117" fmla="*/ 9615 h 10000"/>
              <a:gd name="connsiteX118" fmla="*/ 5795 w 10000"/>
              <a:gd name="connsiteY118" fmla="*/ 9442 h 10000"/>
              <a:gd name="connsiteX119" fmla="*/ 5952 w 10000"/>
              <a:gd name="connsiteY119" fmla="*/ 9463 h 10000"/>
              <a:gd name="connsiteX120" fmla="*/ 6229 w 10000"/>
              <a:gd name="connsiteY120" fmla="*/ 9688 h 10000"/>
              <a:gd name="connsiteX121" fmla="*/ 6349 w 10000"/>
              <a:gd name="connsiteY121" fmla="*/ 9676 h 10000"/>
              <a:gd name="connsiteX122" fmla="*/ 6359 w 10000"/>
              <a:gd name="connsiteY122" fmla="*/ 9542 h 10000"/>
              <a:gd name="connsiteX123" fmla="*/ 6701 w 10000"/>
              <a:gd name="connsiteY123" fmla="*/ 9382 h 10000"/>
              <a:gd name="connsiteX124" fmla="*/ 7430 w 10000"/>
              <a:gd name="connsiteY124" fmla="*/ 9475 h 10000"/>
              <a:gd name="connsiteX125" fmla="*/ 7588 w 10000"/>
              <a:gd name="connsiteY125" fmla="*/ 9336 h 10000"/>
              <a:gd name="connsiteX126" fmla="*/ 8262 w 10000"/>
              <a:gd name="connsiteY126" fmla="*/ 9415 h 10000"/>
              <a:gd name="connsiteX127" fmla="*/ 8743 w 10000"/>
              <a:gd name="connsiteY127" fmla="*/ 9355 h 10000"/>
              <a:gd name="connsiteX128" fmla="*/ 9020 w 10000"/>
              <a:gd name="connsiteY128" fmla="*/ 9442 h 10000"/>
              <a:gd name="connsiteX129" fmla="*/ 8993 w 10000"/>
              <a:gd name="connsiteY129" fmla="*/ 8665 h 10000"/>
              <a:gd name="connsiteX130" fmla="*/ 9510 w 10000"/>
              <a:gd name="connsiteY130" fmla="*/ 7828 h 10000"/>
              <a:gd name="connsiteX131" fmla="*/ 10000 w 10000"/>
              <a:gd name="connsiteY131" fmla="*/ 7449 h 10000"/>
              <a:gd name="connsiteX132" fmla="*/ 8900 w 10000"/>
              <a:gd name="connsiteY132" fmla="*/ 6465 h 10000"/>
              <a:gd name="connsiteX133" fmla="*/ 8881 w 10000"/>
              <a:gd name="connsiteY133" fmla="*/ 5117 h 10000"/>
              <a:gd name="connsiteX134" fmla="*/ 9602 w 10000"/>
              <a:gd name="connsiteY134" fmla="*/ 4857 h 10000"/>
              <a:gd name="connsiteX135" fmla="*/ 9187 w 10000"/>
              <a:gd name="connsiteY135" fmla="*/ 4791 h 10000"/>
              <a:gd name="connsiteX136" fmla="*/ 8808 w 10000"/>
              <a:gd name="connsiteY136" fmla="*/ 4286 h 10000"/>
              <a:gd name="connsiteX137" fmla="*/ 9242 w 10000"/>
              <a:gd name="connsiteY137" fmla="*/ 3941 h 10000"/>
              <a:gd name="connsiteX138" fmla="*/ 8919 w 10000"/>
              <a:gd name="connsiteY138" fmla="*/ 3595 h 10000"/>
              <a:gd name="connsiteX139" fmla="*/ 8429 w 10000"/>
              <a:gd name="connsiteY139" fmla="*/ 3893 h 10000"/>
              <a:gd name="connsiteX140" fmla="*/ 7172 w 10000"/>
              <a:gd name="connsiteY140" fmla="*/ 3595 h 10000"/>
              <a:gd name="connsiteX141" fmla="*/ 6505 w 10000"/>
              <a:gd name="connsiteY141" fmla="*/ 3230 h 10000"/>
              <a:gd name="connsiteX142" fmla="*/ 6331 w 10000"/>
              <a:gd name="connsiteY142" fmla="*/ 2465 h 10000"/>
              <a:gd name="connsiteX143" fmla="*/ 5980 w 10000"/>
              <a:gd name="connsiteY143" fmla="*/ 2306 h 10000"/>
              <a:gd name="connsiteX144" fmla="*/ 5508 w 10000"/>
              <a:gd name="connsiteY144" fmla="*/ 2233 h 10000"/>
              <a:gd name="connsiteX145" fmla="*/ 5121 w 10000"/>
              <a:gd name="connsiteY145" fmla="*/ 1821 h 10000"/>
              <a:gd name="connsiteX146" fmla="*/ 4667 w 10000"/>
              <a:gd name="connsiteY146" fmla="*/ 904 h 10000"/>
              <a:gd name="connsiteX147" fmla="*/ 4223 w 10000"/>
              <a:gd name="connsiteY147" fmla="*/ 525 h 10000"/>
              <a:gd name="connsiteX148" fmla="*/ 3392 w 10000"/>
              <a:gd name="connsiteY148" fmla="*/ 219 h 10000"/>
              <a:gd name="connsiteX149" fmla="*/ 3188 w 10000"/>
              <a:gd name="connsiteY149" fmla="*/ 0 h 10000"/>
              <a:gd name="connsiteX150" fmla="*/ 2681 w 10000"/>
              <a:gd name="connsiteY150" fmla="*/ 127 h 10000"/>
              <a:gd name="connsiteX151" fmla="*/ 2162 w 10000"/>
              <a:gd name="connsiteY151" fmla="*/ 147 h 10000"/>
              <a:gd name="connsiteX152" fmla="*/ 1487 w 10000"/>
              <a:gd name="connsiteY152" fmla="*/ 459 h 10000"/>
              <a:gd name="connsiteX153" fmla="*/ 879 w 10000"/>
              <a:gd name="connsiteY153" fmla="*/ 472 h 10000"/>
              <a:gd name="connsiteX154" fmla="*/ 591 w 10000"/>
              <a:gd name="connsiteY154" fmla="*/ 631 h 10000"/>
              <a:gd name="connsiteX155" fmla="*/ 0 w 10000"/>
              <a:gd name="connsiteY155" fmla="*/ 672 h 10000"/>
              <a:gd name="connsiteX0" fmla="*/ 0 w 10000"/>
              <a:gd name="connsiteY0" fmla="*/ 672 h 10000"/>
              <a:gd name="connsiteX1" fmla="*/ 324 w 10000"/>
              <a:gd name="connsiteY1" fmla="*/ 898 h 10000"/>
              <a:gd name="connsiteX2" fmla="*/ 342 w 10000"/>
              <a:gd name="connsiteY2" fmla="*/ 1003 h 10000"/>
              <a:gd name="connsiteX3" fmla="*/ 279 w 10000"/>
              <a:gd name="connsiteY3" fmla="*/ 1070 h 10000"/>
              <a:gd name="connsiteX4" fmla="*/ 379 w 10000"/>
              <a:gd name="connsiteY4" fmla="*/ 1143 h 10000"/>
              <a:gd name="connsiteX5" fmla="*/ 388 w 10000"/>
              <a:gd name="connsiteY5" fmla="*/ 1243 h 10000"/>
              <a:gd name="connsiteX6" fmla="*/ 269 w 10000"/>
              <a:gd name="connsiteY6" fmla="*/ 1363 h 10000"/>
              <a:gd name="connsiteX7" fmla="*/ 287 w 10000"/>
              <a:gd name="connsiteY7" fmla="*/ 1442 h 10000"/>
              <a:gd name="connsiteX8" fmla="*/ 426 w 10000"/>
              <a:gd name="connsiteY8" fmla="*/ 1495 h 10000"/>
              <a:gd name="connsiteX9" fmla="*/ 517 w 10000"/>
              <a:gd name="connsiteY9" fmla="*/ 1428 h 10000"/>
              <a:gd name="connsiteX10" fmla="*/ 601 w 10000"/>
              <a:gd name="connsiteY10" fmla="*/ 1428 h 10000"/>
              <a:gd name="connsiteX11" fmla="*/ 731 w 10000"/>
              <a:gd name="connsiteY11" fmla="*/ 1501 h 10000"/>
              <a:gd name="connsiteX12" fmla="*/ 731 w 10000"/>
              <a:gd name="connsiteY12" fmla="*/ 1548 h 10000"/>
              <a:gd name="connsiteX13" fmla="*/ 647 w 10000"/>
              <a:gd name="connsiteY13" fmla="*/ 1595 h 10000"/>
              <a:gd name="connsiteX14" fmla="*/ 565 w 10000"/>
              <a:gd name="connsiteY14" fmla="*/ 1595 h 10000"/>
              <a:gd name="connsiteX15" fmla="*/ 526 w 10000"/>
              <a:gd name="connsiteY15" fmla="*/ 1675 h 10000"/>
              <a:gd name="connsiteX16" fmla="*/ 583 w 10000"/>
              <a:gd name="connsiteY16" fmla="*/ 1734 h 10000"/>
              <a:gd name="connsiteX17" fmla="*/ 517 w 10000"/>
              <a:gd name="connsiteY17" fmla="*/ 1881 h 10000"/>
              <a:gd name="connsiteX18" fmla="*/ 583 w 10000"/>
              <a:gd name="connsiteY18" fmla="*/ 1933 h 10000"/>
              <a:gd name="connsiteX19" fmla="*/ 748 w 10000"/>
              <a:gd name="connsiteY19" fmla="*/ 1933 h 10000"/>
              <a:gd name="connsiteX20" fmla="*/ 942 w 10000"/>
              <a:gd name="connsiteY20" fmla="*/ 2080 h 10000"/>
              <a:gd name="connsiteX21" fmla="*/ 1136 w 10000"/>
              <a:gd name="connsiteY21" fmla="*/ 2067 h 10000"/>
              <a:gd name="connsiteX22" fmla="*/ 1292 w 10000"/>
              <a:gd name="connsiteY22" fmla="*/ 2125 h 10000"/>
              <a:gd name="connsiteX23" fmla="*/ 1479 w 10000"/>
              <a:gd name="connsiteY23" fmla="*/ 2119 h 10000"/>
              <a:gd name="connsiteX24" fmla="*/ 1571 w 10000"/>
              <a:gd name="connsiteY24" fmla="*/ 2153 h 10000"/>
              <a:gd name="connsiteX25" fmla="*/ 1591 w 10000"/>
              <a:gd name="connsiteY25" fmla="*/ 2219 h 10000"/>
              <a:gd name="connsiteX26" fmla="*/ 1432 w 10000"/>
              <a:gd name="connsiteY26" fmla="*/ 2278 h 10000"/>
              <a:gd name="connsiteX27" fmla="*/ 1109 w 10000"/>
              <a:gd name="connsiteY27" fmla="*/ 2227 h 10000"/>
              <a:gd name="connsiteX28" fmla="*/ 1018 w 10000"/>
              <a:gd name="connsiteY28" fmla="*/ 2239 h 10000"/>
              <a:gd name="connsiteX29" fmla="*/ 961 w 10000"/>
              <a:gd name="connsiteY29" fmla="*/ 2386 h 10000"/>
              <a:gd name="connsiteX30" fmla="*/ 860 w 10000"/>
              <a:gd name="connsiteY30" fmla="*/ 2479 h 10000"/>
              <a:gd name="connsiteX31" fmla="*/ 916 w 10000"/>
              <a:gd name="connsiteY31" fmla="*/ 2771 h 10000"/>
              <a:gd name="connsiteX32" fmla="*/ 1008 w 10000"/>
              <a:gd name="connsiteY32" fmla="*/ 2817 h 10000"/>
              <a:gd name="connsiteX33" fmla="*/ 953 w 10000"/>
              <a:gd name="connsiteY33" fmla="*/ 2963 h 10000"/>
              <a:gd name="connsiteX34" fmla="*/ 1469 w 10000"/>
              <a:gd name="connsiteY34" fmla="*/ 2998 h 10000"/>
              <a:gd name="connsiteX35" fmla="*/ 1571 w 10000"/>
              <a:gd name="connsiteY35" fmla="*/ 3091 h 10000"/>
              <a:gd name="connsiteX36" fmla="*/ 1497 w 10000"/>
              <a:gd name="connsiteY36" fmla="*/ 3196 h 10000"/>
              <a:gd name="connsiteX37" fmla="*/ 1497 w 10000"/>
              <a:gd name="connsiteY37" fmla="*/ 3329 h 10000"/>
              <a:gd name="connsiteX38" fmla="*/ 1073 w 10000"/>
              <a:gd name="connsiteY38" fmla="*/ 3887 h 10000"/>
              <a:gd name="connsiteX39" fmla="*/ 971 w 10000"/>
              <a:gd name="connsiteY39" fmla="*/ 3927 h 10000"/>
              <a:gd name="connsiteX40" fmla="*/ 971 w 10000"/>
              <a:gd name="connsiteY40" fmla="*/ 4020 h 10000"/>
              <a:gd name="connsiteX41" fmla="*/ 1037 w 10000"/>
              <a:gd name="connsiteY41" fmla="*/ 4087 h 10000"/>
              <a:gd name="connsiteX42" fmla="*/ 888 w 10000"/>
              <a:gd name="connsiteY42" fmla="*/ 4247 h 10000"/>
              <a:gd name="connsiteX43" fmla="*/ 971 w 10000"/>
              <a:gd name="connsiteY43" fmla="*/ 4451 h 10000"/>
              <a:gd name="connsiteX44" fmla="*/ 1117 w 10000"/>
              <a:gd name="connsiteY44" fmla="*/ 4479 h 10000"/>
              <a:gd name="connsiteX45" fmla="*/ 1229 w 10000"/>
              <a:gd name="connsiteY45" fmla="*/ 4538 h 10000"/>
              <a:gd name="connsiteX46" fmla="*/ 1395 w 10000"/>
              <a:gd name="connsiteY46" fmla="*/ 4511 h 10000"/>
              <a:gd name="connsiteX47" fmla="*/ 1469 w 10000"/>
              <a:gd name="connsiteY47" fmla="*/ 4604 h 10000"/>
              <a:gd name="connsiteX48" fmla="*/ 1505 w 10000"/>
              <a:gd name="connsiteY48" fmla="*/ 4712 h 10000"/>
              <a:gd name="connsiteX49" fmla="*/ 1682 w 10000"/>
              <a:gd name="connsiteY49" fmla="*/ 4844 h 10000"/>
              <a:gd name="connsiteX50" fmla="*/ 1802 w 10000"/>
              <a:gd name="connsiteY50" fmla="*/ 4831 h 10000"/>
              <a:gd name="connsiteX51" fmla="*/ 1849 w 10000"/>
              <a:gd name="connsiteY51" fmla="*/ 4865 h 10000"/>
              <a:gd name="connsiteX52" fmla="*/ 1838 w 10000"/>
              <a:gd name="connsiteY52" fmla="*/ 4944 h 10000"/>
              <a:gd name="connsiteX53" fmla="*/ 2014 w 10000"/>
              <a:gd name="connsiteY53" fmla="*/ 5024 h 10000"/>
              <a:gd name="connsiteX54" fmla="*/ 2125 w 10000"/>
              <a:gd name="connsiteY54" fmla="*/ 5043 h 10000"/>
              <a:gd name="connsiteX55" fmla="*/ 2143 w 10000"/>
              <a:gd name="connsiteY55" fmla="*/ 5150 h 10000"/>
              <a:gd name="connsiteX56" fmla="*/ 1959 w 10000"/>
              <a:gd name="connsiteY56" fmla="*/ 5282 h 10000"/>
              <a:gd name="connsiteX57" fmla="*/ 1618 w 10000"/>
              <a:gd name="connsiteY57" fmla="*/ 5289 h 10000"/>
              <a:gd name="connsiteX58" fmla="*/ 1395 w 10000"/>
              <a:gd name="connsiteY58" fmla="*/ 5190 h 10000"/>
              <a:gd name="connsiteX59" fmla="*/ 1275 w 10000"/>
              <a:gd name="connsiteY59" fmla="*/ 5190 h 10000"/>
              <a:gd name="connsiteX60" fmla="*/ 1229 w 10000"/>
              <a:gd name="connsiteY60" fmla="*/ 5229 h 10000"/>
              <a:gd name="connsiteX61" fmla="*/ 1820 w 10000"/>
              <a:gd name="connsiteY61" fmla="*/ 5801 h 10000"/>
              <a:gd name="connsiteX62" fmla="*/ 1904 w 10000"/>
              <a:gd name="connsiteY62" fmla="*/ 5834 h 10000"/>
              <a:gd name="connsiteX63" fmla="*/ 1876 w 10000"/>
              <a:gd name="connsiteY63" fmla="*/ 6073 h 10000"/>
              <a:gd name="connsiteX64" fmla="*/ 1830 w 10000"/>
              <a:gd name="connsiteY64" fmla="*/ 6166 h 10000"/>
              <a:gd name="connsiteX65" fmla="*/ 1692 w 10000"/>
              <a:gd name="connsiteY65" fmla="*/ 6206 h 10000"/>
              <a:gd name="connsiteX66" fmla="*/ 1591 w 10000"/>
              <a:gd name="connsiteY66" fmla="*/ 6140 h 10000"/>
              <a:gd name="connsiteX67" fmla="*/ 1487 w 10000"/>
              <a:gd name="connsiteY67" fmla="*/ 6133 h 10000"/>
              <a:gd name="connsiteX68" fmla="*/ 1369 w 10000"/>
              <a:gd name="connsiteY68" fmla="*/ 6260 h 10000"/>
              <a:gd name="connsiteX69" fmla="*/ 1173 w 10000"/>
              <a:gd name="connsiteY69" fmla="*/ 6326 h 10000"/>
              <a:gd name="connsiteX70" fmla="*/ 989 w 10000"/>
              <a:gd name="connsiteY70" fmla="*/ 6326 h 10000"/>
              <a:gd name="connsiteX71" fmla="*/ 898 w 10000"/>
              <a:gd name="connsiteY71" fmla="*/ 6378 h 10000"/>
              <a:gd name="connsiteX72" fmla="*/ 785 w 10000"/>
              <a:gd name="connsiteY72" fmla="*/ 6372 h 10000"/>
              <a:gd name="connsiteX73" fmla="*/ 740 w 10000"/>
              <a:gd name="connsiteY73" fmla="*/ 6286 h 10000"/>
              <a:gd name="connsiteX74" fmla="*/ 583 w 10000"/>
              <a:gd name="connsiteY74" fmla="*/ 6293 h 10000"/>
              <a:gd name="connsiteX75" fmla="*/ 454 w 10000"/>
              <a:gd name="connsiteY75" fmla="*/ 6398 h 10000"/>
              <a:gd name="connsiteX76" fmla="*/ 509 w 10000"/>
              <a:gd name="connsiteY76" fmla="*/ 6492 h 10000"/>
              <a:gd name="connsiteX77" fmla="*/ 655 w 10000"/>
              <a:gd name="connsiteY77" fmla="*/ 6539 h 10000"/>
              <a:gd name="connsiteX78" fmla="*/ 701 w 10000"/>
              <a:gd name="connsiteY78" fmla="*/ 6704 h 10000"/>
              <a:gd name="connsiteX79" fmla="*/ 785 w 10000"/>
              <a:gd name="connsiteY79" fmla="*/ 6797 h 10000"/>
              <a:gd name="connsiteX80" fmla="*/ 785 w 10000"/>
              <a:gd name="connsiteY80" fmla="*/ 6977 h 10000"/>
              <a:gd name="connsiteX81" fmla="*/ 731 w 10000"/>
              <a:gd name="connsiteY81" fmla="*/ 7044 h 10000"/>
              <a:gd name="connsiteX82" fmla="*/ 610 w 10000"/>
              <a:gd name="connsiteY82" fmla="*/ 7029 h 10000"/>
              <a:gd name="connsiteX83" fmla="*/ 535 w 10000"/>
              <a:gd name="connsiteY83" fmla="*/ 6977 h 10000"/>
              <a:gd name="connsiteX84" fmla="*/ 480 w 10000"/>
              <a:gd name="connsiteY84" fmla="*/ 6804 h 10000"/>
              <a:gd name="connsiteX85" fmla="*/ 407 w 10000"/>
              <a:gd name="connsiteY85" fmla="*/ 6751 h 10000"/>
              <a:gd name="connsiteX86" fmla="*/ 204 w 10000"/>
              <a:gd name="connsiteY86" fmla="*/ 6751 h 10000"/>
              <a:gd name="connsiteX87" fmla="*/ 371 w 10000"/>
              <a:gd name="connsiteY87" fmla="*/ 6545 h 10000"/>
              <a:gd name="connsiteX88" fmla="*/ 346 w 10000"/>
              <a:gd name="connsiteY88" fmla="*/ 6749 h 10000"/>
              <a:gd name="connsiteX89" fmla="*/ 405 w 10000"/>
              <a:gd name="connsiteY89" fmla="*/ 6827 h 10000"/>
              <a:gd name="connsiteX90" fmla="*/ 353 w 10000"/>
              <a:gd name="connsiteY90" fmla="*/ 6788 h 10000"/>
              <a:gd name="connsiteX91" fmla="*/ 182 w 10000"/>
              <a:gd name="connsiteY91" fmla="*/ 6703 h 10000"/>
              <a:gd name="connsiteX92" fmla="*/ 625 w 10000"/>
              <a:gd name="connsiteY92" fmla="*/ 6929 h 10000"/>
              <a:gd name="connsiteX93" fmla="*/ 577 w 10000"/>
              <a:gd name="connsiteY93" fmla="*/ 6756 h 10000"/>
              <a:gd name="connsiteX94" fmla="*/ 605 w 10000"/>
              <a:gd name="connsiteY94" fmla="*/ 6947 h 10000"/>
              <a:gd name="connsiteX95" fmla="*/ 515 w 10000"/>
              <a:gd name="connsiteY95" fmla="*/ 6902 h 10000"/>
              <a:gd name="connsiteX96" fmla="*/ 674 w 10000"/>
              <a:gd name="connsiteY96" fmla="*/ 6943 h 10000"/>
              <a:gd name="connsiteX97" fmla="*/ 668 w 10000"/>
              <a:gd name="connsiteY97" fmla="*/ 6967 h 10000"/>
              <a:gd name="connsiteX98" fmla="*/ 681 w 10000"/>
              <a:gd name="connsiteY98" fmla="*/ 6941 h 10000"/>
              <a:gd name="connsiteX99" fmla="*/ 496 w 10000"/>
              <a:gd name="connsiteY99" fmla="*/ 6771 h 10000"/>
              <a:gd name="connsiteX100" fmla="*/ 705 w 10000"/>
              <a:gd name="connsiteY100" fmla="*/ 6966 h 10000"/>
              <a:gd name="connsiteX101" fmla="*/ 1154 w 10000"/>
              <a:gd name="connsiteY101" fmla="*/ 7070 h 10000"/>
              <a:gd name="connsiteX102" fmla="*/ 1026 w 10000"/>
              <a:gd name="connsiteY102" fmla="*/ 7016 h 10000"/>
              <a:gd name="connsiteX103" fmla="*/ 1617 w 10000"/>
              <a:gd name="connsiteY103" fmla="*/ 7084 h 10000"/>
              <a:gd name="connsiteX104" fmla="*/ 1314 w 10000"/>
              <a:gd name="connsiteY104" fmla="*/ 6997 h 10000"/>
              <a:gd name="connsiteX105" fmla="*/ 1795 w 10000"/>
              <a:gd name="connsiteY105" fmla="*/ 7174 h 10000"/>
              <a:gd name="connsiteX106" fmla="*/ 2083 w 10000"/>
              <a:gd name="connsiteY106" fmla="*/ 7290 h 10000"/>
              <a:gd name="connsiteX107" fmla="*/ 2354 w 10000"/>
              <a:gd name="connsiteY107" fmla="*/ 7583 h 10000"/>
              <a:gd name="connsiteX108" fmla="*/ 2539 w 10000"/>
              <a:gd name="connsiteY108" fmla="*/ 8108 h 10000"/>
              <a:gd name="connsiteX109" fmla="*/ 3241 w 10000"/>
              <a:gd name="connsiteY109" fmla="*/ 8563 h 10000"/>
              <a:gd name="connsiteX110" fmla="*/ 3290 w 10000"/>
              <a:gd name="connsiteY110" fmla="*/ 8917 h 10000"/>
              <a:gd name="connsiteX111" fmla="*/ 3558 w 10000"/>
              <a:gd name="connsiteY111" fmla="*/ 9290 h 10000"/>
              <a:gd name="connsiteX112" fmla="*/ 4020 w 10000"/>
              <a:gd name="connsiteY112" fmla="*/ 9429 h 10000"/>
              <a:gd name="connsiteX113" fmla="*/ 4556 w 10000"/>
              <a:gd name="connsiteY113" fmla="*/ 9934 h 10000"/>
              <a:gd name="connsiteX114" fmla="*/ 4657 w 10000"/>
              <a:gd name="connsiteY114" fmla="*/ 9994 h 10000"/>
              <a:gd name="connsiteX115" fmla="*/ 4833 w 10000"/>
              <a:gd name="connsiteY115" fmla="*/ 10000 h 10000"/>
              <a:gd name="connsiteX116" fmla="*/ 5001 w 10000"/>
              <a:gd name="connsiteY116" fmla="*/ 9908 h 10000"/>
              <a:gd name="connsiteX117" fmla="*/ 5037 w 10000"/>
              <a:gd name="connsiteY117" fmla="*/ 9615 h 10000"/>
              <a:gd name="connsiteX118" fmla="*/ 5795 w 10000"/>
              <a:gd name="connsiteY118" fmla="*/ 9442 h 10000"/>
              <a:gd name="connsiteX119" fmla="*/ 5952 w 10000"/>
              <a:gd name="connsiteY119" fmla="*/ 9463 h 10000"/>
              <a:gd name="connsiteX120" fmla="*/ 6229 w 10000"/>
              <a:gd name="connsiteY120" fmla="*/ 9688 h 10000"/>
              <a:gd name="connsiteX121" fmla="*/ 6349 w 10000"/>
              <a:gd name="connsiteY121" fmla="*/ 9676 h 10000"/>
              <a:gd name="connsiteX122" fmla="*/ 6359 w 10000"/>
              <a:gd name="connsiteY122" fmla="*/ 9542 h 10000"/>
              <a:gd name="connsiteX123" fmla="*/ 6701 w 10000"/>
              <a:gd name="connsiteY123" fmla="*/ 9382 h 10000"/>
              <a:gd name="connsiteX124" fmla="*/ 7430 w 10000"/>
              <a:gd name="connsiteY124" fmla="*/ 9475 h 10000"/>
              <a:gd name="connsiteX125" fmla="*/ 7588 w 10000"/>
              <a:gd name="connsiteY125" fmla="*/ 9336 h 10000"/>
              <a:gd name="connsiteX126" fmla="*/ 8262 w 10000"/>
              <a:gd name="connsiteY126" fmla="*/ 9415 h 10000"/>
              <a:gd name="connsiteX127" fmla="*/ 8743 w 10000"/>
              <a:gd name="connsiteY127" fmla="*/ 9355 h 10000"/>
              <a:gd name="connsiteX128" fmla="*/ 9020 w 10000"/>
              <a:gd name="connsiteY128" fmla="*/ 9442 h 10000"/>
              <a:gd name="connsiteX129" fmla="*/ 8993 w 10000"/>
              <a:gd name="connsiteY129" fmla="*/ 8665 h 10000"/>
              <a:gd name="connsiteX130" fmla="*/ 9510 w 10000"/>
              <a:gd name="connsiteY130" fmla="*/ 7828 h 10000"/>
              <a:gd name="connsiteX131" fmla="*/ 10000 w 10000"/>
              <a:gd name="connsiteY131" fmla="*/ 7449 h 10000"/>
              <a:gd name="connsiteX132" fmla="*/ 8900 w 10000"/>
              <a:gd name="connsiteY132" fmla="*/ 6465 h 10000"/>
              <a:gd name="connsiteX133" fmla="*/ 8881 w 10000"/>
              <a:gd name="connsiteY133" fmla="*/ 5117 h 10000"/>
              <a:gd name="connsiteX134" fmla="*/ 9602 w 10000"/>
              <a:gd name="connsiteY134" fmla="*/ 4857 h 10000"/>
              <a:gd name="connsiteX135" fmla="*/ 9187 w 10000"/>
              <a:gd name="connsiteY135" fmla="*/ 4791 h 10000"/>
              <a:gd name="connsiteX136" fmla="*/ 8808 w 10000"/>
              <a:gd name="connsiteY136" fmla="*/ 4286 h 10000"/>
              <a:gd name="connsiteX137" fmla="*/ 9242 w 10000"/>
              <a:gd name="connsiteY137" fmla="*/ 3941 h 10000"/>
              <a:gd name="connsiteX138" fmla="*/ 8919 w 10000"/>
              <a:gd name="connsiteY138" fmla="*/ 3595 h 10000"/>
              <a:gd name="connsiteX139" fmla="*/ 8429 w 10000"/>
              <a:gd name="connsiteY139" fmla="*/ 3893 h 10000"/>
              <a:gd name="connsiteX140" fmla="*/ 7172 w 10000"/>
              <a:gd name="connsiteY140" fmla="*/ 3595 h 10000"/>
              <a:gd name="connsiteX141" fmla="*/ 6505 w 10000"/>
              <a:gd name="connsiteY141" fmla="*/ 3230 h 10000"/>
              <a:gd name="connsiteX142" fmla="*/ 6331 w 10000"/>
              <a:gd name="connsiteY142" fmla="*/ 2465 h 10000"/>
              <a:gd name="connsiteX143" fmla="*/ 5980 w 10000"/>
              <a:gd name="connsiteY143" fmla="*/ 2306 h 10000"/>
              <a:gd name="connsiteX144" fmla="*/ 5508 w 10000"/>
              <a:gd name="connsiteY144" fmla="*/ 2233 h 10000"/>
              <a:gd name="connsiteX145" fmla="*/ 5121 w 10000"/>
              <a:gd name="connsiteY145" fmla="*/ 1821 h 10000"/>
              <a:gd name="connsiteX146" fmla="*/ 4667 w 10000"/>
              <a:gd name="connsiteY146" fmla="*/ 904 h 10000"/>
              <a:gd name="connsiteX147" fmla="*/ 4223 w 10000"/>
              <a:gd name="connsiteY147" fmla="*/ 525 h 10000"/>
              <a:gd name="connsiteX148" fmla="*/ 3392 w 10000"/>
              <a:gd name="connsiteY148" fmla="*/ 219 h 10000"/>
              <a:gd name="connsiteX149" fmla="*/ 3188 w 10000"/>
              <a:gd name="connsiteY149" fmla="*/ 0 h 10000"/>
              <a:gd name="connsiteX150" fmla="*/ 2681 w 10000"/>
              <a:gd name="connsiteY150" fmla="*/ 127 h 10000"/>
              <a:gd name="connsiteX151" fmla="*/ 2162 w 10000"/>
              <a:gd name="connsiteY151" fmla="*/ 147 h 10000"/>
              <a:gd name="connsiteX152" fmla="*/ 1487 w 10000"/>
              <a:gd name="connsiteY152" fmla="*/ 459 h 10000"/>
              <a:gd name="connsiteX153" fmla="*/ 879 w 10000"/>
              <a:gd name="connsiteY153" fmla="*/ 472 h 10000"/>
              <a:gd name="connsiteX154" fmla="*/ 591 w 10000"/>
              <a:gd name="connsiteY154" fmla="*/ 631 h 10000"/>
              <a:gd name="connsiteX155" fmla="*/ 0 w 10000"/>
              <a:gd name="connsiteY155" fmla="*/ 672 h 10000"/>
              <a:gd name="connsiteX0" fmla="*/ 0 w 10000"/>
              <a:gd name="connsiteY0" fmla="*/ 672 h 10000"/>
              <a:gd name="connsiteX1" fmla="*/ 324 w 10000"/>
              <a:gd name="connsiteY1" fmla="*/ 898 h 10000"/>
              <a:gd name="connsiteX2" fmla="*/ 342 w 10000"/>
              <a:gd name="connsiteY2" fmla="*/ 1003 h 10000"/>
              <a:gd name="connsiteX3" fmla="*/ 279 w 10000"/>
              <a:gd name="connsiteY3" fmla="*/ 1070 h 10000"/>
              <a:gd name="connsiteX4" fmla="*/ 379 w 10000"/>
              <a:gd name="connsiteY4" fmla="*/ 1143 h 10000"/>
              <a:gd name="connsiteX5" fmla="*/ 388 w 10000"/>
              <a:gd name="connsiteY5" fmla="*/ 1243 h 10000"/>
              <a:gd name="connsiteX6" fmla="*/ 269 w 10000"/>
              <a:gd name="connsiteY6" fmla="*/ 1363 h 10000"/>
              <a:gd name="connsiteX7" fmla="*/ 287 w 10000"/>
              <a:gd name="connsiteY7" fmla="*/ 1442 h 10000"/>
              <a:gd name="connsiteX8" fmla="*/ 426 w 10000"/>
              <a:gd name="connsiteY8" fmla="*/ 1495 h 10000"/>
              <a:gd name="connsiteX9" fmla="*/ 517 w 10000"/>
              <a:gd name="connsiteY9" fmla="*/ 1428 h 10000"/>
              <a:gd name="connsiteX10" fmla="*/ 601 w 10000"/>
              <a:gd name="connsiteY10" fmla="*/ 1428 h 10000"/>
              <a:gd name="connsiteX11" fmla="*/ 731 w 10000"/>
              <a:gd name="connsiteY11" fmla="*/ 1501 h 10000"/>
              <a:gd name="connsiteX12" fmla="*/ 731 w 10000"/>
              <a:gd name="connsiteY12" fmla="*/ 1548 h 10000"/>
              <a:gd name="connsiteX13" fmla="*/ 647 w 10000"/>
              <a:gd name="connsiteY13" fmla="*/ 1595 h 10000"/>
              <a:gd name="connsiteX14" fmla="*/ 565 w 10000"/>
              <a:gd name="connsiteY14" fmla="*/ 1595 h 10000"/>
              <a:gd name="connsiteX15" fmla="*/ 526 w 10000"/>
              <a:gd name="connsiteY15" fmla="*/ 1675 h 10000"/>
              <a:gd name="connsiteX16" fmla="*/ 583 w 10000"/>
              <a:gd name="connsiteY16" fmla="*/ 1734 h 10000"/>
              <a:gd name="connsiteX17" fmla="*/ 517 w 10000"/>
              <a:gd name="connsiteY17" fmla="*/ 1881 h 10000"/>
              <a:gd name="connsiteX18" fmla="*/ 583 w 10000"/>
              <a:gd name="connsiteY18" fmla="*/ 1933 h 10000"/>
              <a:gd name="connsiteX19" fmla="*/ 748 w 10000"/>
              <a:gd name="connsiteY19" fmla="*/ 1933 h 10000"/>
              <a:gd name="connsiteX20" fmla="*/ 942 w 10000"/>
              <a:gd name="connsiteY20" fmla="*/ 2080 h 10000"/>
              <a:gd name="connsiteX21" fmla="*/ 1136 w 10000"/>
              <a:gd name="connsiteY21" fmla="*/ 2067 h 10000"/>
              <a:gd name="connsiteX22" fmla="*/ 1292 w 10000"/>
              <a:gd name="connsiteY22" fmla="*/ 2125 h 10000"/>
              <a:gd name="connsiteX23" fmla="*/ 1479 w 10000"/>
              <a:gd name="connsiteY23" fmla="*/ 2119 h 10000"/>
              <a:gd name="connsiteX24" fmla="*/ 1571 w 10000"/>
              <a:gd name="connsiteY24" fmla="*/ 2153 h 10000"/>
              <a:gd name="connsiteX25" fmla="*/ 1591 w 10000"/>
              <a:gd name="connsiteY25" fmla="*/ 2219 h 10000"/>
              <a:gd name="connsiteX26" fmla="*/ 1432 w 10000"/>
              <a:gd name="connsiteY26" fmla="*/ 2278 h 10000"/>
              <a:gd name="connsiteX27" fmla="*/ 1109 w 10000"/>
              <a:gd name="connsiteY27" fmla="*/ 2227 h 10000"/>
              <a:gd name="connsiteX28" fmla="*/ 1018 w 10000"/>
              <a:gd name="connsiteY28" fmla="*/ 2239 h 10000"/>
              <a:gd name="connsiteX29" fmla="*/ 961 w 10000"/>
              <a:gd name="connsiteY29" fmla="*/ 2386 h 10000"/>
              <a:gd name="connsiteX30" fmla="*/ 860 w 10000"/>
              <a:gd name="connsiteY30" fmla="*/ 2479 h 10000"/>
              <a:gd name="connsiteX31" fmla="*/ 916 w 10000"/>
              <a:gd name="connsiteY31" fmla="*/ 2771 h 10000"/>
              <a:gd name="connsiteX32" fmla="*/ 1008 w 10000"/>
              <a:gd name="connsiteY32" fmla="*/ 2817 h 10000"/>
              <a:gd name="connsiteX33" fmla="*/ 953 w 10000"/>
              <a:gd name="connsiteY33" fmla="*/ 2963 h 10000"/>
              <a:gd name="connsiteX34" fmla="*/ 1469 w 10000"/>
              <a:gd name="connsiteY34" fmla="*/ 2998 h 10000"/>
              <a:gd name="connsiteX35" fmla="*/ 1571 w 10000"/>
              <a:gd name="connsiteY35" fmla="*/ 3091 h 10000"/>
              <a:gd name="connsiteX36" fmla="*/ 1497 w 10000"/>
              <a:gd name="connsiteY36" fmla="*/ 3196 h 10000"/>
              <a:gd name="connsiteX37" fmla="*/ 1497 w 10000"/>
              <a:gd name="connsiteY37" fmla="*/ 3329 h 10000"/>
              <a:gd name="connsiteX38" fmla="*/ 1073 w 10000"/>
              <a:gd name="connsiteY38" fmla="*/ 3887 h 10000"/>
              <a:gd name="connsiteX39" fmla="*/ 971 w 10000"/>
              <a:gd name="connsiteY39" fmla="*/ 3927 h 10000"/>
              <a:gd name="connsiteX40" fmla="*/ 971 w 10000"/>
              <a:gd name="connsiteY40" fmla="*/ 4020 h 10000"/>
              <a:gd name="connsiteX41" fmla="*/ 1037 w 10000"/>
              <a:gd name="connsiteY41" fmla="*/ 4087 h 10000"/>
              <a:gd name="connsiteX42" fmla="*/ 888 w 10000"/>
              <a:gd name="connsiteY42" fmla="*/ 4247 h 10000"/>
              <a:gd name="connsiteX43" fmla="*/ 971 w 10000"/>
              <a:gd name="connsiteY43" fmla="*/ 4451 h 10000"/>
              <a:gd name="connsiteX44" fmla="*/ 1117 w 10000"/>
              <a:gd name="connsiteY44" fmla="*/ 4479 h 10000"/>
              <a:gd name="connsiteX45" fmla="*/ 1229 w 10000"/>
              <a:gd name="connsiteY45" fmla="*/ 4538 h 10000"/>
              <a:gd name="connsiteX46" fmla="*/ 1395 w 10000"/>
              <a:gd name="connsiteY46" fmla="*/ 4511 h 10000"/>
              <a:gd name="connsiteX47" fmla="*/ 1469 w 10000"/>
              <a:gd name="connsiteY47" fmla="*/ 4604 h 10000"/>
              <a:gd name="connsiteX48" fmla="*/ 1505 w 10000"/>
              <a:gd name="connsiteY48" fmla="*/ 4712 h 10000"/>
              <a:gd name="connsiteX49" fmla="*/ 1682 w 10000"/>
              <a:gd name="connsiteY49" fmla="*/ 4844 h 10000"/>
              <a:gd name="connsiteX50" fmla="*/ 1802 w 10000"/>
              <a:gd name="connsiteY50" fmla="*/ 4831 h 10000"/>
              <a:gd name="connsiteX51" fmla="*/ 1849 w 10000"/>
              <a:gd name="connsiteY51" fmla="*/ 4865 h 10000"/>
              <a:gd name="connsiteX52" fmla="*/ 1838 w 10000"/>
              <a:gd name="connsiteY52" fmla="*/ 4944 h 10000"/>
              <a:gd name="connsiteX53" fmla="*/ 2014 w 10000"/>
              <a:gd name="connsiteY53" fmla="*/ 5024 h 10000"/>
              <a:gd name="connsiteX54" fmla="*/ 2125 w 10000"/>
              <a:gd name="connsiteY54" fmla="*/ 5043 h 10000"/>
              <a:gd name="connsiteX55" fmla="*/ 2143 w 10000"/>
              <a:gd name="connsiteY55" fmla="*/ 5150 h 10000"/>
              <a:gd name="connsiteX56" fmla="*/ 1959 w 10000"/>
              <a:gd name="connsiteY56" fmla="*/ 5282 h 10000"/>
              <a:gd name="connsiteX57" fmla="*/ 1618 w 10000"/>
              <a:gd name="connsiteY57" fmla="*/ 5289 h 10000"/>
              <a:gd name="connsiteX58" fmla="*/ 1395 w 10000"/>
              <a:gd name="connsiteY58" fmla="*/ 5190 h 10000"/>
              <a:gd name="connsiteX59" fmla="*/ 1275 w 10000"/>
              <a:gd name="connsiteY59" fmla="*/ 5190 h 10000"/>
              <a:gd name="connsiteX60" fmla="*/ 1229 w 10000"/>
              <a:gd name="connsiteY60" fmla="*/ 5229 h 10000"/>
              <a:gd name="connsiteX61" fmla="*/ 1820 w 10000"/>
              <a:gd name="connsiteY61" fmla="*/ 5801 h 10000"/>
              <a:gd name="connsiteX62" fmla="*/ 1904 w 10000"/>
              <a:gd name="connsiteY62" fmla="*/ 5834 h 10000"/>
              <a:gd name="connsiteX63" fmla="*/ 1876 w 10000"/>
              <a:gd name="connsiteY63" fmla="*/ 6073 h 10000"/>
              <a:gd name="connsiteX64" fmla="*/ 1830 w 10000"/>
              <a:gd name="connsiteY64" fmla="*/ 6166 h 10000"/>
              <a:gd name="connsiteX65" fmla="*/ 1692 w 10000"/>
              <a:gd name="connsiteY65" fmla="*/ 6206 h 10000"/>
              <a:gd name="connsiteX66" fmla="*/ 1591 w 10000"/>
              <a:gd name="connsiteY66" fmla="*/ 6140 h 10000"/>
              <a:gd name="connsiteX67" fmla="*/ 1487 w 10000"/>
              <a:gd name="connsiteY67" fmla="*/ 6133 h 10000"/>
              <a:gd name="connsiteX68" fmla="*/ 1369 w 10000"/>
              <a:gd name="connsiteY68" fmla="*/ 6260 h 10000"/>
              <a:gd name="connsiteX69" fmla="*/ 1173 w 10000"/>
              <a:gd name="connsiteY69" fmla="*/ 6326 h 10000"/>
              <a:gd name="connsiteX70" fmla="*/ 989 w 10000"/>
              <a:gd name="connsiteY70" fmla="*/ 6326 h 10000"/>
              <a:gd name="connsiteX71" fmla="*/ 898 w 10000"/>
              <a:gd name="connsiteY71" fmla="*/ 6378 h 10000"/>
              <a:gd name="connsiteX72" fmla="*/ 785 w 10000"/>
              <a:gd name="connsiteY72" fmla="*/ 6372 h 10000"/>
              <a:gd name="connsiteX73" fmla="*/ 740 w 10000"/>
              <a:gd name="connsiteY73" fmla="*/ 6286 h 10000"/>
              <a:gd name="connsiteX74" fmla="*/ 583 w 10000"/>
              <a:gd name="connsiteY74" fmla="*/ 6293 h 10000"/>
              <a:gd name="connsiteX75" fmla="*/ 454 w 10000"/>
              <a:gd name="connsiteY75" fmla="*/ 6398 h 10000"/>
              <a:gd name="connsiteX76" fmla="*/ 509 w 10000"/>
              <a:gd name="connsiteY76" fmla="*/ 6492 h 10000"/>
              <a:gd name="connsiteX77" fmla="*/ 655 w 10000"/>
              <a:gd name="connsiteY77" fmla="*/ 6539 h 10000"/>
              <a:gd name="connsiteX78" fmla="*/ 701 w 10000"/>
              <a:gd name="connsiteY78" fmla="*/ 6704 h 10000"/>
              <a:gd name="connsiteX79" fmla="*/ 785 w 10000"/>
              <a:gd name="connsiteY79" fmla="*/ 6797 h 10000"/>
              <a:gd name="connsiteX80" fmla="*/ 785 w 10000"/>
              <a:gd name="connsiteY80" fmla="*/ 6977 h 10000"/>
              <a:gd name="connsiteX81" fmla="*/ 731 w 10000"/>
              <a:gd name="connsiteY81" fmla="*/ 7044 h 10000"/>
              <a:gd name="connsiteX82" fmla="*/ 610 w 10000"/>
              <a:gd name="connsiteY82" fmla="*/ 7029 h 10000"/>
              <a:gd name="connsiteX83" fmla="*/ 535 w 10000"/>
              <a:gd name="connsiteY83" fmla="*/ 6977 h 10000"/>
              <a:gd name="connsiteX84" fmla="*/ 480 w 10000"/>
              <a:gd name="connsiteY84" fmla="*/ 6804 h 10000"/>
              <a:gd name="connsiteX85" fmla="*/ 407 w 10000"/>
              <a:gd name="connsiteY85" fmla="*/ 6751 h 10000"/>
              <a:gd name="connsiteX86" fmla="*/ 204 w 10000"/>
              <a:gd name="connsiteY86" fmla="*/ 6751 h 10000"/>
              <a:gd name="connsiteX87" fmla="*/ 371 w 10000"/>
              <a:gd name="connsiteY87" fmla="*/ 6545 h 10000"/>
              <a:gd name="connsiteX88" fmla="*/ 346 w 10000"/>
              <a:gd name="connsiteY88" fmla="*/ 6749 h 10000"/>
              <a:gd name="connsiteX89" fmla="*/ 405 w 10000"/>
              <a:gd name="connsiteY89" fmla="*/ 6827 h 10000"/>
              <a:gd name="connsiteX90" fmla="*/ 353 w 10000"/>
              <a:gd name="connsiteY90" fmla="*/ 6788 h 10000"/>
              <a:gd name="connsiteX91" fmla="*/ 182 w 10000"/>
              <a:gd name="connsiteY91" fmla="*/ 6703 h 10000"/>
              <a:gd name="connsiteX92" fmla="*/ 625 w 10000"/>
              <a:gd name="connsiteY92" fmla="*/ 6929 h 10000"/>
              <a:gd name="connsiteX93" fmla="*/ 577 w 10000"/>
              <a:gd name="connsiteY93" fmla="*/ 6756 h 10000"/>
              <a:gd name="connsiteX94" fmla="*/ 605 w 10000"/>
              <a:gd name="connsiteY94" fmla="*/ 6947 h 10000"/>
              <a:gd name="connsiteX95" fmla="*/ 515 w 10000"/>
              <a:gd name="connsiteY95" fmla="*/ 6902 h 10000"/>
              <a:gd name="connsiteX96" fmla="*/ 674 w 10000"/>
              <a:gd name="connsiteY96" fmla="*/ 6943 h 10000"/>
              <a:gd name="connsiteX97" fmla="*/ 668 w 10000"/>
              <a:gd name="connsiteY97" fmla="*/ 6967 h 10000"/>
              <a:gd name="connsiteX98" fmla="*/ 681 w 10000"/>
              <a:gd name="connsiteY98" fmla="*/ 6941 h 10000"/>
              <a:gd name="connsiteX99" fmla="*/ 496 w 10000"/>
              <a:gd name="connsiteY99" fmla="*/ 6771 h 10000"/>
              <a:gd name="connsiteX100" fmla="*/ 705 w 10000"/>
              <a:gd name="connsiteY100" fmla="*/ 6966 h 10000"/>
              <a:gd name="connsiteX101" fmla="*/ 1154 w 10000"/>
              <a:gd name="connsiteY101" fmla="*/ 7070 h 10000"/>
              <a:gd name="connsiteX102" fmla="*/ 1026 w 10000"/>
              <a:gd name="connsiteY102" fmla="*/ 7016 h 10000"/>
              <a:gd name="connsiteX103" fmla="*/ 1617 w 10000"/>
              <a:gd name="connsiteY103" fmla="*/ 7084 h 10000"/>
              <a:gd name="connsiteX104" fmla="*/ 1586 w 10000"/>
              <a:gd name="connsiteY104" fmla="*/ 7185 h 10000"/>
              <a:gd name="connsiteX105" fmla="*/ 1795 w 10000"/>
              <a:gd name="connsiteY105" fmla="*/ 7174 h 10000"/>
              <a:gd name="connsiteX106" fmla="*/ 2083 w 10000"/>
              <a:gd name="connsiteY106" fmla="*/ 7290 h 10000"/>
              <a:gd name="connsiteX107" fmla="*/ 2354 w 10000"/>
              <a:gd name="connsiteY107" fmla="*/ 7583 h 10000"/>
              <a:gd name="connsiteX108" fmla="*/ 2539 w 10000"/>
              <a:gd name="connsiteY108" fmla="*/ 8108 h 10000"/>
              <a:gd name="connsiteX109" fmla="*/ 3241 w 10000"/>
              <a:gd name="connsiteY109" fmla="*/ 8563 h 10000"/>
              <a:gd name="connsiteX110" fmla="*/ 3290 w 10000"/>
              <a:gd name="connsiteY110" fmla="*/ 8917 h 10000"/>
              <a:gd name="connsiteX111" fmla="*/ 3558 w 10000"/>
              <a:gd name="connsiteY111" fmla="*/ 9290 h 10000"/>
              <a:gd name="connsiteX112" fmla="*/ 4020 w 10000"/>
              <a:gd name="connsiteY112" fmla="*/ 9429 h 10000"/>
              <a:gd name="connsiteX113" fmla="*/ 4556 w 10000"/>
              <a:gd name="connsiteY113" fmla="*/ 9934 h 10000"/>
              <a:gd name="connsiteX114" fmla="*/ 4657 w 10000"/>
              <a:gd name="connsiteY114" fmla="*/ 9994 h 10000"/>
              <a:gd name="connsiteX115" fmla="*/ 4833 w 10000"/>
              <a:gd name="connsiteY115" fmla="*/ 10000 h 10000"/>
              <a:gd name="connsiteX116" fmla="*/ 5001 w 10000"/>
              <a:gd name="connsiteY116" fmla="*/ 9908 h 10000"/>
              <a:gd name="connsiteX117" fmla="*/ 5037 w 10000"/>
              <a:gd name="connsiteY117" fmla="*/ 9615 h 10000"/>
              <a:gd name="connsiteX118" fmla="*/ 5795 w 10000"/>
              <a:gd name="connsiteY118" fmla="*/ 9442 h 10000"/>
              <a:gd name="connsiteX119" fmla="*/ 5952 w 10000"/>
              <a:gd name="connsiteY119" fmla="*/ 9463 h 10000"/>
              <a:gd name="connsiteX120" fmla="*/ 6229 w 10000"/>
              <a:gd name="connsiteY120" fmla="*/ 9688 h 10000"/>
              <a:gd name="connsiteX121" fmla="*/ 6349 w 10000"/>
              <a:gd name="connsiteY121" fmla="*/ 9676 h 10000"/>
              <a:gd name="connsiteX122" fmla="*/ 6359 w 10000"/>
              <a:gd name="connsiteY122" fmla="*/ 9542 h 10000"/>
              <a:gd name="connsiteX123" fmla="*/ 6701 w 10000"/>
              <a:gd name="connsiteY123" fmla="*/ 9382 h 10000"/>
              <a:gd name="connsiteX124" fmla="*/ 7430 w 10000"/>
              <a:gd name="connsiteY124" fmla="*/ 9475 h 10000"/>
              <a:gd name="connsiteX125" fmla="*/ 7588 w 10000"/>
              <a:gd name="connsiteY125" fmla="*/ 9336 h 10000"/>
              <a:gd name="connsiteX126" fmla="*/ 8262 w 10000"/>
              <a:gd name="connsiteY126" fmla="*/ 9415 h 10000"/>
              <a:gd name="connsiteX127" fmla="*/ 8743 w 10000"/>
              <a:gd name="connsiteY127" fmla="*/ 9355 h 10000"/>
              <a:gd name="connsiteX128" fmla="*/ 9020 w 10000"/>
              <a:gd name="connsiteY128" fmla="*/ 9442 h 10000"/>
              <a:gd name="connsiteX129" fmla="*/ 8993 w 10000"/>
              <a:gd name="connsiteY129" fmla="*/ 8665 h 10000"/>
              <a:gd name="connsiteX130" fmla="*/ 9510 w 10000"/>
              <a:gd name="connsiteY130" fmla="*/ 7828 h 10000"/>
              <a:gd name="connsiteX131" fmla="*/ 10000 w 10000"/>
              <a:gd name="connsiteY131" fmla="*/ 7449 h 10000"/>
              <a:gd name="connsiteX132" fmla="*/ 8900 w 10000"/>
              <a:gd name="connsiteY132" fmla="*/ 6465 h 10000"/>
              <a:gd name="connsiteX133" fmla="*/ 8881 w 10000"/>
              <a:gd name="connsiteY133" fmla="*/ 5117 h 10000"/>
              <a:gd name="connsiteX134" fmla="*/ 9602 w 10000"/>
              <a:gd name="connsiteY134" fmla="*/ 4857 h 10000"/>
              <a:gd name="connsiteX135" fmla="*/ 9187 w 10000"/>
              <a:gd name="connsiteY135" fmla="*/ 4791 h 10000"/>
              <a:gd name="connsiteX136" fmla="*/ 8808 w 10000"/>
              <a:gd name="connsiteY136" fmla="*/ 4286 h 10000"/>
              <a:gd name="connsiteX137" fmla="*/ 9242 w 10000"/>
              <a:gd name="connsiteY137" fmla="*/ 3941 h 10000"/>
              <a:gd name="connsiteX138" fmla="*/ 8919 w 10000"/>
              <a:gd name="connsiteY138" fmla="*/ 3595 h 10000"/>
              <a:gd name="connsiteX139" fmla="*/ 8429 w 10000"/>
              <a:gd name="connsiteY139" fmla="*/ 3893 h 10000"/>
              <a:gd name="connsiteX140" fmla="*/ 7172 w 10000"/>
              <a:gd name="connsiteY140" fmla="*/ 3595 h 10000"/>
              <a:gd name="connsiteX141" fmla="*/ 6505 w 10000"/>
              <a:gd name="connsiteY141" fmla="*/ 3230 h 10000"/>
              <a:gd name="connsiteX142" fmla="*/ 6331 w 10000"/>
              <a:gd name="connsiteY142" fmla="*/ 2465 h 10000"/>
              <a:gd name="connsiteX143" fmla="*/ 5980 w 10000"/>
              <a:gd name="connsiteY143" fmla="*/ 2306 h 10000"/>
              <a:gd name="connsiteX144" fmla="*/ 5508 w 10000"/>
              <a:gd name="connsiteY144" fmla="*/ 2233 h 10000"/>
              <a:gd name="connsiteX145" fmla="*/ 5121 w 10000"/>
              <a:gd name="connsiteY145" fmla="*/ 1821 h 10000"/>
              <a:gd name="connsiteX146" fmla="*/ 4667 w 10000"/>
              <a:gd name="connsiteY146" fmla="*/ 904 h 10000"/>
              <a:gd name="connsiteX147" fmla="*/ 4223 w 10000"/>
              <a:gd name="connsiteY147" fmla="*/ 525 h 10000"/>
              <a:gd name="connsiteX148" fmla="*/ 3392 w 10000"/>
              <a:gd name="connsiteY148" fmla="*/ 219 h 10000"/>
              <a:gd name="connsiteX149" fmla="*/ 3188 w 10000"/>
              <a:gd name="connsiteY149" fmla="*/ 0 h 10000"/>
              <a:gd name="connsiteX150" fmla="*/ 2681 w 10000"/>
              <a:gd name="connsiteY150" fmla="*/ 127 h 10000"/>
              <a:gd name="connsiteX151" fmla="*/ 2162 w 10000"/>
              <a:gd name="connsiteY151" fmla="*/ 147 h 10000"/>
              <a:gd name="connsiteX152" fmla="*/ 1487 w 10000"/>
              <a:gd name="connsiteY152" fmla="*/ 459 h 10000"/>
              <a:gd name="connsiteX153" fmla="*/ 879 w 10000"/>
              <a:gd name="connsiteY153" fmla="*/ 472 h 10000"/>
              <a:gd name="connsiteX154" fmla="*/ 591 w 10000"/>
              <a:gd name="connsiteY154" fmla="*/ 631 h 10000"/>
              <a:gd name="connsiteX155" fmla="*/ 0 w 10000"/>
              <a:gd name="connsiteY155" fmla="*/ 672 h 10000"/>
              <a:gd name="connsiteX0" fmla="*/ 0 w 10000"/>
              <a:gd name="connsiteY0" fmla="*/ 672 h 10000"/>
              <a:gd name="connsiteX1" fmla="*/ 324 w 10000"/>
              <a:gd name="connsiteY1" fmla="*/ 898 h 10000"/>
              <a:gd name="connsiteX2" fmla="*/ 342 w 10000"/>
              <a:gd name="connsiteY2" fmla="*/ 1003 h 10000"/>
              <a:gd name="connsiteX3" fmla="*/ 279 w 10000"/>
              <a:gd name="connsiteY3" fmla="*/ 1070 h 10000"/>
              <a:gd name="connsiteX4" fmla="*/ 379 w 10000"/>
              <a:gd name="connsiteY4" fmla="*/ 1143 h 10000"/>
              <a:gd name="connsiteX5" fmla="*/ 388 w 10000"/>
              <a:gd name="connsiteY5" fmla="*/ 1243 h 10000"/>
              <a:gd name="connsiteX6" fmla="*/ 269 w 10000"/>
              <a:gd name="connsiteY6" fmla="*/ 1363 h 10000"/>
              <a:gd name="connsiteX7" fmla="*/ 287 w 10000"/>
              <a:gd name="connsiteY7" fmla="*/ 1442 h 10000"/>
              <a:gd name="connsiteX8" fmla="*/ 426 w 10000"/>
              <a:gd name="connsiteY8" fmla="*/ 1495 h 10000"/>
              <a:gd name="connsiteX9" fmla="*/ 517 w 10000"/>
              <a:gd name="connsiteY9" fmla="*/ 1428 h 10000"/>
              <a:gd name="connsiteX10" fmla="*/ 601 w 10000"/>
              <a:gd name="connsiteY10" fmla="*/ 1428 h 10000"/>
              <a:gd name="connsiteX11" fmla="*/ 731 w 10000"/>
              <a:gd name="connsiteY11" fmla="*/ 1501 h 10000"/>
              <a:gd name="connsiteX12" fmla="*/ 731 w 10000"/>
              <a:gd name="connsiteY12" fmla="*/ 1548 h 10000"/>
              <a:gd name="connsiteX13" fmla="*/ 647 w 10000"/>
              <a:gd name="connsiteY13" fmla="*/ 1595 h 10000"/>
              <a:gd name="connsiteX14" fmla="*/ 565 w 10000"/>
              <a:gd name="connsiteY14" fmla="*/ 1595 h 10000"/>
              <a:gd name="connsiteX15" fmla="*/ 526 w 10000"/>
              <a:gd name="connsiteY15" fmla="*/ 1675 h 10000"/>
              <a:gd name="connsiteX16" fmla="*/ 583 w 10000"/>
              <a:gd name="connsiteY16" fmla="*/ 1734 h 10000"/>
              <a:gd name="connsiteX17" fmla="*/ 517 w 10000"/>
              <a:gd name="connsiteY17" fmla="*/ 1881 h 10000"/>
              <a:gd name="connsiteX18" fmla="*/ 583 w 10000"/>
              <a:gd name="connsiteY18" fmla="*/ 1933 h 10000"/>
              <a:gd name="connsiteX19" fmla="*/ 748 w 10000"/>
              <a:gd name="connsiteY19" fmla="*/ 1933 h 10000"/>
              <a:gd name="connsiteX20" fmla="*/ 942 w 10000"/>
              <a:gd name="connsiteY20" fmla="*/ 2080 h 10000"/>
              <a:gd name="connsiteX21" fmla="*/ 1136 w 10000"/>
              <a:gd name="connsiteY21" fmla="*/ 2067 h 10000"/>
              <a:gd name="connsiteX22" fmla="*/ 1292 w 10000"/>
              <a:gd name="connsiteY22" fmla="*/ 2125 h 10000"/>
              <a:gd name="connsiteX23" fmla="*/ 1479 w 10000"/>
              <a:gd name="connsiteY23" fmla="*/ 2119 h 10000"/>
              <a:gd name="connsiteX24" fmla="*/ 1571 w 10000"/>
              <a:gd name="connsiteY24" fmla="*/ 2153 h 10000"/>
              <a:gd name="connsiteX25" fmla="*/ 1591 w 10000"/>
              <a:gd name="connsiteY25" fmla="*/ 2219 h 10000"/>
              <a:gd name="connsiteX26" fmla="*/ 1432 w 10000"/>
              <a:gd name="connsiteY26" fmla="*/ 2278 h 10000"/>
              <a:gd name="connsiteX27" fmla="*/ 1109 w 10000"/>
              <a:gd name="connsiteY27" fmla="*/ 2227 h 10000"/>
              <a:gd name="connsiteX28" fmla="*/ 1018 w 10000"/>
              <a:gd name="connsiteY28" fmla="*/ 2239 h 10000"/>
              <a:gd name="connsiteX29" fmla="*/ 961 w 10000"/>
              <a:gd name="connsiteY29" fmla="*/ 2386 h 10000"/>
              <a:gd name="connsiteX30" fmla="*/ 860 w 10000"/>
              <a:gd name="connsiteY30" fmla="*/ 2479 h 10000"/>
              <a:gd name="connsiteX31" fmla="*/ 916 w 10000"/>
              <a:gd name="connsiteY31" fmla="*/ 2771 h 10000"/>
              <a:gd name="connsiteX32" fmla="*/ 1008 w 10000"/>
              <a:gd name="connsiteY32" fmla="*/ 2817 h 10000"/>
              <a:gd name="connsiteX33" fmla="*/ 953 w 10000"/>
              <a:gd name="connsiteY33" fmla="*/ 2963 h 10000"/>
              <a:gd name="connsiteX34" fmla="*/ 1469 w 10000"/>
              <a:gd name="connsiteY34" fmla="*/ 2998 h 10000"/>
              <a:gd name="connsiteX35" fmla="*/ 1571 w 10000"/>
              <a:gd name="connsiteY35" fmla="*/ 3091 h 10000"/>
              <a:gd name="connsiteX36" fmla="*/ 1497 w 10000"/>
              <a:gd name="connsiteY36" fmla="*/ 3196 h 10000"/>
              <a:gd name="connsiteX37" fmla="*/ 1497 w 10000"/>
              <a:gd name="connsiteY37" fmla="*/ 3329 h 10000"/>
              <a:gd name="connsiteX38" fmla="*/ 1073 w 10000"/>
              <a:gd name="connsiteY38" fmla="*/ 3887 h 10000"/>
              <a:gd name="connsiteX39" fmla="*/ 971 w 10000"/>
              <a:gd name="connsiteY39" fmla="*/ 3927 h 10000"/>
              <a:gd name="connsiteX40" fmla="*/ 971 w 10000"/>
              <a:gd name="connsiteY40" fmla="*/ 4020 h 10000"/>
              <a:gd name="connsiteX41" fmla="*/ 1037 w 10000"/>
              <a:gd name="connsiteY41" fmla="*/ 4087 h 10000"/>
              <a:gd name="connsiteX42" fmla="*/ 888 w 10000"/>
              <a:gd name="connsiteY42" fmla="*/ 4247 h 10000"/>
              <a:gd name="connsiteX43" fmla="*/ 971 w 10000"/>
              <a:gd name="connsiteY43" fmla="*/ 4451 h 10000"/>
              <a:gd name="connsiteX44" fmla="*/ 1117 w 10000"/>
              <a:gd name="connsiteY44" fmla="*/ 4479 h 10000"/>
              <a:gd name="connsiteX45" fmla="*/ 1229 w 10000"/>
              <a:gd name="connsiteY45" fmla="*/ 4538 h 10000"/>
              <a:gd name="connsiteX46" fmla="*/ 1395 w 10000"/>
              <a:gd name="connsiteY46" fmla="*/ 4511 h 10000"/>
              <a:gd name="connsiteX47" fmla="*/ 1469 w 10000"/>
              <a:gd name="connsiteY47" fmla="*/ 4604 h 10000"/>
              <a:gd name="connsiteX48" fmla="*/ 1505 w 10000"/>
              <a:gd name="connsiteY48" fmla="*/ 4712 h 10000"/>
              <a:gd name="connsiteX49" fmla="*/ 1682 w 10000"/>
              <a:gd name="connsiteY49" fmla="*/ 4844 h 10000"/>
              <a:gd name="connsiteX50" fmla="*/ 1802 w 10000"/>
              <a:gd name="connsiteY50" fmla="*/ 4831 h 10000"/>
              <a:gd name="connsiteX51" fmla="*/ 1849 w 10000"/>
              <a:gd name="connsiteY51" fmla="*/ 4865 h 10000"/>
              <a:gd name="connsiteX52" fmla="*/ 1838 w 10000"/>
              <a:gd name="connsiteY52" fmla="*/ 4944 h 10000"/>
              <a:gd name="connsiteX53" fmla="*/ 2014 w 10000"/>
              <a:gd name="connsiteY53" fmla="*/ 5024 h 10000"/>
              <a:gd name="connsiteX54" fmla="*/ 2125 w 10000"/>
              <a:gd name="connsiteY54" fmla="*/ 5043 h 10000"/>
              <a:gd name="connsiteX55" fmla="*/ 2143 w 10000"/>
              <a:gd name="connsiteY55" fmla="*/ 5150 h 10000"/>
              <a:gd name="connsiteX56" fmla="*/ 1959 w 10000"/>
              <a:gd name="connsiteY56" fmla="*/ 5282 h 10000"/>
              <a:gd name="connsiteX57" fmla="*/ 1618 w 10000"/>
              <a:gd name="connsiteY57" fmla="*/ 5289 h 10000"/>
              <a:gd name="connsiteX58" fmla="*/ 1395 w 10000"/>
              <a:gd name="connsiteY58" fmla="*/ 5190 h 10000"/>
              <a:gd name="connsiteX59" fmla="*/ 1275 w 10000"/>
              <a:gd name="connsiteY59" fmla="*/ 5190 h 10000"/>
              <a:gd name="connsiteX60" fmla="*/ 1229 w 10000"/>
              <a:gd name="connsiteY60" fmla="*/ 5229 h 10000"/>
              <a:gd name="connsiteX61" fmla="*/ 1820 w 10000"/>
              <a:gd name="connsiteY61" fmla="*/ 5801 h 10000"/>
              <a:gd name="connsiteX62" fmla="*/ 1904 w 10000"/>
              <a:gd name="connsiteY62" fmla="*/ 5834 h 10000"/>
              <a:gd name="connsiteX63" fmla="*/ 1876 w 10000"/>
              <a:gd name="connsiteY63" fmla="*/ 6073 h 10000"/>
              <a:gd name="connsiteX64" fmla="*/ 1830 w 10000"/>
              <a:gd name="connsiteY64" fmla="*/ 6166 h 10000"/>
              <a:gd name="connsiteX65" fmla="*/ 1692 w 10000"/>
              <a:gd name="connsiteY65" fmla="*/ 6206 h 10000"/>
              <a:gd name="connsiteX66" fmla="*/ 1591 w 10000"/>
              <a:gd name="connsiteY66" fmla="*/ 6140 h 10000"/>
              <a:gd name="connsiteX67" fmla="*/ 1487 w 10000"/>
              <a:gd name="connsiteY67" fmla="*/ 6133 h 10000"/>
              <a:gd name="connsiteX68" fmla="*/ 1369 w 10000"/>
              <a:gd name="connsiteY68" fmla="*/ 6260 h 10000"/>
              <a:gd name="connsiteX69" fmla="*/ 1173 w 10000"/>
              <a:gd name="connsiteY69" fmla="*/ 6326 h 10000"/>
              <a:gd name="connsiteX70" fmla="*/ 989 w 10000"/>
              <a:gd name="connsiteY70" fmla="*/ 6326 h 10000"/>
              <a:gd name="connsiteX71" fmla="*/ 898 w 10000"/>
              <a:gd name="connsiteY71" fmla="*/ 6378 h 10000"/>
              <a:gd name="connsiteX72" fmla="*/ 785 w 10000"/>
              <a:gd name="connsiteY72" fmla="*/ 6372 h 10000"/>
              <a:gd name="connsiteX73" fmla="*/ 740 w 10000"/>
              <a:gd name="connsiteY73" fmla="*/ 6286 h 10000"/>
              <a:gd name="connsiteX74" fmla="*/ 583 w 10000"/>
              <a:gd name="connsiteY74" fmla="*/ 6293 h 10000"/>
              <a:gd name="connsiteX75" fmla="*/ 454 w 10000"/>
              <a:gd name="connsiteY75" fmla="*/ 6398 h 10000"/>
              <a:gd name="connsiteX76" fmla="*/ 509 w 10000"/>
              <a:gd name="connsiteY76" fmla="*/ 6492 h 10000"/>
              <a:gd name="connsiteX77" fmla="*/ 655 w 10000"/>
              <a:gd name="connsiteY77" fmla="*/ 6539 h 10000"/>
              <a:gd name="connsiteX78" fmla="*/ 701 w 10000"/>
              <a:gd name="connsiteY78" fmla="*/ 6704 h 10000"/>
              <a:gd name="connsiteX79" fmla="*/ 785 w 10000"/>
              <a:gd name="connsiteY79" fmla="*/ 6797 h 10000"/>
              <a:gd name="connsiteX80" fmla="*/ 785 w 10000"/>
              <a:gd name="connsiteY80" fmla="*/ 6977 h 10000"/>
              <a:gd name="connsiteX81" fmla="*/ 731 w 10000"/>
              <a:gd name="connsiteY81" fmla="*/ 7044 h 10000"/>
              <a:gd name="connsiteX82" fmla="*/ 610 w 10000"/>
              <a:gd name="connsiteY82" fmla="*/ 7029 h 10000"/>
              <a:gd name="connsiteX83" fmla="*/ 535 w 10000"/>
              <a:gd name="connsiteY83" fmla="*/ 6977 h 10000"/>
              <a:gd name="connsiteX84" fmla="*/ 480 w 10000"/>
              <a:gd name="connsiteY84" fmla="*/ 6804 h 10000"/>
              <a:gd name="connsiteX85" fmla="*/ 407 w 10000"/>
              <a:gd name="connsiteY85" fmla="*/ 6751 h 10000"/>
              <a:gd name="connsiteX86" fmla="*/ 204 w 10000"/>
              <a:gd name="connsiteY86" fmla="*/ 6751 h 10000"/>
              <a:gd name="connsiteX87" fmla="*/ 371 w 10000"/>
              <a:gd name="connsiteY87" fmla="*/ 6545 h 10000"/>
              <a:gd name="connsiteX88" fmla="*/ 346 w 10000"/>
              <a:gd name="connsiteY88" fmla="*/ 6749 h 10000"/>
              <a:gd name="connsiteX89" fmla="*/ 405 w 10000"/>
              <a:gd name="connsiteY89" fmla="*/ 6827 h 10000"/>
              <a:gd name="connsiteX90" fmla="*/ 353 w 10000"/>
              <a:gd name="connsiteY90" fmla="*/ 6788 h 10000"/>
              <a:gd name="connsiteX91" fmla="*/ 182 w 10000"/>
              <a:gd name="connsiteY91" fmla="*/ 6703 h 10000"/>
              <a:gd name="connsiteX92" fmla="*/ 625 w 10000"/>
              <a:gd name="connsiteY92" fmla="*/ 6929 h 10000"/>
              <a:gd name="connsiteX93" fmla="*/ 577 w 10000"/>
              <a:gd name="connsiteY93" fmla="*/ 6756 h 10000"/>
              <a:gd name="connsiteX94" fmla="*/ 605 w 10000"/>
              <a:gd name="connsiteY94" fmla="*/ 6947 h 10000"/>
              <a:gd name="connsiteX95" fmla="*/ 515 w 10000"/>
              <a:gd name="connsiteY95" fmla="*/ 6902 h 10000"/>
              <a:gd name="connsiteX96" fmla="*/ 674 w 10000"/>
              <a:gd name="connsiteY96" fmla="*/ 6943 h 10000"/>
              <a:gd name="connsiteX97" fmla="*/ 668 w 10000"/>
              <a:gd name="connsiteY97" fmla="*/ 6967 h 10000"/>
              <a:gd name="connsiteX98" fmla="*/ 681 w 10000"/>
              <a:gd name="connsiteY98" fmla="*/ 6941 h 10000"/>
              <a:gd name="connsiteX99" fmla="*/ 496 w 10000"/>
              <a:gd name="connsiteY99" fmla="*/ 6771 h 10000"/>
              <a:gd name="connsiteX100" fmla="*/ 705 w 10000"/>
              <a:gd name="connsiteY100" fmla="*/ 6966 h 10000"/>
              <a:gd name="connsiteX101" fmla="*/ 1154 w 10000"/>
              <a:gd name="connsiteY101" fmla="*/ 7070 h 10000"/>
              <a:gd name="connsiteX102" fmla="*/ 1026 w 10000"/>
              <a:gd name="connsiteY102" fmla="*/ 7016 h 10000"/>
              <a:gd name="connsiteX103" fmla="*/ 1617 w 10000"/>
              <a:gd name="connsiteY103" fmla="*/ 7084 h 10000"/>
              <a:gd name="connsiteX104" fmla="*/ 1704 w 10000"/>
              <a:gd name="connsiteY104" fmla="*/ 7189 h 10000"/>
              <a:gd name="connsiteX105" fmla="*/ 1586 w 10000"/>
              <a:gd name="connsiteY105" fmla="*/ 7185 h 10000"/>
              <a:gd name="connsiteX106" fmla="*/ 1795 w 10000"/>
              <a:gd name="connsiteY106" fmla="*/ 7174 h 10000"/>
              <a:gd name="connsiteX107" fmla="*/ 2083 w 10000"/>
              <a:gd name="connsiteY107" fmla="*/ 7290 h 10000"/>
              <a:gd name="connsiteX108" fmla="*/ 2354 w 10000"/>
              <a:gd name="connsiteY108" fmla="*/ 7583 h 10000"/>
              <a:gd name="connsiteX109" fmla="*/ 2539 w 10000"/>
              <a:gd name="connsiteY109" fmla="*/ 8108 h 10000"/>
              <a:gd name="connsiteX110" fmla="*/ 3241 w 10000"/>
              <a:gd name="connsiteY110" fmla="*/ 8563 h 10000"/>
              <a:gd name="connsiteX111" fmla="*/ 3290 w 10000"/>
              <a:gd name="connsiteY111" fmla="*/ 8917 h 10000"/>
              <a:gd name="connsiteX112" fmla="*/ 3558 w 10000"/>
              <a:gd name="connsiteY112" fmla="*/ 9290 h 10000"/>
              <a:gd name="connsiteX113" fmla="*/ 4020 w 10000"/>
              <a:gd name="connsiteY113" fmla="*/ 9429 h 10000"/>
              <a:gd name="connsiteX114" fmla="*/ 4556 w 10000"/>
              <a:gd name="connsiteY114" fmla="*/ 9934 h 10000"/>
              <a:gd name="connsiteX115" fmla="*/ 4657 w 10000"/>
              <a:gd name="connsiteY115" fmla="*/ 9994 h 10000"/>
              <a:gd name="connsiteX116" fmla="*/ 4833 w 10000"/>
              <a:gd name="connsiteY116" fmla="*/ 10000 h 10000"/>
              <a:gd name="connsiteX117" fmla="*/ 5001 w 10000"/>
              <a:gd name="connsiteY117" fmla="*/ 9908 h 10000"/>
              <a:gd name="connsiteX118" fmla="*/ 5037 w 10000"/>
              <a:gd name="connsiteY118" fmla="*/ 9615 h 10000"/>
              <a:gd name="connsiteX119" fmla="*/ 5795 w 10000"/>
              <a:gd name="connsiteY119" fmla="*/ 9442 h 10000"/>
              <a:gd name="connsiteX120" fmla="*/ 5952 w 10000"/>
              <a:gd name="connsiteY120" fmla="*/ 9463 h 10000"/>
              <a:gd name="connsiteX121" fmla="*/ 6229 w 10000"/>
              <a:gd name="connsiteY121" fmla="*/ 9688 h 10000"/>
              <a:gd name="connsiteX122" fmla="*/ 6349 w 10000"/>
              <a:gd name="connsiteY122" fmla="*/ 9676 h 10000"/>
              <a:gd name="connsiteX123" fmla="*/ 6359 w 10000"/>
              <a:gd name="connsiteY123" fmla="*/ 9542 h 10000"/>
              <a:gd name="connsiteX124" fmla="*/ 6701 w 10000"/>
              <a:gd name="connsiteY124" fmla="*/ 9382 h 10000"/>
              <a:gd name="connsiteX125" fmla="*/ 7430 w 10000"/>
              <a:gd name="connsiteY125" fmla="*/ 9475 h 10000"/>
              <a:gd name="connsiteX126" fmla="*/ 7588 w 10000"/>
              <a:gd name="connsiteY126" fmla="*/ 9336 h 10000"/>
              <a:gd name="connsiteX127" fmla="*/ 8262 w 10000"/>
              <a:gd name="connsiteY127" fmla="*/ 9415 h 10000"/>
              <a:gd name="connsiteX128" fmla="*/ 8743 w 10000"/>
              <a:gd name="connsiteY128" fmla="*/ 9355 h 10000"/>
              <a:gd name="connsiteX129" fmla="*/ 9020 w 10000"/>
              <a:gd name="connsiteY129" fmla="*/ 9442 h 10000"/>
              <a:gd name="connsiteX130" fmla="*/ 8993 w 10000"/>
              <a:gd name="connsiteY130" fmla="*/ 8665 h 10000"/>
              <a:gd name="connsiteX131" fmla="*/ 9510 w 10000"/>
              <a:gd name="connsiteY131" fmla="*/ 7828 h 10000"/>
              <a:gd name="connsiteX132" fmla="*/ 10000 w 10000"/>
              <a:gd name="connsiteY132" fmla="*/ 7449 h 10000"/>
              <a:gd name="connsiteX133" fmla="*/ 8900 w 10000"/>
              <a:gd name="connsiteY133" fmla="*/ 6465 h 10000"/>
              <a:gd name="connsiteX134" fmla="*/ 8881 w 10000"/>
              <a:gd name="connsiteY134" fmla="*/ 5117 h 10000"/>
              <a:gd name="connsiteX135" fmla="*/ 9602 w 10000"/>
              <a:gd name="connsiteY135" fmla="*/ 4857 h 10000"/>
              <a:gd name="connsiteX136" fmla="*/ 9187 w 10000"/>
              <a:gd name="connsiteY136" fmla="*/ 4791 h 10000"/>
              <a:gd name="connsiteX137" fmla="*/ 8808 w 10000"/>
              <a:gd name="connsiteY137" fmla="*/ 4286 h 10000"/>
              <a:gd name="connsiteX138" fmla="*/ 9242 w 10000"/>
              <a:gd name="connsiteY138" fmla="*/ 3941 h 10000"/>
              <a:gd name="connsiteX139" fmla="*/ 8919 w 10000"/>
              <a:gd name="connsiteY139" fmla="*/ 3595 h 10000"/>
              <a:gd name="connsiteX140" fmla="*/ 8429 w 10000"/>
              <a:gd name="connsiteY140" fmla="*/ 3893 h 10000"/>
              <a:gd name="connsiteX141" fmla="*/ 7172 w 10000"/>
              <a:gd name="connsiteY141" fmla="*/ 3595 h 10000"/>
              <a:gd name="connsiteX142" fmla="*/ 6505 w 10000"/>
              <a:gd name="connsiteY142" fmla="*/ 3230 h 10000"/>
              <a:gd name="connsiteX143" fmla="*/ 6331 w 10000"/>
              <a:gd name="connsiteY143" fmla="*/ 2465 h 10000"/>
              <a:gd name="connsiteX144" fmla="*/ 5980 w 10000"/>
              <a:gd name="connsiteY144" fmla="*/ 2306 h 10000"/>
              <a:gd name="connsiteX145" fmla="*/ 5508 w 10000"/>
              <a:gd name="connsiteY145" fmla="*/ 2233 h 10000"/>
              <a:gd name="connsiteX146" fmla="*/ 5121 w 10000"/>
              <a:gd name="connsiteY146" fmla="*/ 1821 h 10000"/>
              <a:gd name="connsiteX147" fmla="*/ 4667 w 10000"/>
              <a:gd name="connsiteY147" fmla="*/ 904 h 10000"/>
              <a:gd name="connsiteX148" fmla="*/ 4223 w 10000"/>
              <a:gd name="connsiteY148" fmla="*/ 525 h 10000"/>
              <a:gd name="connsiteX149" fmla="*/ 3392 w 10000"/>
              <a:gd name="connsiteY149" fmla="*/ 219 h 10000"/>
              <a:gd name="connsiteX150" fmla="*/ 3188 w 10000"/>
              <a:gd name="connsiteY150" fmla="*/ 0 h 10000"/>
              <a:gd name="connsiteX151" fmla="*/ 2681 w 10000"/>
              <a:gd name="connsiteY151" fmla="*/ 127 h 10000"/>
              <a:gd name="connsiteX152" fmla="*/ 2162 w 10000"/>
              <a:gd name="connsiteY152" fmla="*/ 147 h 10000"/>
              <a:gd name="connsiteX153" fmla="*/ 1487 w 10000"/>
              <a:gd name="connsiteY153" fmla="*/ 459 h 10000"/>
              <a:gd name="connsiteX154" fmla="*/ 879 w 10000"/>
              <a:gd name="connsiteY154" fmla="*/ 472 h 10000"/>
              <a:gd name="connsiteX155" fmla="*/ 591 w 10000"/>
              <a:gd name="connsiteY155" fmla="*/ 631 h 10000"/>
              <a:gd name="connsiteX156" fmla="*/ 0 w 10000"/>
              <a:gd name="connsiteY156" fmla="*/ 67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</a:cxnLst>
            <a:rect l="l" t="t" r="r" b="b"/>
            <a:pathLst>
              <a:path w="10000" h="10000">
                <a:moveTo>
                  <a:pt x="0" y="672"/>
                </a:moveTo>
                <a:lnTo>
                  <a:pt x="324" y="898"/>
                </a:lnTo>
                <a:cubicBezTo>
                  <a:pt x="330" y="933"/>
                  <a:pt x="336" y="967"/>
                  <a:pt x="342" y="1003"/>
                </a:cubicBezTo>
                <a:cubicBezTo>
                  <a:pt x="321" y="1025"/>
                  <a:pt x="300" y="1048"/>
                  <a:pt x="279" y="1070"/>
                </a:cubicBezTo>
                <a:cubicBezTo>
                  <a:pt x="312" y="1094"/>
                  <a:pt x="345" y="1119"/>
                  <a:pt x="379" y="1143"/>
                </a:cubicBezTo>
                <a:cubicBezTo>
                  <a:pt x="382" y="1176"/>
                  <a:pt x="385" y="1210"/>
                  <a:pt x="388" y="1243"/>
                </a:cubicBezTo>
                <a:lnTo>
                  <a:pt x="269" y="1363"/>
                </a:lnTo>
                <a:cubicBezTo>
                  <a:pt x="276" y="1389"/>
                  <a:pt x="281" y="1416"/>
                  <a:pt x="287" y="1442"/>
                </a:cubicBezTo>
                <a:cubicBezTo>
                  <a:pt x="333" y="1460"/>
                  <a:pt x="380" y="1477"/>
                  <a:pt x="426" y="1495"/>
                </a:cubicBezTo>
                <a:cubicBezTo>
                  <a:pt x="456" y="1472"/>
                  <a:pt x="487" y="1451"/>
                  <a:pt x="517" y="1428"/>
                </a:cubicBezTo>
                <a:lnTo>
                  <a:pt x="601" y="1428"/>
                </a:lnTo>
                <a:cubicBezTo>
                  <a:pt x="644" y="1453"/>
                  <a:pt x="686" y="1478"/>
                  <a:pt x="731" y="1501"/>
                </a:cubicBezTo>
                <a:lnTo>
                  <a:pt x="731" y="1548"/>
                </a:lnTo>
                <a:cubicBezTo>
                  <a:pt x="701" y="1564"/>
                  <a:pt x="674" y="1579"/>
                  <a:pt x="647" y="1595"/>
                </a:cubicBezTo>
                <a:lnTo>
                  <a:pt x="565" y="1595"/>
                </a:lnTo>
                <a:cubicBezTo>
                  <a:pt x="553" y="1621"/>
                  <a:pt x="538" y="1648"/>
                  <a:pt x="526" y="1675"/>
                </a:cubicBezTo>
                <a:cubicBezTo>
                  <a:pt x="544" y="1695"/>
                  <a:pt x="565" y="1714"/>
                  <a:pt x="583" y="1734"/>
                </a:cubicBezTo>
                <a:cubicBezTo>
                  <a:pt x="562" y="1783"/>
                  <a:pt x="538" y="1832"/>
                  <a:pt x="517" y="1881"/>
                </a:cubicBezTo>
                <a:cubicBezTo>
                  <a:pt x="538" y="1898"/>
                  <a:pt x="561" y="1916"/>
                  <a:pt x="583" y="1933"/>
                </a:cubicBezTo>
                <a:lnTo>
                  <a:pt x="748" y="1933"/>
                </a:lnTo>
                <a:lnTo>
                  <a:pt x="942" y="2080"/>
                </a:lnTo>
                <a:lnTo>
                  <a:pt x="1136" y="2067"/>
                </a:lnTo>
                <a:lnTo>
                  <a:pt x="1292" y="2125"/>
                </a:lnTo>
                <a:lnTo>
                  <a:pt x="1479" y="2119"/>
                </a:lnTo>
                <a:cubicBezTo>
                  <a:pt x="1510" y="2130"/>
                  <a:pt x="1540" y="2142"/>
                  <a:pt x="1571" y="2153"/>
                </a:cubicBezTo>
                <a:cubicBezTo>
                  <a:pt x="1577" y="2175"/>
                  <a:pt x="1585" y="2197"/>
                  <a:pt x="1591" y="2219"/>
                </a:cubicBezTo>
                <a:lnTo>
                  <a:pt x="1432" y="2278"/>
                </a:lnTo>
                <a:lnTo>
                  <a:pt x="1109" y="2227"/>
                </a:lnTo>
                <a:lnTo>
                  <a:pt x="1018" y="2239"/>
                </a:lnTo>
                <a:cubicBezTo>
                  <a:pt x="998" y="2288"/>
                  <a:pt x="979" y="2336"/>
                  <a:pt x="961" y="2386"/>
                </a:cubicBezTo>
                <a:cubicBezTo>
                  <a:pt x="928" y="2417"/>
                  <a:pt x="894" y="2448"/>
                  <a:pt x="860" y="2479"/>
                </a:cubicBezTo>
                <a:cubicBezTo>
                  <a:pt x="879" y="2576"/>
                  <a:pt x="898" y="2674"/>
                  <a:pt x="916" y="2771"/>
                </a:cubicBezTo>
                <a:cubicBezTo>
                  <a:pt x="946" y="2787"/>
                  <a:pt x="977" y="2801"/>
                  <a:pt x="1008" y="2817"/>
                </a:cubicBezTo>
                <a:cubicBezTo>
                  <a:pt x="989" y="2866"/>
                  <a:pt x="971" y="2915"/>
                  <a:pt x="953" y="2963"/>
                </a:cubicBezTo>
                <a:lnTo>
                  <a:pt x="1469" y="2998"/>
                </a:lnTo>
                <a:cubicBezTo>
                  <a:pt x="1502" y="3029"/>
                  <a:pt x="1538" y="3058"/>
                  <a:pt x="1571" y="3091"/>
                </a:cubicBezTo>
                <a:cubicBezTo>
                  <a:pt x="1547" y="3126"/>
                  <a:pt x="1521" y="3161"/>
                  <a:pt x="1497" y="3196"/>
                </a:cubicBezTo>
                <a:lnTo>
                  <a:pt x="1497" y="3329"/>
                </a:lnTo>
                <a:lnTo>
                  <a:pt x="1073" y="3887"/>
                </a:lnTo>
                <a:cubicBezTo>
                  <a:pt x="1040" y="3901"/>
                  <a:pt x="1004" y="3913"/>
                  <a:pt x="971" y="3927"/>
                </a:cubicBezTo>
                <a:lnTo>
                  <a:pt x="971" y="4020"/>
                </a:lnTo>
                <a:cubicBezTo>
                  <a:pt x="993" y="4042"/>
                  <a:pt x="1015" y="4065"/>
                  <a:pt x="1037" y="4087"/>
                </a:cubicBezTo>
                <a:cubicBezTo>
                  <a:pt x="985" y="4140"/>
                  <a:pt x="937" y="4194"/>
                  <a:pt x="888" y="4247"/>
                </a:cubicBezTo>
                <a:cubicBezTo>
                  <a:pt x="916" y="4315"/>
                  <a:pt x="942" y="4383"/>
                  <a:pt x="971" y="4451"/>
                </a:cubicBezTo>
                <a:lnTo>
                  <a:pt x="1117" y="4479"/>
                </a:lnTo>
                <a:cubicBezTo>
                  <a:pt x="1154" y="4499"/>
                  <a:pt x="1192" y="4518"/>
                  <a:pt x="1229" y="4538"/>
                </a:cubicBezTo>
                <a:lnTo>
                  <a:pt x="1395" y="4511"/>
                </a:lnTo>
                <a:cubicBezTo>
                  <a:pt x="1420" y="4542"/>
                  <a:pt x="1444" y="4573"/>
                  <a:pt x="1469" y="4604"/>
                </a:cubicBezTo>
                <a:cubicBezTo>
                  <a:pt x="1481" y="4640"/>
                  <a:pt x="1494" y="4676"/>
                  <a:pt x="1505" y="4712"/>
                </a:cubicBezTo>
                <a:lnTo>
                  <a:pt x="1682" y="4844"/>
                </a:lnTo>
                <a:lnTo>
                  <a:pt x="1802" y="4831"/>
                </a:lnTo>
                <a:cubicBezTo>
                  <a:pt x="1817" y="4842"/>
                  <a:pt x="1833" y="4852"/>
                  <a:pt x="1849" y="4865"/>
                </a:cubicBezTo>
                <a:cubicBezTo>
                  <a:pt x="1846" y="4890"/>
                  <a:pt x="1841" y="4917"/>
                  <a:pt x="1838" y="4944"/>
                </a:cubicBezTo>
                <a:lnTo>
                  <a:pt x="2014" y="5024"/>
                </a:lnTo>
                <a:lnTo>
                  <a:pt x="2125" y="5043"/>
                </a:lnTo>
                <a:cubicBezTo>
                  <a:pt x="2132" y="5079"/>
                  <a:pt x="2137" y="5115"/>
                  <a:pt x="2143" y="5150"/>
                </a:cubicBezTo>
                <a:lnTo>
                  <a:pt x="1959" y="5282"/>
                </a:lnTo>
                <a:lnTo>
                  <a:pt x="1618" y="5289"/>
                </a:lnTo>
                <a:lnTo>
                  <a:pt x="1395" y="5190"/>
                </a:lnTo>
                <a:lnTo>
                  <a:pt x="1275" y="5190"/>
                </a:lnTo>
                <a:cubicBezTo>
                  <a:pt x="1260" y="5204"/>
                  <a:pt x="1245" y="5216"/>
                  <a:pt x="1229" y="5229"/>
                </a:cubicBezTo>
                <a:lnTo>
                  <a:pt x="1820" y="5801"/>
                </a:lnTo>
                <a:lnTo>
                  <a:pt x="1904" y="5834"/>
                </a:lnTo>
                <a:cubicBezTo>
                  <a:pt x="1895" y="5913"/>
                  <a:pt x="1886" y="5993"/>
                  <a:pt x="1876" y="6073"/>
                </a:cubicBezTo>
                <a:cubicBezTo>
                  <a:pt x="1860" y="6105"/>
                  <a:pt x="1846" y="6135"/>
                  <a:pt x="1830" y="6166"/>
                </a:cubicBezTo>
                <a:lnTo>
                  <a:pt x="1692" y="6206"/>
                </a:lnTo>
                <a:lnTo>
                  <a:pt x="1591" y="6140"/>
                </a:lnTo>
                <a:cubicBezTo>
                  <a:pt x="1555" y="6138"/>
                  <a:pt x="1522" y="6135"/>
                  <a:pt x="1487" y="6133"/>
                </a:cubicBezTo>
                <a:cubicBezTo>
                  <a:pt x="1447" y="6175"/>
                  <a:pt x="1409" y="6218"/>
                  <a:pt x="1369" y="6260"/>
                </a:cubicBezTo>
                <a:lnTo>
                  <a:pt x="1173" y="6326"/>
                </a:lnTo>
                <a:lnTo>
                  <a:pt x="989" y="6326"/>
                </a:lnTo>
                <a:cubicBezTo>
                  <a:pt x="959" y="6344"/>
                  <a:pt x="928" y="6361"/>
                  <a:pt x="898" y="6378"/>
                </a:cubicBezTo>
                <a:lnTo>
                  <a:pt x="785" y="6372"/>
                </a:lnTo>
                <a:cubicBezTo>
                  <a:pt x="769" y="6344"/>
                  <a:pt x="755" y="6314"/>
                  <a:pt x="740" y="6286"/>
                </a:cubicBezTo>
                <a:lnTo>
                  <a:pt x="583" y="6293"/>
                </a:lnTo>
                <a:lnTo>
                  <a:pt x="454" y="6398"/>
                </a:lnTo>
                <a:cubicBezTo>
                  <a:pt x="472" y="6430"/>
                  <a:pt x="491" y="6460"/>
                  <a:pt x="509" y="6492"/>
                </a:cubicBezTo>
                <a:lnTo>
                  <a:pt x="655" y="6539"/>
                </a:lnTo>
                <a:cubicBezTo>
                  <a:pt x="671" y="6594"/>
                  <a:pt x="687" y="6649"/>
                  <a:pt x="701" y="6704"/>
                </a:cubicBezTo>
                <a:cubicBezTo>
                  <a:pt x="731" y="6736"/>
                  <a:pt x="758" y="6766"/>
                  <a:pt x="785" y="6797"/>
                </a:cubicBezTo>
                <a:lnTo>
                  <a:pt x="785" y="6977"/>
                </a:lnTo>
                <a:cubicBezTo>
                  <a:pt x="766" y="6998"/>
                  <a:pt x="748" y="7021"/>
                  <a:pt x="731" y="7044"/>
                </a:cubicBezTo>
                <a:lnTo>
                  <a:pt x="610" y="7029"/>
                </a:lnTo>
                <a:cubicBezTo>
                  <a:pt x="585" y="7012"/>
                  <a:pt x="561" y="6994"/>
                  <a:pt x="535" y="6977"/>
                </a:cubicBezTo>
                <a:cubicBezTo>
                  <a:pt x="517" y="6919"/>
                  <a:pt x="499" y="6862"/>
                  <a:pt x="480" y="6804"/>
                </a:cubicBezTo>
                <a:cubicBezTo>
                  <a:pt x="456" y="6787"/>
                  <a:pt x="433" y="6769"/>
                  <a:pt x="407" y="6751"/>
                </a:cubicBezTo>
                <a:lnTo>
                  <a:pt x="204" y="6751"/>
                </a:lnTo>
                <a:lnTo>
                  <a:pt x="371" y="6545"/>
                </a:lnTo>
                <a:cubicBezTo>
                  <a:pt x="350" y="6601"/>
                  <a:pt x="367" y="6694"/>
                  <a:pt x="346" y="6749"/>
                </a:cubicBezTo>
                <a:cubicBezTo>
                  <a:pt x="322" y="6771"/>
                  <a:pt x="430" y="6805"/>
                  <a:pt x="405" y="6827"/>
                </a:cubicBezTo>
                <a:cubicBezTo>
                  <a:pt x="387" y="6814"/>
                  <a:pt x="370" y="6801"/>
                  <a:pt x="353" y="6788"/>
                </a:cubicBezTo>
                <a:lnTo>
                  <a:pt x="182" y="6703"/>
                </a:lnTo>
                <a:lnTo>
                  <a:pt x="625" y="6929"/>
                </a:lnTo>
                <a:cubicBezTo>
                  <a:pt x="582" y="6962"/>
                  <a:pt x="620" y="6723"/>
                  <a:pt x="577" y="6756"/>
                </a:cubicBezTo>
                <a:cubicBezTo>
                  <a:pt x="567" y="6853"/>
                  <a:pt x="614" y="6850"/>
                  <a:pt x="605" y="6947"/>
                </a:cubicBezTo>
                <a:cubicBezTo>
                  <a:pt x="606" y="6806"/>
                  <a:pt x="514" y="7043"/>
                  <a:pt x="515" y="6902"/>
                </a:cubicBezTo>
                <a:cubicBezTo>
                  <a:pt x="521" y="6936"/>
                  <a:pt x="668" y="6909"/>
                  <a:pt x="674" y="6943"/>
                </a:cubicBezTo>
                <a:lnTo>
                  <a:pt x="668" y="6967"/>
                </a:lnTo>
                <a:cubicBezTo>
                  <a:pt x="665" y="7016"/>
                  <a:pt x="685" y="6891"/>
                  <a:pt x="681" y="6941"/>
                </a:cubicBezTo>
                <a:cubicBezTo>
                  <a:pt x="621" y="6884"/>
                  <a:pt x="558" y="6828"/>
                  <a:pt x="496" y="6771"/>
                </a:cubicBezTo>
                <a:cubicBezTo>
                  <a:pt x="490" y="6852"/>
                  <a:pt x="713" y="6884"/>
                  <a:pt x="705" y="6966"/>
                </a:cubicBezTo>
                <a:lnTo>
                  <a:pt x="1154" y="7070"/>
                </a:lnTo>
                <a:cubicBezTo>
                  <a:pt x="1266" y="6311"/>
                  <a:pt x="912" y="7775"/>
                  <a:pt x="1026" y="7016"/>
                </a:cubicBezTo>
                <a:cubicBezTo>
                  <a:pt x="1033" y="6314"/>
                  <a:pt x="1609" y="7786"/>
                  <a:pt x="1617" y="7084"/>
                </a:cubicBezTo>
                <a:cubicBezTo>
                  <a:pt x="1726" y="7035"/>
                  <a:pt x="1709" y="7172"/>
                  <a:pt x="1704" y="7189"/>
                </a:cubicBezTo>
                <a:cubicBezTo>
                  <a:pt x="1699" y="7206"/>
                  <a:pt x="1567" y="7110"/>
                  <a:pt x="1586" y="7185"/>
                </a:cubicBezTo>
                <a:cubicBezTo>
                  <a:pt x="1560" y="7065"/>
                  <a:pt x="1820" y="7294"/>
                  <a:pt x="1795" y="7174"/>
                </a:cubicBezTo>
                <a:cubicBezTo>
                  <a:pt x="1860" y="7017"/>
                  <a:pt x="2019" y="7447"/>
                  <a:pt x="2083" y="7290"/>
                </a:cubicBezTo>
                <a:lnTo>
                  <a:pt x="2354" y="7583"/>
                </a:lnTo>
                <a:cubicBezTo>
                  <a:pt x="2415" y="7758"/>
                  <a:pt x="2477" y="7933"/>
                  <a:pt x="2539" y="8108"/>
                </a:cubicBezTo>
                <a:lnTo>
                  <a:pt x="3241" y="8563"/>
                </a:lnTo>
                <a:cubicBezTo>
                  <a:pt x="3258" y="8682"/>
                  <a:pt x="3274" y="8798"/>
                  <a:pt x="3290" y="8917"/>
                </a:cubicBezTo>
                <a:lnTo>
                  <a:pt x="3558" y="9290"/>
                </a:lnTo>
                <a:lnTo>
                  <a:pt x="4020" y="9429"/>
                </a:lnTo>
                <a:lnTo>
                  <a:pt x="4556" y="9934"/>
                </a:lnTo>
                <a:lnTo>
                  <a:pt x="4657" y="9994"/>
                </a:lnTo>
                <a:lnTo>
                  <a:pt x="4833" y="10000"/>
                </a:lnTo>
                <a:lnTo>
                  <a:pt x="5001" y="9908"/>
                </a:lnTo>
                <a:cubicBezTo>
                  <a:pt x="5012" y="9810"/>
                  <a:pt x="5025" y="9712"/>
                  <a:pt x="5037" y="9615"/>
                </a:cubicBezTo>
                <a:lnTo>
                  <a:pt x="5795" y="9442"/>
                </a:lnTo>
                <a:lnTo>
                  <a:pt x="5952" y="9463"/>
                </a:lnTo>
                <a:lnTo>
                  <a:pt x="6229" y="9688"/>
                </a:lnTo>
                <a:lnTo>
                  <a:pt x="6349" y="9676"/>
                </a:lnTo>
                <a:cubicBezTo>
                  <a:pt x="6353" y="9631"/>
                  <a:pt x="6356" y="9586"/>
                  <a:pt x="6359" y="9542"/>
                </a:cubicBezTo>
                <a:lnTo>
                  <a:pt x="6701" y="9382"/>
                </a:lnTo>
                <a:lnTo>
                  <a:pt x="7430" y="9475"/>
                </a:lnTo>
                <a:cubicBezTo>
                  <a:pt x="7483" y="9429"/>
                  <a:pt x="7535" y="9382"/>
                  <a:pt x="7588" y="9336"/>
                </a:cubicBezTo>
                <a:lnTo>
                  <a:pt x="8262" y="9415"/>
                </a:lnTo>
                <a:lnTo>
                  <a:pt x="8743" y="9355"/>
                </a:lnTo>
                <a:lnTo>
                  <a:pt x="9020" y="9442"/>
                </a:lnTo>
                <a:cubicBezTo>
                  <a:pt x="9012" y="9183"/>
                  <a:pt x="9002" y="8923"/>
                  <a:pt x="8993" y="8665"/>
                </a:cubicBezTo>
                <a:lnTo>
                  <a:pt x="9510" y="7828"/>
                </a:lnTo>
                <a:lnTo>
                  <a:pt x="10000" y="7449"/>
                </a:lnTo>
                <a:lnTo>
                  <a:pt x="8900" y="6465"/>
                </a:lnTo>
                <a:cubicBezTo>
                  <a:pt x="8893" y="6016"/>
                  <a:pt x="8887" y="5566"/>
                  <a:pt x="8881" y="5117"/>
                </a:cubicBezTo>
                <a:lnTo>
                  <a:pt x="9602" y="4857"/>
                </a:lnTo>
                <a:lnTo>
                  <a:pt x="9187" y="4791"/>
                </a:lnTo>
                <a:lnTo>
                  <a:pt x="8808" y="4286"/>
                </a:lnTo>
                <a:lnTo>
                  <a:pt x="9242" y="3941"/>
                </a:lnTo>
                <a:lnTo>
                  <a:pt x="8919" y="3595"/>
                </a:lnTo>
                <a:lnTo>
                  <a:pt x="8429" y="3893"/>
                </a:lnTo>
                <a:lnTo>
                  <a:pt x="7172" y="3595"/>
                </a:lnTo>
                <a:lnTo>
                  <a:pt x="6505" y="3230"/>
                </a:lnTo>
                <a:cubicBezTo>
                  <a:pt x="6448" y="2975"/>
                  <a:pt x="6390" y="2720"/>
                  <a:pt x="6331" y="2465"/>
                </a:cubicBezTo>
                <a:lnTo>
                  <a:pt x="5980" y="2306"/>
                </a:lnTo>
                <a:lnTo>
                  <a:pt x="5508" y="2233"/>
                </a:lnTo>
                <a:lnTo>
                  <a:pt x="5121" y="1821"/>
                </a:lnTo>
                <a:lnTo>
                  <a:pt x="4667" y="904"/>
                </a:lnTo>
                <a:lnTo>
                  <a:pt x="4223" y="525"/>
                </a:lnTo>
                <a:lnTo>
                  <a:pt x="3392" y="219"/>
                </a:lnTo>
                <a:lnTo>
                  <a:pt x="3188" y="0"/>
                </a:lnTo>
                <a:lnTo>
                  <a:pt x="2681" y="127"/>
                </a:lnTo>
                <a:lnTo>
                  <a:pt x="2162" y="147"/>
                </a:lnTo>
                <a:lnTo>
                  <a:pt x="1487" y="459"/>
                </a:lnTo>
                <a:lnTo>
                  <a:pt x="879" y="472"/>
                </a:lnTo>
                <a:lnTo>
                  <a:pt x="591" y="631"/>
                </a:lnTo>
                <a:lnTo>
                  <a:pt x="0" y="672"/>
                </a:lnTo>
              </a:path>
            </a:pathLst>
          </a:custGeom>
          <a:solidFill>
            <a:srgbClr val="D9D9D9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87" name="Freeform: Shape 348">
            <a:extLst>
              <a:ext uri="{FF2B5EF4-FFF2-40B4-BE49-F238E27FC236}">
                <a16:creationId xmlns:a16="http://schemas.microsoft.com/office/drawing/2014/main" id="{3ACEB625-EDE8-41D6-BD93-E75CC29125EF}"/>
              </a:ext>
            </a:extLst>
          </p:cNvPr>
          <p:cNvSpPr/>
          <p:nvPr/>
        </p:nvSpPr>
        <p:spPr>
          <a:xfrm>
            <a:off x="7570917" y="5011614"/>
            <a:ext cx="192820" cy="203854"/>
          </a:xfrm>
          <a:custGeom>
            <a:avLst/>
            <a:gdLst>
              <a:gd name="connsiteX0" fmla="*/ 6299 w 178418"/>
              <a:gd name="connsiteY0" fmla="*/ 129540 h 203854"/>
              <a:gd name="connsiteX1" fmla="*/ 6299 w 178418"/>
              <a:gd name="connsiteY1" fmla="*/ 129540 h 203854"/>
              <a:gd name="connsiteX2" fmla="*/ 12014 w 178418"/>
              <a:gd name="connsiteY2" fmla="*/ 112395 h 203854"/>
              <a:gd name="connsiteX3" fmla="*/ 17729 w 178418"/>
              <a:gd name="connsiteY3" fmla="*/ 108585 h 203854"/>
              <a:gd name="connsiteX4" fmla="*/ 19634 w 178418"/>
              <a:gd name="connsiteY4" fmla="*/ 102870 h 203854"/>
              <a:gd name="connsiteX5" fmla="*/ 15824 w 178418"/>
              <a:gd name="connsiteY5" fmla="*/ 97155 h 203854"/>
              <a:gd name="connsiteX6" fmla="*/ 13919 w 178418"/>
              <a:gd name="connsiteY6" fmla="*/ 85725 h 203854"/>
              <a:gd name="connsiteX7" fmla="*/ 8204 w 178418"/>
              <a:gd name="connsiteY7" fmla="*/ 81915 h 203854"/>
              <a:gd name="connsiteX8" fmla="*/ 6299 w 178418"/>
              <a:gd name="connsiteY8" fmla="*/ 45720 h 203854"/>
              <a:gd name="connsiteX9" fmla="*/ 23444 w 178418"/>
              <a:gd name="connsiteY9" fmla="*/ 43815 h 203854"/>
              <a:gd name="connsiteX10" fmla="*/ 25349 w 178418"/>
              <a:gd name="connsiteY10" fmla="*/ 38100 h 203854"/>
              <a:gd name="connsiteX11" fmla="*/ 29159 w 178418"/>
              <a:gd name="connsiteY11" fmla="*/ 7620 h 203854"/>
              <a:gd name="connsiteX12" fmla="*/ 40589 w 178418"/>
              <a:gd name="connsiteY12" fmla="*/ 0 h 203854"/>
              <a:gd name="connsiteX13" fmla="*/ 53924 w 178418"/>
              <a:gd name="connsiteY13" fmla="*/ 3810 h 203854"/>
              <a:gd name="connsiteX14" fmla="*/ 59639 w 178418"/>
              <a:gd name="connsiteY14" fmla="*/ 5715 h 203854"/>
              <a:gd name="connsiteX15" fmla="*/ 67259 w 178418"/>
              <a:gd name="connsiteY15" fmla="*/ 9525 h 203854"/>
              <a:gd name="connsiteX16" fmla="*/ 72974 w 178418"/>
              <a:gd name="connsiteY16" fmla="*/ 5715 h 203854"/>
              <a:gd name="connsiteX17" fmla="*/ 78689 w 178418"/>
              <a:gd name="connsiteY17" fmla="*/ 1905 h 203854"/>
              <a:gd name="connsiteX18" fmla="*/ 92024 w 178418"/>
              <a:gd name="connsiteY18" fmla="*/ 3810 h 203854"/>
              <a:gd name="connsiteX19" fmla="*/ 97739 w 178418"/>
              <a:gd name="connsiteY19" fmla="*/ 7620 h 203854"/>
              <a:gd name="connsiteX20" fmla="*/ 103454 w 178418"/>
              <a:gd name="connsiteY20" fmla="*/ 9525 h 203854"/>
              <a:gd name="connsiteX21" fmla="*/ 109169 w 178418"/>
              <a:gd name="connsiteY21" fmla="*/ 15240 h 203854"/>
              <a:gd name="connsiteX22" fmla="*/ 120599 w 178418"/>
              <a:gd name="connsiteY22" fmla="*/ 22860 h 203854"/>
              <a:gd name="connsiteX23" fmla="*/ 130124 w 178418"/>
              <a:gd name="connsiteY23" fmla="*/ 40005 h 203854"/>
              <a:gd name="connsiteX24" fmla="*/ 135839 w 178418"/>
              <a:gd name="connsiteY24" fmla="*/ 45720 h 203854"/>
              <a:gd name="connsiteX25" fmla="*/ 139649 w 178418"/>
              <a:gd name="connsiteY25" fmla="*/ 51435 h 203854"/>
              <a:gd name="connsiteX26" fmla="*/ 141554 w 178418"/>
              <a:gd name="connsiteY26" fmla="*/ 57150 h 203854"/>
              <a:gd name="connsiteX27" fmla="*/ 149174 w 178418"/>
              <a:gd name="connsiteY27" fmla="*/ 60960 h 203854"/>
              <a:gd name="connsiteX28" fmla="*/ 154889 w 178418"/>
              <a:gd name="connsiteY28" fmla="*/ 72390 h 203854"/>
              <a:gd name="connsiteX29" fmla="*/ 156794 w 178418"/>
              <a:gd name="connsiteY29" fmla="*/ 78105 h 203854"/>
              <a:gd name="connsiteX30" fmla="*/ 162509 w 178418"/>
              <a:gd name="connsiteY30" fmla="*/ 81915 h 203854"/>
              <a:gd name="connsiteX31" fmla="*/ 168224 w 178418"/>
              <a:gd name="connsiteY31" fmla="*/ 87630 h 203854"/>
              <a:gd name="connsiteX32" fmla="*/ 172034 w 178418"/>
              <a:gd name="connsiteY32" fmla="*/ 95250 h 203854"/>
              <a:gd name="connsiteX33" fmla="*/ 175844 w 178418"/>
              <a:gd name="connsiteY33" fmla="*/ 100965 h 203854"/>
              <a:gd name="connsiteX34" fmla="*/ 177749 w 178418"/>
              <a:gd name="connsiteY34" fmla="*/ 106680 h 203854"/>
              <a:gd name="connsiteX35" fmla="*/ 147269 w 178418"/>
              <a:gd name="connsiteY35" fmla="*/ 104775 h 203854"/>
              <a:gd name="connsiteX36" fmla="*/ 135839 w 178418"/>
              <a:gd name="connsiteY36" fmla="*/ 110490 h 203854"/>
              <a:gd name="connsiteX37" fmla="*/ 132029 w 178418"/>
              <a:gd name="connsiteY37" fmla="*/ 121920 h 203854"/>
              <a:gd name="connsiteX38" fmla="*/ 126314 w 178418"/>
              <a:gd name="connsiteY38" fmla="*/ 127635 h 203854"/>
              <a:gd name="connsiteX39" fmla="*/ 118694 w 178418"/>
              <a:gd name="connsiteY39" fmla="*/ 139065 h 203854"/>
              <a:gd name="connsiteX40" fmla="*/ 116789 w 178418"/>
              <a:gd name="connsiteY40" fmla="*/ 152400 h 203854"/>
              <a:gd name="connsiteX41" fmla="*/ 114884 w 178418"/>
              <a:gd name="connsiteY41" fmla="*/ 158115 h 203854"/>
              <a:gd name="connsiteX42" fmla="*/ 118694 w 178418"/>
              <a:gd name="connsiteY42" fmla="*/ 163830 h 203854"/>
              <a:gd name="connsiteX43" fmla="*/ 114884 w 178418"/>
              <a:gd name="connsiteY43" fmla="*/ 182880 h 203854"/>
              <a:gd name="connsiteX44" fmla="*/ 112979 w 178418"/>
              <a:gd name="connsiteY44" fmla="*/ 188595 h 203854"/>
              <a:gd name="connsiteX45" fmla="*/ 107264 w 178418"/>
              <a:gd name="connsiteY45" fmla="*/ 194310 h 203854"/>
              <a:gd name="connsiteX46" fmla="*/ 105359 w 178418"/>
              <a:gd name="connsiteY46" fmla="*/ 200025 h 203854"/>
              <a:gd name="connsiteX47" fmla="*/ 86309 w 178418"/>
              <a:gd name="connsiteY47" fmla="*/ 201930 h 203854"/>
              <a:gd name="connsiteX48" fmla="*/ 78689 w 178418"/>
              <a:gd name="connsiteY48" fmla="*/ 196215 h 203854"/>
              <a:gd name="connsiteX49" fmla="*/ 74879 w 178418"/>
              <a:gd name="connsiteY49" fmla="*/ 188595 h 203854"/>
              <a:gd name="connsiteX50" fmla="*/ 71069 w 178418"/>
              <a:gd name="connsiteY50" fmla="*/ 182880 h 203854"/>
              <a:gd name="connsiteX51" fmla="*/ 69164 w 178418"/>
              <a:gd name="connsiteY51" fmla="*/ 173355 h 203854"/>
              <a:gd name="connsiteX52" fmla="*/ 63449 w 178418"/>
              <a:gd name="connsiteY52" fmla="*/ 169545 h 203854"/>
              <a:gd name="connsiteX53" fmla="*/ 46304 w 178418"/>
              <a:gd name="connsiteY53" fmla="*/ 152400 h 203854"/>
              <a:gd name="connsiteX54" fmla="*/ 31064 w 178418"/>
              <a:gd name="connsiteY54" fmla="*/ 140970 h 203854"/>
              <a:gd name="connsiteX55" fmla="*/ 23444 w 178418"/>
              <a:gd name="connsiteY55" fmla="*/ 139065 h 203854"/>
              <a:gd name="connsiteX56" fmla="*/ 17729 w 178418"/>
              <a:gd name="connsiteY56" fmla="*/ 137160 h 203854"/>
              <a:gd name="connsiteX57" fmla="*/ 6299 w 178418"/>
              <a:gd name="connsiteY57" fmla="*/ 129540 h 203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178418" h="203854">
                <a:moveTo>
                  <a:pt x="6299" y="129540"/>
                </a:moveTo>
                <a:lnTo>
                  <a:pt x="6299" y="129540"/>
                </a:lnTo>
                <a:cubicBezTo>
                  <a:pt x="8204" y="123825"/>
                  <a:pt x="9129" y="117684"/>
                  <a:pt x="12014" y="112395"/>
                </a:cubicBezTo>
                <a:cubicBezTo>
                  <a:pt x="13110" y="110385"/>
                  <a:pt x="16299" y="110373"/>
                  <a:pt x="17729" y="108585"/>
                </a:cubicBezTo>
                <a:cubicBezTo>
                  <a:pt x="18983" y="107017"/>
                  <a:pt x="18999" y="104775"/>
                  <a:pt x="19634" y="102870"/>
                </a:cubicBezTo>
                <a:cubicBezTo>
                  <a:pt x="18364" y="100965"/>
                  <a:pt x="16548" y="99327"/>
                  <a:pt x="15824" y="97155"/>
                </a:cubicBezTo>
                <a:cubicBezTo>
                  <a:pt x="14603" y="93491"/>
                  <a:pt x="15646" y="89180"/>
                  <a:pt x="13919" y="85725"/>
                </a:cubicBezTo>
                <a:cubicBezTo>
                  <a:pt x="12895" y="83677"/>
                  <a:pt x="10109" y="83185"/>
                  <a:pt x="8204" y="81915"/>
                </a:cubicBezTo>
                <a:cubicBezTo>
                  <a:pt x="805" y="70817"/>
                  <a:pt x="-4900" y="64758"/>
                  <a:pt x="6299" y="45720"/>
                </a:cubicBezTo>
                <a:cubicBezTo>
                  <a:pt x="9214" y="40764"/>
                  <a:pt x="17729" y="44450"/>
                  <a:pt x="23444" y="43815"/>
                </a:cubicBezTo>
                <a:cubicBezTo>
                  <a:pt x="24079" y="41910"/>
                  <a:pt x="25036" y="40083"/>
                  <a:pt x="25349" y="38100"/>
                </a:cubicBezTo>
                <a:cubicBezTo>
                  <a:pt x="26946" y="27986"/>
                  <a:pt x="20640" y="13300"/>
                  <a:pt x="29159" y="7620"/>
                </a:cubicBezTo>
                <a:lnTo>
                  <a:pt x="40589" y="0"/>
                </a:lnTo>
                <a:lnTo>
                  <a:pt x="53924" y="3810"/>
                </a:lnTo>
                <a:cubicBezTo>
                  <a:pt x="55847" y="4387"/>
                  <a:pt x="57793" y="4924"/>
                  <a:pt x="59639" y="5715"/>
                </a:cubicBezTo>
                <a:cubicBezTo>
                  <a:pt x="62249" y="6834"/>
                  <a:pt x="64719" y="8255"/>
                  <a:pt x="67259" y="9525"/>
                </a:cubicBezTo>
                <a:cubicBezTo>
                  <a:pt x="74530" y="20431"/>
                  <a:pt x="68266" y="13954"/>
                  <a:pt x="72974" y="5715"/>
                </a:cubicBezTo>
                <a:cubicBezTo>
                  <a:pt x="74110" y="3727"/>
                  <a:pt x="76784" y="3175"/>
                  <a:pt x="78689" y="1905"/>
                </a:cubicBezTo>
                <a:cubicBezTo>
                  <a:pt x="83134" y="2540"/>
                  <a:pt x="87723" y="2520"/>
                  <a:pt x="92024" y="3810"/>
                </a:cubicBezTo>
                <a:cubicBezTo>
                  <a:pt x="94217" y="4468"/>
                  <a:pt x="95691" y="6596"/>
                  <a:pt x="97739" y="7620"/>
                </a:cubicBezTo>
                <a:cubicBezTo>
                  <a:pt x="99535" y="8518"/>
                  <a:pt x="101549" y="8890"/>
                  <a:pt x="103454" y="9525"/>
                </a:cubicBezTo>
                <a:cubicBezTo>
                  <a:pt x="105359" y="11430"/>
                  <a:pt x="106927" y="13746"/>
                  <a:pt x="109169" y="15240"/>
                </a:cubicBezTo>
                <a:cubicBezTo>
                  <a:pt x="125711" y="26268"/>
                  <a:pt x="102368" y="4629"/>
                  <a:pt x="120599" y="22860"/>
                </a:cubicBezTo>
                <a:cubicBezTo>
                  <a:pt x="122995" y="30047"/>
                  <a:pt x="123574" y="33455"/>
                  <a:pt x="130124" y="40005"/>
                </a:cubicBezTo>
                <a:cubicBezTo>
                  <a:pt x="132029" y="41910"/>
                  <a:pt x="134114" y="43650"/>
                  <a:pt x="135839" y="45720"/>
                </a:cubicBezTo>
                <a:cubicBezTo>
                  <a:pt x="137305" y="47479"/>
                  <a:pt x="138625" y="49387"/>
                  <a:pt x="139649" y="51435"/>
                </a:cubicBezTo>
                <a:cubicBezTo>
                  <a:pt x="140547" y="53231"/>
                  <a:pt x="140134" y="55730"/>
                  <a:pt x="141554" y="57150"/>
                </a:cubicBezTo>
                <a:cubicBezTo>
                  <a:pt x="143562" y="59158"/>
                  <a:pt x="146634" y="59690"/>
                  <a:pt x="149174" y="60960"/>
                </a:cubicBezTo>
                <a:cubicBezTo>
                  <a:pt x="153962" y="75325"/>
                  <a:pt x="147503" y="57618"/>
                  <a:pt x="154889" y="72390"/>
                </a:cubicBezTo>
                <a:cubicBezTo>
                  <a:pt x="155787" y="74186"/>
                  <a:pt x="155540" y="76537"/>
                  <a:pt x="156794" y="78105"/>
                </a:cubicBezTo>
                <a:cubicBezTo>
                  <a:pt x="158224" y="79893"/>
                  <a:pt x="160750" y="80449"/>
                  <a:pt x="162509" y="81915"/>
                </a:cubicBezTo>
                <a:cubicBezTo>
                  <a:pt x="164579" y="83640"/>
                  <a:pt x="166658" y="85438"/>
                  <a:pt x="168224" y="87630"/>
                </a:cubicBezTo>
                <a:cubicBezTo>
                  <a:pt x="169875" y="89941"/>
                  <a:pt x="170625" y="92784"/>
                  <a:pt x="172034" y="95250"/>
                </a:cubicBezTo>
                <a:cubicBezTo>
                  <a:pt x="173170" y="97238"/>
                  <a:pt x="174820" y="98917"/>
                  <a:pt x="175844" y="100965"/>
                </a:cubicBezTo>
                <a:cubicBezTo>
                  <a:pt x="176742" y="102761"/>
                  <a:pt x="179739" y="106415"/>
                  <a:pt x="177749" y="106680"/>
                </a:cubicBezTo>
                <a:cubicBezTo>
                  <a:pt x="167658" y="108025"/>
                  <a:pt x="157429" y="105410"/>
                  <a:pt x="147269" y="104775"/>
                </a:cubicBezTo>
                <a:cubicBezTo>
                  <a:pt x="144155" y="105813"/>
                  <a:pt x="137783" y="107380"/>
                  <a:pt x="135839" y="110490"/>
                </a:cubicBezTo>
                <a:cubicBezTo>
                  <a:pt x="133710" y="113896"/>
                  <a:pt x="134869" y="119080"/>
                  <a:pt x="132029" y="121920"/>
                </a:cubicBezTo>
                <a:cubicBezTo>
                  <a:pt x="130124" y="123825"/>
                  <a:pt x="127968" y="125508"/>
                  <a:pt x="126314" y="127635"/>
                </a:cubicBezTo>
                <a:cubicBezTo>
                  <a:pt x="123503" y="131249"/>
                  <a:pt x="118694" y="139065"/>
                  <a:pt x="118694" y="139065"/>
                </a:cubicBezTo>
                <a:cubicBezTo>
                  <a:pt x="118059" y="143510"/>
                  <a:pt x="117670" y="147997"/>
                  <a:pt x="116789" y="152400"/>
                </a:cubicBezTo>
                <a:cubicBezTo>
                  <a:pt x="116395" y="154369"/>
                  <a:pt x="114554" y="156134"/>
                  <a:pt x="114884" y="158115"/>
                </a:cubicBezTo>
                <a:cubicBezTo>
                  <a:pt x="115260" y="160373"/>
                  <a:pt x="117424" y="161925"/>
                  <a:pt x="118694" y="163830"/>
                </a:cubicBezTo>
                <a:cubicBezTo>
                  <a:pt x="117424" y="170180"/>
                  <a:pt x="116340" y="176570"/>
                  <a:pt x="114884" y="182880"/>
                </a:cubicBezTo>
                <a:cubicBezTo>
                  <a:pt x="114432" y="184837"/>
                  <a:pt x="114093" y="186924"/>
                  <a:pt x="112979" y="188595"/>
                </a:cubicBezTo>
                <a:cubicBezTo>
                  <a:pt x="111485" y="190837"/>
                  <a:pt x="109169" y="192405"/>
                  <a:pt x="107264" y="194310"/>
                </a:cubicBezTo>
                <a:cubicBezTo>
                  <a:pt x="106629" y="196215"/>
                  <a:pt x="106779" y="198605"/>
                  <a:pt x="105359" y="200025"/>
                </a:cubicBezTo>
                <a:cubicBezTo>
                  <a:pt x="99031" y="206353"/>
                  <a:pt x="94084" y="203226"/>
                  <a:pt x="86309" y="201930"/>
                </a:cubicBezTo>
                <a:cubicBezTo>
                  <a:pt x="83769" y="200025"/>
                  <a:pt x="80755" y="198626"/>
                  <a:pt x="78689" y="196215"/>
                </a:cubicBezTo>
                <a:cubicBezTo>
                  <a:pt x="76841" y="194059"/>
                  <a:pt x="76288" y="191061"/>
                  <a:pt x="74879" y="188595"/>
                </a:cubicBezTo>
                <a:cubicBezTo>
                  <a:pt x="73743" y="186607"/>
                  <a:pt x="72339" y="184785"/>
                  <a:pt x="71069" y="182880"/>
                </a:cubicBezTo>
                <a:cubicBezTo>
                  <a:pt x="70434" y="179705"/>
                  <a:pt x="70770" y="176166"/>
                  <a:pt x="69164" y="173355"/>
                </a:cubicBezTo>
                <a:cubicBezTo>
                  <a:pt x="68028" y="171367"/>
                  <a:pt x="65160" y="171066"/>
                  <a:pt x="63449" y="169545"/>
                </a:cubicBezTo>
                <a:lnTo>
                  <a:pt x="46304" y="152400"/>
                </a:lnTo>
                <a:cubicBezTo>
                  <a:pt x="40382" y="146478"/>
                  <a:pt x="39585" y="144757"/>
                  <a:pt x="31064" y="140970"/>
                </a:cubicBezTo>
                <a:cubicBezTo>
                  <a:pt x="28671" y="139907"/>
                  <a:pt x="25961" y="139784"/>
                  <a:pt x="23444" y="139065"/>
                </a:cubicBezTo>
                <a:cubicBezTo>
                  <a:pt x="21513" y="138513"/>
                  <a:pt x="19677" y="137647"/>
                  <a:pt x="17729" y="137160"/>
                </a:cubicBezTo>
                <a:cubicBezTo>
                  <a:pt x="14588" y="136375"/>
                  <a:pt x="8204" y="130810"/>
                  <a:pt x="6299" y="129540"/>
                </a:cubicBezTo>
                <a:close/>
              </a:path>
            </a:pathLst>
          </a:custGeom>
          <a:solidFill>
            <a:srgbClr val="D9D9D9"/>
          </a:solidFill>
          <a:ln w="317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8" name="Freeform 87" descr="Large grid">
            <a:extLst>
              <a:ext uri="{FF2B5EF4-FFF2-40B4-BE49-F238E27FC236}">
                <a16:creationId xmlns:a16="http://schemas.microsoft.com/office/drawing/2014/main" id="{63521D1F-6EAC-4561-8729-C8292A5A92DA}"/>
              </a:ext>
            </a:extLst>
          </p:cNvPr>
          <p:cNvSpPr>
            <a:spLocks/>
          </p:cNvSpPr>
          <p:nvPr/>
        </p:nvSpPr>
        <p:spPr bwMode="auto">
          <a:xfrm rot="21249101">
            <a:off x="6251934" y="1158705"/>
            <a:ext cx="1727350" cy="1754809"/>
          </a:xfrm>
          <a:custGeom>
            <a:avLst/>
            <a:gdLst>
              <a:gd name="T0" fmla="*/ 2147483647 w 4138"/>
              <a:gd name="T1" fmla="*/ 2147483647 h 4588"/>
              <a:gd name="T2" fmla="*/ 2147483647 w 4138"/>
              <a:gd name="T3" fmla="*/ 2147483647 h 4588"/>
              <a:gd name="T4" fmla="*/ 2147483647 w 4138"/>
              <a:gd name="T5" fmla="*/ 2147483647 h 4588"/>
              <a:gd name="T6" fmla="*/ 2147483647 w 4138"/>
              <a:gd name="T7" fmla="*/ 2147483647 h 4588"/>
              <a:gd name="T8" fmla="*/ 2147483647 w 4138"/>
              <a:gd name="T9" fmla="*/ 2147483647 h 4588"/>
              <a:gd name="T10" fmla="*/ 2147483647 w 4138"/>
              <a:gd name="T11" fmla="*/ 2147483647 h 4588"/>
              <a:gd name="T12" fmla="*/ 2147483647 w 4138"/>
              <a:gd name="T13" fmla="*/ 2147483647 h 4588"/>
              <a:gd name="T14" fmla="*/ 2147483647 w 4138"/>
              <a:gd name="T15" fmla="*/ 2147483647 h 4588"/>
              <a:gd name="T16" fmla="*/ 2147483647 w 4138"/>
              <a:gd name="T17" fmla="*/ 2147483647 h 4588"/>
              <a:gd name="T18" fmla="*/ 2147483647 w 4138"/>
              <a:gd name="T19" fmla="*/ 2147483647 h 4588"/>
              <a:gd name="T20" fmla="*/ 2147483647 w 4138"/>
              <a:gd name="T21" fmla="*/ 2147483647 h 4588"/>
              <a:gd name="T22" fmla="*/ 2147483647 w 4138"/>
              <a:gd name="T23" fmla="*/ 2147483647 h 4588"/>
              <a:gd name="T24" fmla="*/ 2147483647 w 4138"/>
              <a:gd name="T25" fmla="*/ 2147483647 h 4588"/>
              <a:gd name="T26" fmla="*/ 2147483647 w 4138"/>
              <a:gd name="T27" fmla="*/ 2147483647 h 4588"/>
              <a:gd name="T28" fmla="*/ 2147483647 w 4138"/>
              <a:gd name="T29" fmla="*/ 2147483647 h 4588"/>
              <a:gd name="T30" fmla="*/ 2147483647 w 4138"/>
              <a:gd name="T31" fmla="*/ 2147483647 h 4588"/>
              <a:gd name="T32" fmla="*/ 2147483647 w 4138"/>
              <a:gd name="T33" fmla="*/ 2147483647 h 4588"/>
              <a:gd name="T34" fmla="*/ 2147483647 w 4138"/>
              <a:gd name="T35" fmla="*/ 2147483647 h 4588"/>
              <a:gd name="T36" fmla="*/ 2147483647 w 4138"/>
              <a:gd name="T37" fmla="*/ 2147483647 h 4588"/>
              <a:gd name="T38" fmla="*/ 2147483647 w 4138"/>
              <a:gd name="T39" fmla="*/ 2147483647 h 4588"/>
              <a:gd name="T40" fmla="*/ 2147483647 w 4138"/>
              <a:gd name="T41" fmla="*/ 2147483647 h 4588"/>
              <a:gd name="T42" fmla="*/ 2147483647 w 4138"/>
              <a:gd name="T43" fmla="*/ 2147483647 h 4588"/>
              <a:gd name="T44" fmla="*/ 2147483647 w 4138"/>
              <a:gd name="T45" fmla="*/ 2147483647 h 4588"/>
              <a:gd name="T46" fmla="*/ 2147483647 w 4138"/>
              <a:gd name="T47" fmla="*/ 2147483647 h 4588"/>
              <a:gd name="T48" fmla="*/ 2147483647 w 4138"/>
              <a:gd name="T49" fmla="*/ 2147483647 h 4588"/>
              <a:gd name="T50" fmla="*/ 2147483647 w 4138"/>
              <a:gd name="T51" fmla="*/ 2147483647 h 4588"/>
              <a:gd name="T52" fmla="*/ 2147483647 w 4138"/>
              <a:gd name="T53" fmla="*/ 2147483647 h 4588"/>
              <a:gd name="T54" fmla="*/ 2147483647 w 4138"/>
              <a:gd name="T55" fmla="*/ 2147483647 h 4588"/>
              <a:gd name="T56" fmla="*/ 2147483647 w 4138"/>
              <a:gd name="T57" fmla="*/ 2147483647 h 4588"/>
              <a:gd name="T58" fmla="*/ 2147483647 w 4138"/>
              <a:gd name="T59" fmla="*/ 2147483647 h 4588"/>
              <a:gd name="T60" fmla="*/ 2147483647 w 4138"/>
              <a:gd name="T61" fmla="*/ 2147483647 h 4588"/>
              <a:gd name="T62" fmla="*/ 2147483647 w 4138"/>
              <a:gd name="T63" fmla="*/ 2147483647 h 4588"/>
              <a:gd name="T64" fmla="*/ 2147483647 w 4138"/>
              <a:gd name="T65" fmla="*/ 2147483647 h 4588"/>
              <a:gd name="T66" fmla="*/ 2147483647 w 4138"/>
              <a:gd name="T67" fmla="*/ 2147483647 h 4588"/>
              <a:gd name="T68" fmla="*/ 2147483647 w 4138"/>
              <a:gd name="T69" fmla="*/ 2147483647 h 4588"/>
              <a:gd name="T70" fmla="*/ 2147483647 w 4138"/>
              <a:gd name="T71" fmla="*/ 2147483647 h 4588"/>
              <a:gd name="T72" fmla="*/ 2147483647 w 4138"/>
              <a:gd name="T73" fmla="*/ 2147483647 h 4588"/>
              <a:gd name="T74" fmla="*/ 2147483647 w 4138"/>
              <a:gd name="T75" fmla="*/ 2147483647 h 4588"/>
              <a:gd name="T76" fmla="*/ 2147483647 w 4138"/>
              <a:gd name="T77" fmla="*/ 2147483647 h 4588"/>
              <a:gd name="T78" fmla="*/ 2147483647 w 4138"/>
              <a:gd name="T79" fmla="*/ 2147483647 h 4588"/>
              <a:gd name="T80" fmla="*/ 2147483647 w 4138"/>
              <a:gd name="T81" fmla="*/ 2147483647 h 4588"/>
              <a:gd name="T82" fmla="*/ 2147483647 w 4138"/>
              <a:gd name="T83" fmla="*/ 2147483647 h 4588"/>
              <a:gd name="T84" fmla="*/ 2147483647 w 4138"/>
              <a:gd name="T85" fmla="*/ 2147483647 h 4588"/>
              <a:gd name="T86" fmla="*/ 2147483647 w 4138"/>
              <a:gd name="T87" fmla="*/ 2147483647 h 4588"/>
              <a:gd name="T88" fmla="*/ 2147483647 w 4138"/>
              <a:gd name="T89" fmla="*/ 2147483647 h 4588"/>
              <a:gd name="T90" fmla="*/ 2147483647 w 4138"/>
              <a:gd name="T91" fmla="*/ 2147483647 h 4588"/>
              <a:gd name="T92" fmla="*/ 2147483647 w 4138"/>
              <a:gd name="T93" fmla="*/ 2147483647 h 4588"/>
              <a:gd name="T94" fmla="*/ 2147483647 w 4138"/>
              <a:gd name="T95" fmla="*/ 2147483647 h 4588"/>
              <a:gd name="T96" fmla="*/ 2147483647 w 4138"/>
              <a:gd name="T97" fmla="*/ 2147483647 h 4588"/>
              <a:gd name="T98" fmla="*/ 2147483647 w 4138"/>
              <a:gd name="T99" fmla="*/ 2147483647 h 4588"/>
              <a:gd name="T100" fmla="*/ 2147483647 w 4138"/>
              <a:gd name="T101" fmla="*/ 2147483647 h 4588"/>
              <a:gd name="T102" fmla="*/ 2147483647 w 4138"/>
              <a:gd name="T103" fmla="*/ 2147483647 h 4588"/>
              <a:gd name="T104" fmla="*/ 2147483647 w 4138"/>
              <a:gd name="T105" fmla="*/ 2147483647 h 4588"/>
              <a:gd name="T106" fmla="*/ 2147483647 w 4138"/>
              <a:gd name="T107" fmla="*/ 2147483647 h 4588"/>
              <a:gd name="T108" fmla="*/ 2147483647 w 4138"/>
              <a:gd name="T109" fmla="*/ 2147483647 h 4588"/>
              <a:gd name="T110" fmla="*/ 2147483647 w 4138"/>
              <a:gd name="T111" fmla="*/ 2147483647 h 4588"/>
              <a:gd name="T112" fmla="*/ 2147483647 w 4138"/>
              <a:gd name="T113" fmla="*/ 2147483647 h 4588"/>
              <a:gd name="T114" fmla="*/ 2147483647 w 4138"/>
              <a:gd name="T115" fmla="*/ 2147483647 h 4588"/>
              <a:gd name="T116" fmla="*/ 2147483647 w 4138"/>
              <a:gd name="T117" fmla="*/ 2147483647 h 458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4138"/>
              <a:gd name="T178" fmla="*/ 0 h 4588"/>
              <a:gd name="T179" fmla="*/ 4138 w 4138"/>
              <a:gd name="T180" fmla="*/ 4588 h 458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4138" h="4588">
                <a:moveTo>
                  <a:pt x="4129" y="422"/>
                </a:moveTo>
                <a:lnTo>
                  <a:pt x="4073" y="419"/>
                </a:lnTo>
                <a:lnTo>
                  <a:pt x="4076" y="468"/>
                </a:lnTo>
                <a:lnTo>
                  <a:pt x="4064" y="470"/>
                </a:lnTo>
                <a:lnTo>
                  <a:pt x="4063" y="461"/>
                </a:lnTo>
                <a:lnTo>
                  <a:pt x="4040" y="458"/>
                </a:lnTo>
                <a:lnTo>
                  <a:pt x="4029" y="444"/>
                </a:lnTo>
                <a:lnTo>
                  <a:pt x="4034" y="473"/>
                </a:lnTo>
                <a:lnTo>
                  <a:pt x="4031" y="479"/>
                </a:lnTo>
                <a:lnTo>
                  <a:pt x="4016" y="458"/>
                </a:lnTo>
                <a:lnTo>
                  <a:pt x="3987" y="467"/>
                </a:lnTo>
                <a:lnTo>
                  <a:pt x="3964" y="485"/>
                </a:lnTo>
                <a:lnTo>
                  <a:pt x="3969" y="455"/>
                </a:lnTo>
                <a:lnTo>
                  <a:pt x="3984" y="439"/>
                </a:lnTo>
                <a:lnTo>
                  <a:pt x="4000" y="432"/>
                </a:lnTo>
                <a:lnTo>
                  <a:pt x="4005" y="418"/>
                </a:lnTo>
                <a:lnTo>
                  <a:pt x="3999" y="406"/>
                </a:lnTo>
                <a:lnTo>
                  <a:pt x="3985" y="391"/>
                </a:lnTo>
                <a:lnTo>
                  <a:pt x="3938" y="403"/>
                </a:lnTo>
                <a:lnTo>
                  <a:pt x="3944" y="389"/>
                </a:lnTo>
                <a:lnTo>
                  <a:pt x="3869" y="344"/>
                </a:lnTo>
                <a:lnTo>
                  <a:pt x="3836" y="341"/>
                </a:lnTo>
                <a:lnTo>
                  <a:pt x="3824" y="329"/>
                </a:lnTo>
                <a:lnTo>
                  <a:pt x="3827" y="321"/>
                </a:lnTo>
                <a:lnTo>
                  <a:pt x="3826" y="311"/>
                </a:lnTo>
                <a:lnTo>
                  <a:pt x="3997" y="326"/>
                </a:lnTo>
                <a:lnTo>
                  <a:pt x="4068" y="248"/>
                </a:lnTo>
                <a:lnTo>
                  <a:pt x="4094" y="234"/>
                </a:lnTo>
                <a:lnTo>
                  <a:pt x="4107" y="215"/>
                </a:lnTo>
                <a:lnTo>
                  <a:pt x="4097" y="187"/>
                </a:lnTo>
                <a:lnTo>
                  <a:pt x="4068" y="178"/>
                </a:lnTo>
                <a:lnTo>
                  <a:pt x="4045" y="150"/>
                </a:lnTo>
                <a:lnTo>
                  <a:pt x="4009" y="155"/>
                </a:lnTo>
                <a:lnTo>
                  <a:pt x="3989" y="148"/>
                </a:lnTo>
                <a:lnTo>
                  <a:pt x="4006" y="132"/>
                </a:lnTo>
                <a:lnTo>
                  <a:pt x="3970" y="118"/>
                </a:lnTo>
                <a:lnTo>
                  <a:pt x="3955" y="99"/>
                </a:lnTo>
                <a:lnTo>
                  <a:pt x="3942" y="122"/>
                </a:lnTo>
                <a:lnTo>
                  <a:pt x="3930" y="130"/>
                </a:lnTo>
                <a:lnTo>
                  <a:pt x="3927" y="114"/>
                </a:lnTo>
                <a:lnTo>
                  <a:pt x="3920" y="105"/>
                </a:lnTo>
                <a:lnTo>
                  <a:pt x="3879" y="127"/>
                </a:lnTo>
                <a:lnTo>
                  <a:pt x="3875" y="122"/>
                </a:lnTo>
                <a:lnTo>
                  <a:pt x="3872" y="113"/>
                </a:lnTo>
                <a:lnTo>
                  <a:pt x="3873" y="102"/>
                </a:lnTo>
                <a:lnTo>
                  <a:pt x="3869" y="82"/>
                </a:lnTo>
                <a:lnTo>
                  <a:pt x="3858" y="75"/>
                </a:lnTo>
                <a:lnTo>
                  <a:pt x="3851" y="61"/>
                </a:lnTo>
                <a:lnTo>
                  <a:pt x="3832" y="72"/>
                </a:lnTo>
                <a:lnTo>
                  <a:pt x="3816" y="65"/>
                </a:lnTo>
                <a:lnTo>
                  <a:pt x="3800" y="73"/>
                </a:lnTo>
                <a:lnTo>
                  <a:pt x="3784" y="109"/>
                </a:lnTo>
                <a:lnTo>
                  <a:pt x="3799" y="211"/>
                </a:lnTo>
                <a:lnTo>
                  <a:pt x="3773" y="228"/>
                </a:lnTo>
                <a:lnTo>
                  <a:pt x="3750" y="216"/>
                </a:lnTo>
                <a:lnTo>
                  <a:pt x="3725" y="225"/>
                </a:lnTo>
                <a:lnTo>
                  <a:pt x="3718" y="215"/>
                </a:lnTo>
                <a:lnTo>
                  <a:pt x="3739" y="192"/>
                </a:lnTo>
                <a:lnTo>
                  <a:pt x="3755" y="158"/>
                </a:lnTo>
                <a:lnTo>
                  <a:pt x="3743" y="138"/>
                </a:lnTo>
                <a:lnTo>
                  <a:pt x="3711" y="166"/>
                </a:lnTo>
                <a:lnTo>
                  <a:pt x="3690" y="168"/>
                </a:lnTo>
                <a:lnTo>
                  <a:pt x="3720" y="139"/>
                </a:lnTo>
                <a:lnTo>
                  <a:pt x="3697" y="116"/>
                </a:lnTo>
                <a:lnTo>
                  <a:pt x="3709" y="97"/>
                </a:lnTo>
                <a:lnTo>
                  <a:pt x="3748" y="98"/>
                </a:lnTo>
                <a:lnTo>
                  <a:pt x="3760" y="65"/>
                </a:lnTo>
                <a:lnTo>
                  <a:pt x="3758" y="30"/>
                </a:lnTo>
                <a:lnTo>
                  <a:pt x="3731" y="33"/>
                </a:lnTo>
                <a:lnTo>
                  <a:pt x="3732" y="12"/>
                </a:lnTo>
                <a:lnTo>
                  <a:pt x="3715" y="0"/>
                </a:lnTo>
                <a:lnTo>
                  <a:pt x="3702" y="2"/>
                </a:lnTo>
                <a:lnTo>
                  <a:pt x="3677" y="27"/>
                </a:lnTo>
                <a:lnTo>
                  <a:pt x="3649" y="2"/>
                </a:lnTo>
                <a:lnTo>
                  <a:pt x="3636" y="112"/>
                </a:lnTo>
                <a:lnTo>
                  <a:pt x="3624" y="133"/>
                </a:lnTo>
                <a:lnTo>
                  <a:pt x="3621" y="152"/>
                </a:lnTo>
                <a:lnTo>
                  <a:pt x="3626" y="176"/>
                </a:lnTo>
                <a:lnTo>
                  <a:pt x="3610" y="180"/>
                </a:lnTo>
                <a:lnTo>
                  <a:pt x="3604" y="201"/>
                </a:lnTo>
                <a:lnTo>
                  <a:pt x="3609" y="234"/>
                </a:lnTo>
                <a:lnTo>
                  <a:pt x="3583" y="238"/>
                </a:lnTo>
                <a:lnTo>
                  <a:pt x="3554" y="274"/>
                </a:lnTo>
                <a:lnTo>
                  <a:pt x="3560" y="197"/>
                </a:lnTo>
                <a:lnTo>
                  <a:pt x="3534" y="168"/>
                </a:lnTo>
                <a:lnTo>
                  <a:pt x="3553" y="147"/>
                </a:lnTo>
                <a:lnTo>
                  <a:pt x="3542" y="76"/>
                </a:lnTo>
                <a:lnTo>
                  <a:pt x="3532" y="73"/>
                </a:lnTo>
                <a:lnTo>
                  <a:pt x="3518" y="82"/>
                </a:lnTo>
                <a:lnTo>
                  <a:pt x="3404" y="336"/>
                </a:lnTo>
                <a:lnTo>
                  <a:pt x="3422" y="314"/>
                </a:lnTo>
                <a:lnTo>
                  <a:pt x="3379" y="398"/>
                </a:lnTo>
                <a:lnTo>
                  <a:pt x="3361" y="410"/>
                </a:lnTo>
                <a:lnTo>
                  <a:pt x="3357" y="356"/>
                </a:lnTo>
                <a:lnTo>
                  <a:pt x="3367" y="336"/>
                </a:lnTo>
                <a:lnTo>
                  <a:pt x="3379" y="328"/>
                </a:lnTo>
                <a:lnTo>
                  <a:pt x="3380" y="273"/>
                </a:lnTo>
                <a:lnTo>
                  <a:pt x="3376" y="257"/>
                </a:lnTo>
                <a:lnTo>
                  <a:pt x="3444" y="114"/>
                </a:lnTo>
                <a:lnTo>
                  <a:pt x="3422" y="103"/>
                </a:lnTo>
                <a:lnTo>
                  <a:pt x="3391" y="131"/>
                </a:lnTo>
                <a:lnTo>
                  <a:pt x="3371" y="138"/>
                </a:lnTo>
                <a:lnTo>
                  <a:pt x="3366" y="111"/>
                </a:lnTo>
                <a:lnTo>
                  <a:pt x="3351" y="102"/>
                </a:lnTo>
                <a:lnTo>
                  <a:pt x="3342" y="90"/>
                </a:lnTo>
                <a:lnTo>
                  <a:pt x="3337" y="74"/>
                </a:lnTo>
                <a:lnTo>
                  <a:pt x="3318" y="102"/>
                </a:lnTo>
                <a:lnTo>
                  <a:pt x="3311" y="89"/>
                </a:lnTo>
                <a:lnTo>
                  <a:pt x="3295" y="90"/>
                </a:lnTo>
                <a:lnTo>
                  <a:pt x="3295" y="144"/>
                </a:lnTo>
                <a:lnTo>
                  <a:pt x="3263" y="135"/>
                </a:lnTo>
                <a:lnTo>
                  <a:pt x="3279" y="164"/>
                </a:lnTo>
                <a:lnTo>
                  <a:pt x="3297" y="180"/>
                </a:lnTo>
                <a:lnTo>
                  <a:pt x="3302" y="191"/>
                </a:lnTo>
                <a:lnTo>
                  <a:pt x="3271" y="209"/>
                </a:lnTo>
                <a:lnTo>
                  <a:pt x="3257" y="235"/>
                </a:lnTo>
                <a:lnTo>
                  <a:pt x="3267" y="264"/>
                </a:lnTo>
                <a:lnTo>
                  <a:pt x="3212" y="267"/>
                </a:lnTo>
                <a:lnTo>
                  <a:pt x="3184" y="300"/>
                </a:lnTo>
                <a:lnTo>
                  <a:pt x="3174" y="325"/>
                </a:lnTo>
                <a:lnTo>
                  <a:pt x="3148" y="360"/>
                </a:lnTo>
                <a:lnTo>
                  <a:pt x="3146" y="374"/>
                </a:lnTo>
                <a:lnTo>
                  <a:pt x="3152" y="392"/>
                </a:lnTo>
                <a:lnTo>
                  <a:pt x="3147" y="449"/>
                </a:lnTo>
                <a:lnTo>
                  <a:pt x="3129" y="453"/>
                </a:lnTo>
                <a:lnTo>
                  <a:pt x="3116" y="440"/>
                </a:lnTo>
                <a:lnTo>
                  <a:pt x="3115" y="419"/>
                </a:lnTo>
                <a:lnTo>
                  <a:pt x="3127" y="410"/>
                </a:lnTo>
                <a:lnTo>
                  <a:pt x="3096" y="403"/>
                </a:lnTo>
                <a:lnTo>
                  <a:pt x="3109" y="379"/>
                </a:lnTo>
                <a:lnTo>
                  <a:pt x="3106" y="374"/>
                </a:lnTo>
                <a:lnTo>
                  <a:pt x="3037" y="367"/>
                </a:lnTo>
                <a:lnTo>
                  <a:pt x="3044" y="396"/>
                </a:lnTo>
                <a:lnTo>
                  <a:pt x="3034" y="401"/>
                </a:lnTo>
                <a:lnTo>
                  <a:pt x="3016" y="394"/>
                </a:lnTo>
                <a:lnTo>
                  <a:pt x="3015" y="378"/>
                </a:lnTo>
                <a:lnTo>
                  <a:pt x="3007" y="356"/>
                </a:lnTo>
                <a:lnTo>
                  <a:pt x="2999" y="363"/>
                </a:lnTo>
                <a:lnTo>
                  <a:pt x="2994" y="341"/>
                </a:lnTo>
                <a:lnTo>
                  <a:pt x="2980" y="353"/>
                </a:lnTo>
                <a:lnTo>
                  <a:pt x="2974" y="341"/>
                </a:lnTo>
                <a:lnTo>
                  <a:pt x="2962" y="354"/>
                </a:lnTo>
                <a:lnTo>
                  <a:pt x="2962" y="392"/>
                </a:lnTo>
                <a:lnTo>
                  <a:pt x="2938" y="348"/>
                </a:lnTo>
                <a:lnTo>
                  <a:pt x="2929" y="340"/>
                </a:lnTo>
                <a:lnTo>
                  <a:pt x="2931" y="397"/>
                </a:lnTo>
                <a:lnTo>
                  <a:pt x="2971" y="419"/>
                </a:lnTo>
                <a:lnTo>
                  <a:pt x="2986" y="419"/>
                </a:lnTo>
                <a:lnTo>
                  <a:pt x="2983" y="492"/>
                </a:lnTo>
                <a:lnTo>
                  <a:pt x="2993" y="517"/>
                </a:lnTo>
                <a:lnTo>
                  <a:pt x="2994" y="551"/>
                </a:lnTo>
                <a:lnTo>
                  <a:pt x="2895" y="439"/>
                </a:lnTo>
                <a:lnTo>
                  <a:pt x="2905" y="484"/>
                </a:lnTo>
                <a:lnTo>
                  <a:pt x="2892" y="482"/>
                </a:lnTo>
                <a:lnTo>
                  <a:pt x="2886" y="507"/>
                </a:lnTo>
                <a:lnTo>
                  <a:pt x="2874" y="506"/>
                </a:lnTo>
                <a:lnTo>
                  <a:pt x="2866" y="522"/>
                </a:lnTo>
                <a:lnTo>
                  <a:pt x="2856" y="514"/>
                </a:lnTo>
                <a:lnTo>
                  <a:pt x="2854" y="500"/>
                </a:lnTo>
                <a:lnTo>
                  <a:pt x="2863" y="474"/>
                </a:lnTo>
                <a:lnTo>
                  <a:pt x="2845" y="485"/>
                </a:lnTo>
                <a:lnTo>
                  <a:pt x="2829" y="507"/>
                </a:lnTo>
                <a:lnTo>
                  <a:pt x="2821" y="536"/>
                </a:lnTo>
                <a:lnTo>
                  <a:pt x="2808" y="541"/>
                </a:lnTo>
                <a:lnTo>
                  <a:pt x="2818" y="591"/>
                </a:lnTo>
                <a:lnTo>
                  <a:pt x="2780" y="624"/>
                </a:lnTo>
                <a:lnTo>
                  <a:pt x="2764" y="671"/>
                </a:lnTo>
                <a:lnTo>
                  <a:pt x="2746" y="692"/>
                </a:lnTo>
                <a:lnTo>
                  <a:pt x="2771" y="644"/>
                </a:lnTo>
                <a:lnTo>
                  <a:pt x="2773" y="475"/>
                </a:lnTo>
                <a:lnTo>
                  <a:pt x="2748" y="485"/>
                </a:lnTo>
                <a:lnTo>
                  <a:pt x="2712" y="548"/>
                </a:lnTo>
                <a:lnTo>
                  <a:pt x="2691" y="649"/>
                </a:lnTo>
                <a:lnTo>
                  <a:pt x="2689" y="527"/>
                </a:lnTo>
                <a:lnTo>
                  <a:pt x="2629" y="536"/>
                </a:lnTo>
                <a:lnTo>
                  <a:pt x="2608" y="576"/>
                </a:lnTo>
                <a:lnTo>
                  <a:pt x="2610" y="636"/>
                </a:lnTo>
                <a:lnTo>
                  <a:pt x="2632" y="668"/>
                </a:lnTo>
                <a:lnTo>
                  <a:pt x="2653" y="676"/>
                </a:lnTo>
                <a:lnTo>
                  <a:pt x="2670" y="707"/>
                </a:lnTo>
                <a:lnTo>
                  <a:pt x="2666" y="732"/>
                </a:lnTo>
                <a:lnTo>
                  <a:pt x="2647" y="729"/>
                </a:lnTo>
                <a:lnTo>
                  <a:pt x="2631" y="691"/>
                </a:lnTo>
                <a:lnTo>
                  <a:pt x="2606" y="674"/>
                </a:lnTo>
                <a:lnTo>
                  <a:pt x="2566" y="616"/>
                </a:lnTo>
                <a:lnTo>
                  <a:pt x="2539" y="620"/>
                </a:lnTo>
                <a:lnTo>
                  <a:pt x="2554" y="660"/>
                </a:lnTo>
                <a:lnTo>
                  <a:pt x="2584" y="690"/>
                </a:lnTo>
                <a:lnTo>
                  <a:pt x="2561" y="711"/>
                </a:lnTo>
                <a:lnTo>
                  <a:pt x="2542" y="695"/>
                </a:lnTo>
                <a:lnTo>
                  <a:pt x="2531" y="709"/>
                </a:lnTo>
                <a:lnTo>
                  <a:pt x="2527" y="678"/>
                </a:lnTo>
                <a:lnTo>
                  <a:pt x="2508" y="691"/>
                </a:lnTo>
                <a:lnTo>
                  <a:pt x="2507" y="679"/>
                </a:lnTo>
                <a:lnTo>
                  <a:pt x="2514" y="647"/>
                </a:lnTo>
                <a:lnTo>
                  <a:pt x="2502" y="634"/>
                </a:lnTo>
                <a:lnTo>
                  <a:pt x="2477" y="702"/>
                </a:lnTo>
                <a:lnTo>
                  <a:pt x="2479" y="722"/>
                </a:lnTo>
                <a:lnTo>
                  <a:pt x="2491" y="740"/>
                </a:lnTo>
                <a:lnTo>
                  <a:pt x="2417" y="781"/>
                </a:lnTo>
                <a:lnTo>
                  <a:pt x="2405" y="825"/>
                </a:lnTo>
                <a:lnTo>
                  <a:pt x="2412" y="842"/>
                </a:lnTo>
                <a:lnTo>
                  <a:pt x="2433" y="835"/>
                </a:lnTo>
                <a:lnTo>
                  <a:pt x="2447" y="856"/>
                </a:lnTo>
                <a:lnTo>
                  <a:pt x="2419" y="854"/>
                </a:lnTo>
                <a:lnTo>
                  <a:pt x="2427" y="897"/>
                </a:lnTo>
                <a:lnTo>
                  <a:pt x="2396" y="884"/>
                </a:lnTo>
                <a:lnTo>
                  <a:pt x="2383" y="888"/>
                </a:lnTo>
                <a:lnTo>
                  <a:pt x="2400" y="908"/>
                </a:lnTo>
                <a:lnTo>
                  <a:pt x="2387" y="921"/>
                </a:lnTo>
                <a:lnTo>
                  <a:pt x="2361" y="910"/>
                </a:lnTo>
                <a:lnTo>
                  <a:pt x="2353" y="925"/>
                </a:lnTo>
                <a:lnTo>
                  <a:pt x="2335" y="919"/>
                </a:lnTo>
                <a:lnTo>
                  <a:pt x="2296" y="933"/>
                </a:lnTo>
                <a:lnTo>
                  <a:pt x="2283" y="954"/>
                </a:lnTo>
                <a:lnTo>
                  <a:pt x="2267" y="963"/>
                </a:lnTo>
                <a:lnTo>
                  <a:pt x="2264" y="971"/>
                </a:lnTo>
                <a:lnTo>
                  <a:pt x="2288" y="991"/>
                </a:lnTo>
                <a:lnTo>
                  <a:pt x="2313" y="983"/>
                </a:lnTo>
                <a:lnTo>
                  <a:pt x="2327" y="969"/>
                </a:lnTo>
                <a:lnTo>
                  <a:pt x="2365" y="996"/>
                </a:lnTo>
                <a:lnTo>
                  <a:pt x="2394" y="975"/>
                </a:lnTo>
                <a:lnTo>
                  <a:pt x="2402" y="984"/>
                </a:lnTo>
                <a:lnTo>
                  <a:pt x="2409" y="1005"/>
                </a:lnTo>
                <a:lnTo>
                  <a:pt x="2383" y="1004"/>
                </a:lnTo>
                <a:lnTo>
                  <a:pt x="2370" y="1021"/>
                </a:lnTo>
                <a:lnTo>
                  <a:pt x="2365" y="1054"/>
                </a:lnTo>
                <a:lnTo>
                  <a:pt x="2328" y="1032"/>
                </a:lnTo>
                <a:lnTo>
                  <a:pt x="2301" y="1030"/>
                </a:lnTo>
                <a:lnTo>
                  <a:pt x="2296" y="1017"/>
                </a:lnTo>
                <a:lnTo>
                  <a:pt x="2266" y="1007"/>
                </a:lnTo>
                <a:lnTo>
                  <a:pt x="2232" y="1027"/>
                </a:lnTo>
                <a:lnTo>
                  <a:pt x="2220" y="1046"/>
                </a:lnTo>
                <a:lnTo>
                  <a:pt x="2241" y="1086"/>
                </a:lnTo>
                <a:lnTo>
                  <a:pt x="2243" y="1105"/>
                </a:lnTo>
                <a:lnTo>
                  <a:pt x="2227" y="1103"/>
                </a:lnTo>
                <a:lnTo>
                  <a:pt x="2237" y="1139"/>
                </a:lnTo>
                <a:lnTo>
                  <a:pt x="2237" y="1166"/>
                </a:lnTo>
                <a:lnTo>
                  <a:pt x="2218" y="1159"/>
                </a:lnTo>
                <a:lnTo>
                  <a:pt x="2217" y="1185"/>
                </a:lnTo>
                <a:lnTo>
                  <a:pt x="2198" y="1188"/>
                </a:lnTo>
                <a:lnTo>
                  <a:pt x="2188" y="1094"/>
                </a:lnTo>
                <a:lnTo>
                  <a:pt x="2170" y="1097"/>
                </a:lnTo>
                <a:lnTo>
                  <a:pt x="2158" y="1130"/>
                </a:lnTo>
                <a:lnTo>
                  <a:pt x="2140" y="1122"/>
                </a:lnTo>
                <a:lnTo>
                  <a:pt x="2133" y="1133"/>
                </a:lnTo>
                <a:lnTo>
                  <a:pt x="2157" y="1145"/>
                </a:lnTo>
                <a:lnTo>
                  <a:pt x="2151" y="1154"/>
                </a:lnTo>
                <a:lnTo>
                  <a:pt x="2130" y="1157"/>
                </a:lnTo>
                <a:lnTo>
                  <a:pt x="2112" y="1169"/>
                </a:lnTo>
                <a:lnTo>
                  <a:pt x="2102" y="1190"/>
                </a:lnTo>
                <a:lnTo>
                  <a:pt x="2104" y="1216"/>
                </a:lnTo>
                <a:lnTo>
                  <a:pt x="2124" y="1234"/>
                </a:lnTo>
                <a:lnTo>
                  <a:pt x="2105" y="1242"/>
                </a:lnTo>
                <a:lnTo>
                  <a:pt x="2117" y="1256"/>
                </a:lnTo>
                <a:lnTo>
                  <a:pt x="2102" y="1263"/>
                </a:lnTo>
                <a:lnTo>
                  <a:pt x="2088" y="1292"/>
                </a:lnTo>
                <a:lnTo>
                  <a:pt x="2077" y="1298"/>
                </a:lnTo>
                <a:lnTo>
                  <a:pt x="2064" y="1296"/>
                </a:lnTo>
                <a:lnTo>
                  <a:pt x="2066" y="1305"/>
                </a:lnTo>
                <a:lnTo>
                  <a:pt x="2090" y="1316"/>
                </a:lnTo>
                <a:lnTo>
                  <a:pt x="2141" y="1302"/>
                </a:lnTo>
                <a:lnTo>
                  <a:pt x="2087" y="1348"/>
                </a:lnTo>
                <a:lnTo>
                  <a:pt x="2040" y="1333"/>
                </a:lnTo>
                <a:lnTo>
                  <a:pt x="2031" y="1322"/>
                </a:lnTo>
                <a:lnTo>
                  <a:pt x="2028" y="1303"/>
                </a:lnTo>
                <a:lnTo>
                  <a:pt x="2008" y="1305"/>
                </a:lnTo>
                <a:lnTo>
                  <a:pt x="1978" y="1328"/>
                </a:lnTo>
                <a:lnTo>
                  <a:pt x="1961" y="1369"/>
                </a:lnTo>
                <a:lnTo>
                  <a:pt x="1934" y="1387"/>
                </a:lnTo>
                <a:lnTo>
                  <a:pt x="1931" y="1411"/>
                </a:lnTo>
                <a:lnTo>
                  <a:pt x="1948" y="1412"/>
                </a:lnTo>
                <a:lnTo>
                  <a:pt x="1938" y="1445"/>
                </a:lnTo>
                <a:lnTo>
                  <a:pt x="1916" y="1451"/>
                </a:lnTo>
                <a:lnTo>
                  <a:pt x="1901" y="1499"/>
                </a:lnTo>
                <a:lnTo>
                  <a:pt x="1882" y="1493"/>
                </a:lnTo>
                <a:lnTo>
                  <a:pt x="1864" y="1501"/>
                </a:lnTo>
                <a:lnTo>
                  <a:pt x="1847" y="1501"/>
                </a:lnTo>
                <a:lnTo>
                  <a:pt x="1822" y="1529"/>
                </a:lnTo>
                <a:lnTo>
                  <a:pt x="1836" y="1556"/>
                </a:lnTo>
                <a:lnTo>
                  <a:pt x="1825" y="1567"/>
                </a:lnTo>
                <a:lnTo>
                  <a:pt x="1795" y="1568"/>
                </a:lnTo>
                <a:lnTo>
                  <a:pt x="1793" y="1594"/>
                </a:lnTo>
                <a:lnTo>
                  <a:pt x="1762" y="1596"/>
                </a:lnTo>
                <a:lnTo>
                  <a:pt x="1768" y="1611"/>
                </a:lnTo>
                <a:lnTo>
                  <a:pt x="1754" y="1620"/>
                </a:lnTo>
                <a:lnTo>
                  <a:pt x="1747" y="1642"/>
                </a:lnTo>
                <a:lnTo>
                  <a:pt x="1780" y="1653"/>
                </a:lnTo>
                <a:lnTo>
                  <a:pt x="1771" y="1667"/>
                </a:lnTo>
                <a:lnTo>
                  <a:pt x="1747" y="1678"/>
                </a:lnTo>
                <a:lnTo>
                  <a:pt x="1732" y="1665"/>
                </a:lnTo>
                <a:lnTo>
                  <a:pt x="1730" y="1670"/>
                </a:lnTo>
                <a:lnTo>
                  <a:pt x="1729" y="1709"/>
                </a:lnTo>
                <a:lnTo>
                  <a:pt x="1743" y="1732"/>
                </a:lnTo>
                <a:lnTo>
                  <a:pt x="1758" y="1713"/>
                </a:lnTo>
                <a:lnTo>
                  <a:pt x="1769" y="1727"/>
                </a:lnTo>
                <a:lnTo>
                  <a:pt x="1759" y="1750"/>
                </a:lnTo>
                <a:lnTo>
                  <a:pt x="1704" y="1754"/>
                </a:lnTo>
                <a:lnTo>
                  <a:pt x="1690" y="1763"/>
                </a:lnTo>
                <a:lnTo>
                  <a:pt x="1682" y="1803"/>
                </a:lnTo>
                <a:lnTo>
                  <a:pt x="1658" y="1818"/>
                </a:lnTo>
                <a:lnTo>
                  <a:pt x="1634" y="1823"/>
                </a:lnTo>
                <a:lnTo>
                  <a:pt x="1615" y="1859"/>
                </a:lnTo>
                <a:lnTo>
                  <a:pt x="1639" y="1858"/>
                </a:lnTo>
                <a:lnTo>
                  <a:pt x="1662" y="1838"/>
                </a:lnTo>
                <a:lnTo>
                  <a:pt x="1693" y="1828"/>
                </a:lnTo>
                <a:lnTo>
                  <a:pt x="1691" y="1853"/>
                </a:lnTo>
                <a:lnTo>
                  <a:pt x="1705" y="1890"/>
                </a:lnTo>
                <a:lnTo>
                  <a:pt x="1653" y="1865"/>
                </a:lnTo>
                <a:lnTo>
                  <a:pt x="1646" y="1890"/>
                </a:lnTo>
                <a:lnTo>
                  <a:pt x="1656" y="1901"/>
                </a:lnTo>
                <a:lnTo>
                  <a:pt x="1638" y="1913"/>
                </a:lnTo>
                <a:lnTo>
                  <a:pt x="1629" y="1929"/>
                </a:lnTo>
                <a:lnTo>
                  <a:pt x="1632" y="1955"/>
                </a:lnTo>
                <a:lnTo>
                  <a:pt x="1622" y="1959"/>
                </a:lnTo>
                <a:lnTo>
                  <a:pt x="1607" y="1948"/>
                </a:lnTo>
                <a:lnTo>
                  <a:pt x="1593" y="1963"/>
                </a:lnTo>
                <a:lnTo>
                  <a:pt x="1598" y="1992"/>
                </a:lnTo>
                <a:lnTo>
                  <a:pt x="1613" y="2007"/>
                </a:lnTo>
                <a:lnTo>
                  <a:pt x="1614" y="2061"/>
                </a:lnTo>
                <a:lnTo>
                  <a:pt x="1596" y="2036"/>
                </a:lnTo>
                <a:lnTo>
                  <a:pt x="1577" y="2027"/>
                </a:lnTo>
                <a:lnTo>
                  <a:pt x="1564" y="1990"/>
                </a:lnTo>
                <a:lnTo>
                  <a:pt x="1562" y="2037"/>
                </a:lnTo>
                <a:lnTo>
                  <a:pt x="1550" y="2051"/>
                </a:lnTo>
                <a:lnTo>
                  <a:pt x="1531" y="2056"/>
                </a:lnTo>
                <a:lnTo>
                  <a:pt x="1519" y="2082"/>
                </a:lnTo>
                <a:lnTo>
                  <a:pt x="1531" y="2092"/>
                </a:lnTo>
                <a:lnTo>
                  <a:pt x="1549" y="2085"/>
                </a:lnTo>
                <a:lnTo>
                  <a:pt x="1564" y="2063"/>
                </a:lnTo>
                <a:lnTo>
                  <a:pt x="1568" y="2075"/>
                </a:lnTo>
                <a:lnTo>
                  <a:pt x="1563" y="2087"/>
                </a:lnTo>
                <a:lnTo>
                  <a:pt x="1563" y="2127"/>
                </a:lnTo>
                <a:lnTo>
                  <a:pt x="1543" y="2143"/>
                </a:lnTo>
                <a:lnTo>
                  <a:pt x="1514" y="2125"/>
                </a:lnTo>
                <a:lnTo>
                  <a:pt x="1496" y="2145"/>
                </a:lnTo>
                <a:lnTo>
                  <a:pt x="1479" y="2133"/>
                </a:lnTo>
                <a:lnTo>
                  <a:pt x="1454" y="2159"/>
                </a:lnTo>
                <a:lnTo>
                  <a:pt x="1448" y="2184"/>
                </a:lnTo>
                <a:lnTo>
                  <a:pt x="1426" y="2199"/>
                </a:lnTo>
                <a:lnTo>
                  <a:pt x="1401" y="2204"/>
                </a:lnTo>
                <a:lnTo>
                  <a:pt x="1381" y="2259"/>
                </a:lnTo>
                <a:lnTo>
                  <a:pt x="1410" y="2255"/>
                </a:lnTo>
                <a:lnTo>
                  <a:pt x="1437" y="2240"/>
                </a:lnTo>
                <a:lnTo>
                  <a:pt x="1446" y="2252"/>
                </a:lnTo>
                <a:lnTo>
                  <a:pt x="1397" y="2267"/>
                </a:lnTo>
                <a:lnTo>
                  <a:pt x="1392" y="2296"/>
                </a:lnTo>
                <a:lnTo>
                  <a:pt x="1397" y="2327"/>
                </a:lnTo>
                <a:lnTo>
                  <a:pt x="1382" y="2346"/>
                </a:lnTo>
                <a:lnTo>
                  <a:pt x="1349" y="2352"/>
                </a:lnTo>
                <a:lnTo>
                  <a:pt x="1316" y="2314"/>
                </a:lnTo>
                <a:lnTo>
                  <a:pt x="1307" y="2313"/>
                </a:lnTo>
                <a:lnTo>
                  <a:pt x="1276" y="2352"/>
                </a:lnTo>
                <a:lnTo>
                  <a:pt x="1244" y="2368"/>
                </a:lnTo>
                <a:lnTo>
                  <a:pt x="1237" y="2385"/>
                </a:lnTo>
                <a:lnTo>
                  <a:pt x="1145" y="2481"/>
                </a:lnTo>
                <a:lnTo>
                  <a:pt x="1151" y="2512"/>
                </a:lnTo>
                <a:lnTo>
                  <a:pt x="1150" y="2522"/>
                </a:lnTo>
                <a:lnTo>
                  <a:pt x="1079" y="2548"/>
                </a:lnTo>
                <a:lnTo>
                  <a:pt x="1072" y="2578"/>
                </a:lnTo>
                <a:lnTo>
                  <a:pt x="1086" y="2594"/>
                </a:lnTo>
                <a:lnTo>
                  <a:pt x="1122" y="2584"/>
                </a:lnTo>
                <a:lnTo>
                  <a:pt x="1101" y="2626"/>
                </a:lnTo>
                <a:lnTo>
                  <a:pt x="1116" y="2664"/>
                </a:lnTo>
                <a:lnTo>
                  <a:pt x="1133" y="2676"/>
                </a:lnTo>
                <a:lnTo>
                  <a:pt x="1320" y="2593"/>
                </a:lnTo>
                <a:lnTo>
                  <a:pt x="1339" y="2574"/>
                </a:lnTo>
                <a:lnTo>
                  <a:pt x="1350" y="2585"/>
                </a:lnTo>
                <a:lnTo>
                  <a:pt x="1337" y="2601"/>
                </a:lnTo>
                <a:lnTo>
                  <a:pt x="1295" y="2618"/>
                </a:lnTo>
                <a:lnTo>
                  <a:pt x="1274" y="2617"/>
                </a:lnTo>
                <a:lnTo>
                  <a:pt x="1211" y="2655"/>
                </a:lnTo>
                <a:lnTo>
                  <a:pt x="1223" y="2679"/>
                </a:lnTo>
                <a:lnTo>
                  <a:pt x="1221" y="2689"/>
                </a:lnTo>
                <a:lnTo>
                  <a:pt x="1166" y="2701"/>
                </a:lnTo>
                <a:lnTo>
                  <a:pt x="1136" y="2697"/>
                </a:lnTo>
                <a:lnTo>
                  <a:pt x="1125" y="2707"/>
                </a:lnTo>
                <a:lnTo>
                  <a:pt x="1130" y="2727"/>
                </a:lnTo>
                <a:lnTo>
                  <a:pt x="1116" y="2731"/>
                </a:lnTo>
                <a:lnTo>
                  <a:pt x="1090" y="2721"/>
                </a:lnTo>
                <a:lnTo>
                  <a:pt x="1094" y="2694"/>
                </a:lnTo>
                <a:lnTo>
                  <a:pt x="1066" y="2630"/>
                </a:lnTo>
                <a:lnTo>
                  <a:pt x="1050" y="2629"/>
                </a:lnTo>
                <a:lnTo>
                  <a:pt x="1039" y="2643"/>
                </a:lnTo>
                <a:lnTo>
                  <a:pt x="1017" y="2643"/>
                </a:lnTo>
                <a:lnTo>
                  <a:pt x="994" y="2659"/>
                </a:lnTo>
                <a:lnTo>
                  <a:pt x="989" y="2679"/>
                </a:lnTo>
                <a:lnTo>
                  <a:pt x="1003" y="2697"/>
                </a:lnTo>
                <a:lnTo>
                  <a:pt x="1006" y="2711"/>
                </a:lnTo>
                <a:lnTo>
                  <a:pt x="969" y="2725"/>
                </a:lnTo>
                <a:lnTo>
                  <a:pt x="959" y="2703"/>
                </a:lnTo>
                <a:lnTo>
                  <a:pt x="963" y="2679"/>
                </a:lnTo>
                <a:lnTo>
                  <a:pt x="960" y="2661"/>
                </a:lnTo>
                <a:lnTo>
                  <a:pt x="875" y="2681"/>
                </a:lnTo>
                <a:lnTo>
                  <a:pt x="843" y="2724"/>
                </a:lnTo>
                <a:lnTo>
                  <a:pt x="824" y="2718"/>
                </a:lnTo>
                <a:lnTo>
                  <a:pt x="826" y="2741"/>
                </a:lnTo>
                <a:lnTo>
                  <a:pt x="819" y="2750"/>
                </a:lnTo>
                <a:lnTo>
                  <a:pt x="791" y="2748"/>
                </a:lnTo>
                <a:lnTo>
                  <a:pt x="795" y="2736"/>
                </a:lnTo>
                <a:lnTo>
                  <a:pt x="792" y="2722"/>
                </a:lnTo>
                <a:lnTo>
                  <a:pt x="779" y="2724"/>
                </a:lnTo>
                <a:lnTo>
                  <a:pt x="770" y="2735"/>
                </a:lnTo>
                <a:lnTo>
                  <a:pt x="769" y="2749"/>
                </a:lnTo>
                <a:lnTo>
                  <a:pt x="763" y="2755"/>
                </a:lnTo>
                <a:lnTo>
                  <a:pt x="737" y="2751"/>
                </a:lnTo>
                <a:lnTo>
                  <a:pt x="690" y="2763"/>
                </a:lnTo>
                <a:lnTo>
                  <a:pt x="656" y="2833"/>
                </a:lnTo>
                <a:lnTo>
                  <a:pt x="635" y="2814"/>
                </a:lnTo>
                <a:lnTo>
                  <a:pt x="607" y="2806"/>
                </a:lnTo>
                <a:lnTo>
                  <a:pt x="576" y="2823"/>
                </a:lnTo>
                <a:lnTo>
                  <a:pt x="566" y="2842"/>
                </a:lnTo>
                <a:lnTo>
                  <a:pt x="592" y="2866"/>
                </a:lnTo>
                <a:lnTo>
                  <a:pt x="572" y="2881"/>
                </a:lnTo>
                <a:lnTo>
                  <a:pt x="599" y="2894"/>
                </a:lnTo>
                <a:lnTo>
                  <a:pt x="634" y="2890"/>
                </a:lnTo>
                <a:lnTo>
                  <a:pt x="643" y="2911"/>
                </a:lnTo>
                <a:lnTo>
                  <a:pt x="658" y="2923"/>
                </a:lnTo>
                <a:lnTo>
                  <a:pt x="633" y="2943"/>
                </a:lnTo>
                <a:lnTo>
                  <a:pt x="639" y="2965"/>
                </a:lnTo>
                <a:lnTo>
                  <a:pt x="616" y="2948"/>
                </a:lnTo>
                <a:lnTo>
                  <a:pt x="501" y="2918"/>
                </a:lnTo>
                <a:lnTo>
                  <a:pt x="484" y="2928"/>
                </a:lnTo>
                <a:lnTo>
                  <a:pt x="465" y="2920"/>
                </a:lnTo>
                <a:lnTo>
                  <a:pt x="444" y="2932"/>
                </a:lnTo>
                <a:lnTo>
                  <a:pt x="446" y="2940"/>
                </a:lnTo>
                <a:lnTo>
                  <a:pt x="463" y="2951"/>
                </a:lnTo>
                <a:lnTo>
                  <a:pt x="443" y="2955"/>
                </a:lnTo>
                <a:lnTo>
                  <a:pt x="441" y="2972"/>
                </a:lnTo>
                <a:lnTo>
                  <a:pt x="464" y="2974"/>
                </a:lnTo>
                <a:lnTo>
                  <a:pt x="482" y="2967"/>
                </a:lnTo>
                <a:lnTo>
                  <a:pt x="453" y="2994"/>
                </a:lnTo>
                <a:lnTo>
                  <a:pt x="453" y="3067"/>
                </a:lnTo>
                <a:lnTo>
                  <a:pt x="443" y="3068"/>
                </a:lnTo>
                <a:lnTo>
                  <a:pt x="437" y="3024"/>
                </a:lnTo>
                <a:lnTo>
                  <a:pt x="427" y="3004"/>
                </a:lnTo>
                <a:lnTo>
                  <a:pt x="396" y="3015"/>
                </a:lnTo>
                <a:lnTo>
                  <a:pt x="356" y="3063"/>
                </a:lnTo>
                <a:lnTo>
                  <a:pt x="370" y="3082"/>
                </a:lnTo>
                <a:lnTo>
                  <a:pt x="369" y="3104"/>
                </a:lnTo>
                <a:lnTo>
                  <a:pt x="345" y="3080"/>
                </a:lnTo>
                <a:lnTo>
                  <a:pt x="339" y="3054"/>
                </a:lnTo>
                <a:lnTo>
                  <a:pt x="313" y="3058"/>
                </a:lnTo>
                <a:lnTo>
                  <a:pt x="273" y="3047"/>
                </a:lnTo>
                <a:lnTo>
                  <a:pt x="267" y="3066"/>
                </a:lnTo>
                <a:lnTo>
                  <a:pt x="267" y="3083"/>
                </a:lnTo>
                <a:lnTo>
                  <a:pt x="228" y="3034"/>
                </a:lnTo>
                <a:lnTo>
                  <a:pt x="213" y="3043"/>
                </a:lnTo>
                <a:lnTo>
                  <a:pt x="222" y="3094"/>
                </a:lnTo>
                <a:lnTo>
                  <a:pt x="206" y="3107"/>
                </a:lnTo>
                <a:lnTo>
                  <a:pt x="209" y="3116"/>
                </a:lnTo>
                <a:lnTo>
                  <a:pt x="378" y="3130"/>
                </a:lnTo>
                <a:lnTo>
                  <a:pt x="323" y="3146"/>
                </a:lnTo>
                <a:lnTo>
                  <a:pt x="331" y="3159"/>
                </a:lnTo>
                <a:lnTo>
                  <a:pt x="397" y="3160"/>
                </a:lnTo>
                <a:lnTo>
                  <a:pt x="402" y="3167"/>
                </a:lnTo>
                <a:lnTo>
                  <a:pt x="368" y="3181"/>
                </a:lnTo>
                <a:lnTo>
                  <a:pt x="272" y="3167"/>
                </a:lnTo>
                <a:lnTo>
                  <a:pt x="256" y="3150"/>
                </a:lnTo>
                <a:lnTo>
                  <a:pt x="238" y="3146"/>
                </a:lnTo>
                <a:lnTo>
                  <a:pt x="197" y="3167"/>
                </a:lnTo>
                <a:lnTo>
                  <a:pt x="190" y="3183"/>
                </a:lnTo>
                <a:lnTo>
                  <a:pt x="169" y="3177"/>
                </a:lnTo>
                <a:lnTo>
                  <a:pt x="159" y="3180"/>
                </a:lnTo>
                <a:lnTo>
                  <a:pt x="151" y="3203"/>
                </a:lnTo>
                <a:lnTo>
                  <a:pt x="195" y="3227"/>
                </a:lnTo>
                <a:lnTo>
                  <a:pt x="186" y="3246"/>
                </a:lnTo>
                <a:lnTo>
                  <a:pt x="184" y="3268"/>
                </a:lnTo>
                <a:lnTo>
                  <a:pt x="136" y="3302"/>
                </a:lnTo>
                <a:lnTo>
                  <a:pt x="139" y="3323"/>
                </a:lnTo>
                <a:lnTo>
                  <a:pt x="129" y="3335"/>
                </a:lnTo>
                <a:lnTo>
                  <a:pt x="122" y="3357"/>
                </a:lnTo>
                <a:lnTo>
                  <a:pt x="133" y="3371"/>
                </a:lnTo>
                <a:lnTo>
                  <a:pt x="127" y="3394"/>
                </a:lnTo>
                <a:lnTo>
                  <a:pt x="175" y="3413"/>
                </a:lnTo>
                <a:lnTo>
                  <a:pt x="279" y="3395"/>
                </a:lnTo>
                <a:lnTo>
                  <a:pt x="297" y="3414"/>
                </a:lnTo>
                <a:lnTo>
                  <a:pt x="333" y="3422"/>
                </a:lnTo>
                <a:lnTo>
                  <a:pt x="388" y="3344"/>
                </a:lnTo>
                <a:lnTo>
                  <a:pt x="387" y="3376"/>
                </a:lnTo>
                <a:lnTo>
                  <a:pt x="369" y="3416"/>
                </a:lnTo>
                <a:lnTo>
                  <a:pt x="385" y="3428"/>
                </a:lnTo>
                <a:lnTo>
                  <a:pt x="421" y="3435"/>
                </a:lnTo>
                <a:lnTo>
                  <a:pt x="444" y="3430"/>
                </a:lnTo>
                <a:lnTo>
                  <a:pt x="459" y="3444"/>
                </a:lnTo>
                <a:lnTo>
                  <a:pt x="501" y="3412"/>
                </a:lnTo>
                <a:lnTo>
                  <a:pt x="526" y="3343"/>
                </a:lnTo>
                <a:lnTo>
                  <a:pt x="569" y="3327"/>
                </a:lnTo>
                <a:lnTo>
                  <a:pt x="572" y="3342"/>
                </a:lnTo>
                <a:lnTo>
                  <a:pt x="535" y="3386"/>
                </a:lnTo>
                <a:lnTo>
                  <a:pt x="514" y="3435"/>
                </a:lnTo>
                <a:lnTo>
                  <a:pt x="534" y="3435"/>
                </a:lnTo>
                <a:lnTo>
                  <a:pt x="558" y="3425"/>
                </a:lnTo>
                <a:lnTo>
                  <a:pt x="573" y="3437"/>
                </a:lnTo>
                <a:lnTo>
                  <a:pt x="520" y="3466"/>
                </a:lnTo>
                <a:lnTo>
                  <a:pt x="462" y="3472"/>
                </a:lnTo>
                <a:lnTo>
                  <a:pt x="450" y="3502"/>
                </a:lnTo>
                <a:lnTo>
                  <a:pt x="467" y="3528"/>
                </a:lnTo>
                <a:lnTo>
                  <a:pt x="417" y="3548"/>
                </a:lnTo>
                <a:lnTo>
                  <a:pt x="424" y="3513"/>
                </a:lnTo>
                <a:lnTo>
                  <a:pt x="418" y="3488"/>
                </a:lnTo>
                <a:lnTo>
                  <a:pt x="393" y="3459"/>
                </a:lnTo>
                <a:lnTo>
                  <a:pt x="316" y="3456"/>
                </a:lnTo>
                <a:lnTo>
                  <a:pt x="283" y="3441"/>
                </a:lnTo>
                <a:lnTo>
                  <a:pt x="251" y="3442"/>
                </a:lnTo>
                <a:lnTo>
                  <a:pt x="221" y="3432"/>
                </a:lnTo>
                <a:lnTo>
                  <a:pt x="189" y="3451"/>
                </a:lnTo>
                <a:lnTo>
                  <a:pt x="133" y="3425"/>
                </a:lnTo>
                <a:lnTo>
                  <a:pt x="107" y="3459"/>
                </a:lnTo>
                <a:lnTo>
                  <a:pt x="96" y="3491"/>
                </a:lnTo>
                <a:lnTo>
                  <a:pt x="125" y="3501"/>
                </a:lnTo>
                <a:lnTo>
                  <a:pt x="138" y="3498"/>
                </a:lnTo>
                <a:lnTo>
                  <a:pt x="131" y="3544"/>
                </a:lnTo>
                <a:lnTo>
                  <a:pt x="106" y="3527"/>
                </a:lnTo>
                <a:lnTo>
                  <a:pt x="90" y="3505"/>
                </a:lnTo>
                <a:lnTo>
                  <a:pt x="85" y="3512"/>
                </a:lnTo>
                <a:lnTo>
                  <a:pt x="80" y="3511"/>
                </a:lnTo>
                <a:lnTo>
                  <a:pt x="77" y="3522"/>
                </a:lnTo>
                <a:lnTo>
                  <a:pt x="96" y="3587"/>
                </a:lnTo>
                <a:lnTo>
                  <a:pt x="115" y="3595"/>
                </a:lnTo>
                <a:lnTo>
                  <a:pt x="164" y="3575"/>
                </a:lnTo>
                <a:lnTo>
                  <a:pt x="192" y="3575"/>
                </a:lnTo>
                <a:lnTo>
                  <a:pt x="122" y="3630"/>
                </a:lnTo>
                <a:lnTo>
                  <a:pt x="131" y="3646"/>
                </a:lnTo>
                <a:lnTo>
                  <a:pt x="91" y="3657"/>
                </a:lnTo>
                <a:lnTo>
                  <a:pt x="72" y="3673"/>
                </a:lnTo>
                <a:lnTo>
                  <a:pt x="72" y="3700"/>
                </a:lnTo>
                <a:lnTo>
                  <a:pt x="84" y="3721"/>
                </a:lnTo>
                <a:lnTo>
                  <a:pt x="87" y="3743"/>
                </a:lnTo>
                <a:lnTo>
                  <a:pt x="136" y="3714"/>
                </a:lnTo>
                <a:lnTo>
                  <a:pt x="130" y="3743"/>
                </a:lnTo>
                <a:lnTo>
                  <a:pt x="148" y="3791"/>
                </a:lnTo>
                <a:lnTo>
                  <a:pt x="122" y="3790"/>
                </a:lnTo>
                <a:lnTo>
                  <a:pt x="90" y="3806"/>
                </a:lnTo>
                <a:lnTo>
                  <a:pt x="87" y="3821"/>
                </a:lnTo>
                <a:lnTo>
                  <a:pt x="99" y="3838"/>
                </a:lnTo>
                <a:lnTo>
                  <a:pt x="137" y="3823"/>
                </a:lnTo>
                <a:lnTo>
                  <a:pt x="165" y="3790"/>
                </a:lnTo>
                <a:lnTo>
                  <a:pt x="175" y="3752"/>
                </a:lnTo>
                <a:lnTo>
                  <a:pt x="206" y="3737"/>
                </a:lnTo>
                <a:lnTo>
                  <a:pt x="293" y="3647"/>
                </a:lnTo>
                <a:lnTo>
                  <a:pt x="330" y="3626"/>
                </a:lnTo>
                <a:lnTo>
                  <a:pt x="342" y="3644"/>
                </a:lnTo>
                <a:lnTo>
                  <a:pt x="340" y="3658"/>
                </a:lnTo>
                <a:lnTo>
                  <a:pt x="382" y="3655"/>
                </a:lnTo>
                <a:lnTo>
                  <a:pt x="411" y="3666"/>
                </a:lnTo>
                <a:lnTo>
                  <a:pt x="354" y="3682"/>
                </a:lnTo>
                <a:lnTo>
                  <a:pt x="330" y="3733"/>
                </a:lnTo>
                <a:lnTo>
                  <a:pt x="331" y="3696"/>
                </a:lnTo>
                <a:lnTo>
                  <a:pt x="317" y="3688"/>
                </a:lnTo>
                <a:lnTo>
                  <a:pt x="239" y="3758"/>
                </a:lnTo>
                <a:lnTo>
                  <a:pt x="256" y="3778"/>
                </a:lnTo>
                <a:lnTo>
                  <a:pt x="255" y="3788"/>
                </a:lnTo>
                <a:lnTo>
                  <a:pt x="216" y="3801"/>
                </a:lnTo>
                <a:lnTo>
                  <a:pt x="134" y="3870"/>
                </a:lnTo>
                <a:lnTo>
                  <a:pt x="154" y="3891"/>
                </a:lnTo>
                <a:lnTo>
                  <a:pt x="218" y="3902"/>
                </a:lnTo>
                <a:lnTo>
                  <a:pt x="239" y="3890"/>
                </a:lnTo>
                <a:lnTo>
                  <a:pt x="242" y="3902"/>
                </a:lnTo>
                <a:lnTo>
                  <a:pt x="171" y="3918"/>
                </a:lnTo>
                <a:lnTo>
                  <a:pt x="150" y="3934"/>
                </a:lnTo>
                <a:lnTo>
                  <a:pt x="142" y="3947"/>
                </a:lnTo>
                <a:lnTo>
                  <a:pt x="110" y="3938"/>
                </a:lnTo>
                <a:lnTo>
                  <a:pt x="92" y="3945"/>
                </a:lnTo>
                <a:lnTo>
                  <a:pt x="77" y="3932"/>
                </a:lnTo>
                <a:lnTo>
                  <a:pt x="16" y="3992"/>
                </a:lnTo>
                <a:lnTo>
                  <a:pt x="10" y="4019"/>
                </a:lnTo>
                <a:lnTo>
                  <a:pt x="20" y="4032"/>
                </a:lnTo>
                <a:lnTo>
                  <a:pt x="21" y="4047"/>
                </a:lnTo>
                <a:lnTo>
                  <a:pt x="52" y="4047"/>
                </a:lnTo>
                <a:lnTo>
                  <a:pt x="71" y="4019"/>
                </a:lnTo>
                <a:lnTo>
                  <a:pt x="72" y="4051"/>
                </a:lnTo>
                <a:lnTo>
                  <a:pt x="97" y="4053"/>
                </a:lnTo>
                <a:lnTo>
                  <a:pt x="107" y="4037"/>
                </a:lnTo>
                <a:lnTo>
                  <a:pt x="107" y="4017"/>
                </a:lnTo>
                <a:lnTo>
                  <a:pt x="129" y="4035"/>
                </a:lnTo>
                <a:lnTo>
                  <a:pt x="182" y="4019"/>
                </a:lnTo>
                <a:lnTo>
                  <a:pt x="204" y="4001"/>
                </a:lnTo>
                <a:lnTo>
                  <a:pt x="216" y="4015"/>
                </a:lnTo>
                <a:lnTo>
                  <a:pt x="158" y="4064"/>
                </a:lnTo>
                <a:lnTo>
                  <a:pt x="178" y="4066"/>
                </a:lnTo>
                <a:lnTo>
                  <a:pt x="171" y="4100"/>
                </a:lnTo>
                <a:lnTo>
                  <a:pt x="132" y="4147"/>
                </a:lnTo>
                <a:lnTo>
                  <a:pt x="107" y="4163"/>
                </a:lnTo>
                <a:lnTo>
                  <a:pt x="107" y="4188"/>
                </a:lnTo>
                <a:lnTo>
                  <a:pt x="102" y="4202"/>
                </a:lnTo>
                <a:lnTo>
                  <a:pt x="84" y="4196"/>
                </a:lnTo>
                <a:lnTo>
                  <a:pt x="66" y="4200"/>
                </a:lnTo>
                <a:lnTo>
                  <a:pt x="59" y="4173"/>
                </a:lnTo>
                <a:lnTo>
                  <a:pt x="48" y="4170"/>
                </a:lnTo>
                <a:lnTo>
                  <a:pt x="0" y="4273"/>
                </a:lnTo>
                <a:lnTo>
                  <a:pt x="131" y="4458"/>
                </a:lnTo>
                <a:lnTo>
                  <a:pt x="171" y="4472"/>
                </a:lnTo>
                <a:lnTo>
                  <a:pt x="205" y="4433"/>
                </a:lnTo>
                <a:lnTo>
                  <a:pt x="176" y="4536"/>
                </a:lnTo>
                <a:lnTo>
                  <a:pt x="201" y="4523"/>
                </a:lnTo>
                <a:lnTo>
                  <a:pt x="230" y="4547"/>
                </a:lnTo>
                <a:lnTo>
                  <a:pt x="249" y="4519"/>
                </a:lnTo>
                <a:lnTo>
                  <a:pt x="300" y="4531"/>
                </a:lnTo>
                <a:lnTo>
                  <a:pt x="269" y="4557"/>
                </a:lnTo>
                <a:lnTo>
                  <a:pt x="322" y="4588"/>
                </a:lnTo>
                <a:lnTo>
                  <a:pt x="367" y="4578"/>
                </a:lnTo>
                <a:lnTo>
                  <a:pt x="415" y="4550"/>
                </a:lnTo>
                <a:lnTo>
                  <a:pt x="441" y="4507"/>
                </a:lnTo>
                <a:lnTo>
                  <a:pt x="459" y="4548"/>
                </a:lnTo>
                <a:lnTo>
                  <a:pt x="535" y="4514"/>
                </a:lnTo>
                <a:lnTo>
                  <a:pt x="619" y="4432"/>
                </a:lnTo>
                <a:lnTo>
                  <a:pt x="664" y="4417"/>
                </a:lnTo>
                <a:lnTo>
                  <a:pt x="680" y="4383"/>
                </a:lnTo>
                <a:lnTo>
                  <a:pt x="706" y="4367"/>
                </a:lnTo>
                <a:lnTo>
                  <a:pt x="717" y="4348"/>
                </a:lnTo>
                <a:lnTo>
                  <a:pt x="782" y="4297"/>
                </a:lnTo>
                <a:lnTo>
                  <a:pt x="778" y="4267"/>
                </a:lnTo>
                <a:lnTo>
                  <a:pt x="818" y="4298"/>
                </a:lnTo>
                <a:lnTo>
                  <a:pt x="864" y="4305"/>
                </a:lnTo>
                <a:lnTo>
                  <a:pt x="891" y="4296"/>
                </a:lnTo>
                <a:lnTo>
                  <a:pt x="914" y="4233"/>
                </a:lnTo>
                <a:lnTo>
                  <a:pt x="944" y="4213"/>
                </a:lnTo>
                <a:lnTo>
                  <a:pt x="948" y="4177"/>
                </a:lnTo>
                <a:lnTo>
                  <a:pt x="928" y="4149"/>
                </a:lnTo>
                <a:lnTo>
                  <a:pt x="919" y="4120"/>
                </a:lnTo>
                <a:lnTo>
                  <a:pt x="929" y="4115"/>
                </a:lnTo>
                <a:lnTo>
                  <a:pt x="936" y="4099"/>
                </a:lnTo>
                <a:lnTo>
                  <a:pt x="934" y="4059"/>
                </a:lnTo>
                <a:lnTo>
                  <a:pt x="946" y="4072"/>
                </a:lnTo>
                <a:lnTo>
                  <a:pt x="956" y="4100"/>
                </a:lnTo>
                <a:lnTo>
                  <a:pt x="952" y="4126"/>
                </a:lnTo>
                <a:lnTo>
                  <a:pt x="974" y="4124"/>
                </a:lnTo>
                <a:lnTo>
                  <a:pt x="983" y="4102"/>
                </a:lnTo>
                <a:lnTo>
                  <a:pt x="971" y="4071"/>
                </a:lnTo>
                <a:lnTo>
                  <a:pt x="974" y="4019"/>
                </a:lnTo>
                <a:lnTo>
                  <a:pt x="982" y="4010"/>
                </a:lnTo>
                <a:lnTo>
                  <a:pt x="989" y="4014"/>
                </a:lnTo>
                <a:lnTo>
                  <a:pt x="1011" y="4003"/>
                </a:lnTo>
                <a:lnTo>
                  <a:pt x="1027" y="4016"/>
                </a:lnTo>
                <a:lnTo>
                  <a:pt x="1024" y="4040"/>
                </a:lnTo>
                <a:lnTo>
                  <a:pt x="999" y="4048"/>
                </a:lnTo>
                <a:lnTo>
                  <a:pt x="995" y="4246"/>
                </a:lnTo>
                <a:lnTo>
                  <a:pt x="1022" y="4243"/>
                </a:lnTo>
                <a:lnTo>
                  <a:pt x="1050" y="4275"/>
                </a:lnTo>
                <a:lnTo>
                  <a:pt x="1073" y="4276"/>
                </a:lnTo>
                <a:lnTo>
                  <a:pt x="1088" y="4317"/>
                </a:lnTo>
                <a:lnTo>
                  <a:pt x="1079" y="4394"/>
                </a:lnTo>
                <a:lnTo>
                  <a:pt x="1094" y="4349"/>
                </a:lnTo>
                <a:lnTo>
                  <a:pt x="1105" y="4379"/>
                </a:lnTo>
                <a:lnTo>
                  <a:pt x="1135" y="4364"/>
                </a:lnTo>
                <a:lnTo>
                  <a:pt x="1176" y="4240"/>
                </a:lnTo>
                <a:lnTo>
                  <a:pt x="1170" y="4143"/>
                </a:lnTo>
                <a:lnTo>
                  <a:pt x="1222" y="4076"/>
                </a:lnTo>
                <a:lnTo>
                  <a:pt x="1228" y="4030"/>
                </a:lnTo>
                <a:lnTo>
                  <a:pt x="1321" y="4005"/>
                </a:lnTo>
                <a:lnTo>
                  <a:pt x="1346" y="3971"/>
                </a:lnTo>
                <a:lnTo>
                  <a:pt x="1358" y="3922"/>
                </a:lnTo>
                <a:lnTo>
                  <a:pt x="1345" y="3893"/>
                </a:lnTo>
                <a:lnTo>
                  <a:pt x="1381" y="3799"/>
                </a:lnTo>
                <a:lnTo>
                  <a:pt x="1366" y="3690"/>
                </a:lnTo>
                <a:lnTo>
                  <a:pt x="1337" y="3644"/>
                </a:lnTo>
                <a:lnTo>
                  <a:pt x="1349" y="3625"/>
                </a:lnTo>
                <a:lnTo>
                  <a:pt x="1398" y="3611"/>
                </a:lnTo>
                <a:lnTo>
                  <a:pt x="1435" y="3577"/>
                </a:lnTo>
                <a:lnTo>
                  <a:pt x="1461" y="3522"/>
                </a:lnTo>
                <a:lnTo>
                  <a:pt x="1459" y="3455"/>
                </a:lnTo>
                <a:lnTo>
                  <a:pt x="1399" y="3400"/>
                </a:lnTo>
                <a:lnTo>
                  <a:pt x="1376" y="3350"/>
                </a:lnTo>
                <a:lnTo>
                  <a:pt x="1399" y="3154"/>
                </a:lnTo>
                <a:lnTo>
                  <a:pt x="1392" y="3107"/>
                </a:lnTo>
                <a:lnTo>
                  <a:pt x="1383" y="3096"/>
                </a:lnTo>
                <a:lnTo>
                  <a:pt x="1430" y="2910"/>
                </a:lnTo>
                <a:lnTo>
                  <a:pt x="1451" y="2883"/>
                </a:lnTo>
                <a:lnTo>
                  <a:pt x="1438" y="2866"/>
                </a:lnTo>
                <a:lnTo>
                  <a:pt x="1424" y="2823"/>
                </a:lnTo>
                <a:lnTo>
                  <a:pt x="1421" y="2768"/>
                </a:lnTo>
                <a:lnTo>
                  <a:pt x="1464" y="2669"/>
                </a:lnTo>
                <a:lnTo>
                  <a:pt x="1547" y="2587"/>
                </a:lnTo>
                <a:lnTo>
                  <a:pt x="1600" y="2561"/>
                </a:lnTo>
                <a:lnTo>
                  <a:pt x="1664" y="2549"/>
                </a:lnTo>
                <a:lnTo>
                  <a:pt x="1756" y="2571"/>
                </a:lnTo>
                <a:lnTo>
                  <a:pt x="1788" y="2538"/>
                </a:lnTo>
                <a:lnTo>
                  <a:pt x="1805" y="2449"/>
                </a:lnTo>
                <a:lnTo>
                  <a:pt x="1752" y="2367"/>
                </a:lnTo>
                <a:lnTo>
                  <a:pt x="1751" y="2338"/>
                </a:lnTo>
                <a:lnTo>
                  <a:pt x="1870" y="2155"/>
                </a:lnTo>
                <a:lnTo>
                  <a:pt x="1922" y="1841"/>
                </a:lnTo>
                <a:lnTo>
                  <a:pt x="1942" y="1830"/>
                </a:lnTo>
                <a:lnTo>
                  <a:pt x="1973" y="1832"/>
                </a:lnTo>
                <a:lnTo>
                  <a:pt x="2023" y="1800"/>
                </a:lnTo>
                <a:lnTo>
                  <a:pt x="2068" y="1674"/>
                </a:lnTo>
                <a:lnTo>
                  <a:pt x="2219" y="1477"/>
                </a:lnTo>
                <a:lnTo>
                  <a:pt x="2216" y="1444"/>
                </a:lnTo>
                <a:lnTo>
                  <a:pt x="2186" y="1384"/>
                </a:lnTo>
                <a:lnTo>
                  <a:pt x="2196" y="1350"/>
                </a:lnTo>
                <a:lnTo>
                  <a:pt x="2251" y="1283"/>
                </a:lnTo>
                <a:lnTo>
                  <a:pt x="2270" y="1209"/>
                </a:lnTo>
                <a:lnTo>
                  <a:pt x="2343" y="1135"/>
                </a:lnTo>
                <a:lnTo>
                  <a:pt x="2374" y="1130"/>
                </a:lnTo>
                <a:lnTo>
                  <a:pt x="2403" y="1147"/>
                </a:lnTo>
                <a:lnTo>
                  <a:pt x="2427" y="1179"/>
                </a:lnTo>
                <a:lnTo>
                  <a:pt x="2437" y="1184"/>
                </a:lnTo>
                <a:lnTo>
                  <a:pt x="2462" y="1145"/>
                </a:lnTo>
                <a:lnTo>
                  <a:pt x="2482" y="1069"/>
                </a:lnTo>
                <a:lnTo>
                  <a:pt x="2479" y="1011"/>
                </a:lnTo>
                <a:lnTo>
                  <a:pt x="2492" y="987"/>
                </a:lnTo>
                <a:lnTo>
                  <a:pt x="2506" y="978"/>
                </a:lnTo>
                <a:lnTo>
                  <a:pt x="2528" y="974"/>
                </a:lnTo>
                <a:lnTo>
                  <a:pt x="2712" y="1022"/>
                </a:lnTo>
                <a:lnTo>
                  <a:pt x="2734" y="1017"/>
                </a:lnTo>
                <a:lnTo>
                  <a:pt x="2749" y="997"/>
                </a:lnTo>
                <a:lnTo>
                  <a:pt x="2725" y="974"/>
                </a:lnTo>
                <a:lnTo>
                  <a:pt x="2722" y="949"/>
                </a:lnTo>
                <a:lnTo>
                  <a:pt x="2738" y="923"/>
                </a:lnTo>
                <a:lnTo>
                  <a:pt x="2746" y="886"/>
                </a:lnTo>
                <a:lnTo>
                  <a:pt x="2757" y="873"/>
                </a:lnTo>
                <a:lnTo>
                  <a:pt x="2761" y="852"/>
                </a:lnTo>
                <a:lnTo>
                  <a:pt x="2758" y="826"/>
                </a:lnTo>
                <a:lnTo>
                  <a:pt x="2746" y="814"/>
                </a:lnTo>
                <a:lnTo>
                  <a:pt x="2743" y="791"/>
                </a:lnTo>
                <a:lnTo>
                  <a:pt x="2756" y="784"/>
                </a:lnTo>
                <a:lnTo>
                  <a:pt x="2811" y="785"/>
                </a:lnTo>
                <a:lnTo>
                  <a:pt x="2819" y="766"/>
                </a:lnTo>
                <a:lnTo>
                  <a:pt x="2839" y="759"/>
                </a:lnTo>
                <a:lnTo>
                  <a:pt x="2858" y="768"/>
                </a:lnTo>
                <a:lnTo>
                  <a:pt x="2882" y="759"/>
                </a:lnTo>
                <a:lnTo>
                  <a:pt x="2871" y="703"/>
                </a:lnTo>
                <a:lnTo>
                  <a:pt x="2901" y="687"/>
                </a:lnTo>
                <a:lnTo>
                  <a:pt x="2934" y="700"/>
                </a:lnTo>
                <a:lnTo>
                  <a:pt x="3038" y="828"/>
                </a:lnTo>
                <a:lnTo>
                  <a:pt x="3052" y="873"/>
                </a:lnTo>
                <a:lnTo>
                  <a:pt x="3066" y="892"/>
                </a:lnTo>
                <a:lnTo>
                  <a:pt x="3129" y="899"/>
                </a:lnTo>
                <a:lnTo>
                  <a:pt x="3167" y="917"/>
                </a:lnTo>
                <a:lnTo>
                  <a:pt x="3196" y="912"/>
                </a:lnTo>
                <a:lnTo>
                  <a:pt x="3231" y="889"/>
                </a:lnTo>
                <a:lnTo>
                  <a:pt x="3271" y="839"/>
                </a:lnTo>
                <a:lnTo>
                  <a:pt x="3295" y="854"/>
                </a:lnTo>
                <a:lnTo>
                  <a:pt x="3328" y="904"/>
                </a:lnTo>
                <a:lnTo>
                  <a:pt x="3355" y="909"/>
                </a:lnTo>
                <a:lnTo>
                  <a:pt x="3420" y="865"/>
                </a:lnTo>
                <a:lnTo>
                  <a:pt x="3437" y="830"/>
                </a:lnTo>
                <a:lnTo>
                  <a:pt x="3496" y="780"/>
                </a:lnTo>
                <a:lnTo>
                  <a:pt x="3485" y="566"/>
                </a:lnTo>
                <a:lnTo>
                  <a:pt x="3509" y="490"/>
                </a:lnTo>
                <a:lnTo>
                  <a:pt x="3531" y="459"/>
                </a:lnTo>
                <a:lnTo>
                  <a:pt x="3559" y="439"/>
                </a:lnTo>
                <a:lnTo>
                  <a:pt x="3615" y="428"/>
                </a:lnTo>
                <a:lnTo>
                  <a:pt x="3752" y="362"/>
                </a:lnTo>
                <a:lnTo>
                  <a:pt x="3766" y="372"/>
                </a:lnTo>
                <a:lnTo>
                  <a:pt x="3794" y="415"/>
                </a:lnTo>
                <a:lnTo>
                  <a:pt x="3822" y="431"/>
                </a:lnTo>
                <a:lnTo>
                  <a:pt x="3865" y="442"/>
                </a:lnTo>
                <a:lnTo>
                  <a:pt x="3912" y="476"/>
                </a:lnTo>
                <a:lnTo>
                  <a:pt x="3947" y="574"/>
                </a:lnTo>
                <a:lnTo>
                  <a:pt x="3908" y="636"/>
                </a:lnTo>
                <a:lnTo>
                  <a:pt x="3903" y="666"/>
                </a:lnTo>
                <a:lnTo>
                  <a:pt x="3909" y="692"/>
                </a:lnTo>
                <a:lnTo>
                  <a:pt x="3935" y="706"/>
                </a:lnTo>
                <a:lnTo>
                  <a:pt x="3941" y="703"/>
                </a:lnTo>
                <a:lnTo>
                  <a:pt x="3958" y="679"/>
                </a:lnTo>
                <a:lnTo>
                  <a:pt x="3960" y="671"/>
                </a:lnTo>
                <a:lnTo>
                  <a:pt x="3959" y="644"/>
                </a:lnTo>
                <a:lnTo>
                  <a:pt x="3963" y="633"/>
                </a:lnTo>
                <a:lnTo>
                  <a:pt x="4032" y="577"/>
                </a:lnTo>
                <a:lnTo>
                  <a:pt x="4045" y="559"/>
                </a:lnTo>
                <a:lnTo>
                  <a:pt x="4048" y="486"/>
                </a:lnTo>
                <a:lnTo>
                  <a:pt x="4104" y="511"/>
                </a:lnTo>
                <a:lnTo>
                  <a:pt x="4131" y="498"/>
                </a:lnTo>
                <a:lnTo>
                  <a:pt x="4138" y="455"/>
                </a:lnTo>
                <a:lnTo>
                  <a:pt x="4135" y="430"/>
                </a:lnTo>
                <a:lnTo>
                  <a:pt x="4129" y="422"/>
                </a:lnTo>
              </a:path>
            </a:pathLst>
          </a:custGeom>
          <a:solidFill>
            <a:srgbClr val="4BB2FF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07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Introduction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CE157-0CFA-4EC9-A14C-FC67A97458CE}" type="datetime1">
              <a:rPr lang="fr-FR" smtClean="0"/>
              <a:pPr/>
              <a:t>24/06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r>
              <a:rPr lang="en-US" dirty="0"/>
              <a:t>High level planning</a:t>
            </a:r>
            <a:endParaRPr lang="en-GB" dirty="0"/>
          </a:p>
        </p:txBody>
      </p:sp>
      <p:graphicFrame>
        <p:nvGraphicFramePr>
          <p:cNvPr id="97" name="Content Placeholder 5"/>
          <p:cNvGraphicFramePr>
            <a:graphicFrameLocks/>
          </p:cNvGraphicFramePr>
          <p:nvPr>
            <p:extLst/>
          </p:nvPr>
        </p:nvGraphicFramePr>
        <p:xfrm>
          <a:off x="1112533" y="1307123"/>
          <a:ext cx="7707936" cy="42760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116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32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33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34"/>
                    </a:ext>
                  </a:extLst>
                </a:gridCol>
                <a:gridCol w="321164">
                  <a:extLst>
                    <a:ext uri="{9D8B030D-6E8A-4147-A177-3AD203B41FA5}">
                      <a16:colId xmlns:a16="http://schemas.microsoft.com/office/drawing/2014/main" val="20035"/>
                    </a:ext>
                  </a:extLst>
                </a:gridCol>
              </a:tblGrid>
              <a:tr h="259959"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800" dirty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657"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1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1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1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0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1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600" dirty="0"/>
                        <a:t>1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6367"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6359"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72257"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88404"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9" name="ZoneTexte 35"/>
          <p:cNvSpPr txBox="1">
            <a:spLocks noChangeArrowheads="1"/>
          </p:cNvSpPr>
          <p:nvPr/>
        </p:nvSpPr>
        <p:spPr bwMode="auto">
          <a:xfrm rot="16200000">
            <a:off x="-1358717" y="3521174"/>
            <a:ext cx="3824505" cy="316000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  <a:extLst/>
        </p:spPr>
        <p:txBody>
          <a:bodyPr wrap="square" lIns="0" tIns="0" rIns="0" bIns="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10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TERRE Platform Implementation</a:t>
            </a:r>
          </a:p>
        </p:txBody>
      </p:sp>
      <p:sp>
        <p:nvSpPr>
          <p:cNvPr id="103" name="ZoneTexte 1"/>
          <p:cNvSpPr txBox="1">
            <a:spLocks noChangeArrowheads="1"/>
          </p:cNvSpPr>
          <p:nvPr/>
        </p:nvSpPr>
        <p:spPr bwMode="auto">
          <a:xfrm>
            <a:off x="2590800" y="1020001"/>
            <a:ext cx="822853" cy="32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1200" b="1" dirty="0"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2018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8749228" y="1760687"/>
            <a:ext cx="71244" cy="3822439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800" b="1" dirty="0">
              <a:solidFill>
                <a:schemeClr val="tx1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126" name="ZoneTexte 35"/>
          <p:cNvSpPr txBox="1">
            <a:spLocks noChangeArrowheads="1"/>
          </p:cNvSpPr>
          <p:nvPr/>
        </p:nvSpPr>
        <p:spPr bwMode="auto">
          <a:xfrm rot="16200000">
            <a:off x="592235" y="1886223"/>
            <a:ext cx="630112" cy="391507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xtLst/>
        </p:spPr>
        <p:txBody>
          <a:bodyPr wrap="square" lIns="0" tIns="0" rIns="0" bIns="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10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Legal</a:t>
            </a:r>
          </a:p>
        </p:txBody>
      </p:sp>
      <p:sp>
        <p:nvSpPr>
          <p:cNvPr id="128" name="ZoneTexte 35"/>
          <p:cNvSpPr txBox="1">
            <a:spLocks noChangeArrowheads="1"/>
          </p:cNvSpPr>
          <p:nvPr/>
        </p:nvSpPr>
        <p:spPr bwMode="auto">
          <a:xfrm rot="16200000">
            <a:off x="452412" y="2656159"/>
            <a:ext cx="909758" cy="391507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xtLst/>
        </p:spPr>
        <p:txBody>
          <a:bodyPr wrap="square" lIns="0" tIns="0" rIns="0" bIns="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10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Approval</a:t>
            </a:r>
          </a:p>
        </p:txBody>
      </p:sp>
      <p:sp>
        <p:nvSpPr>
          <p:cNvPr id="129" name="ZoneTexte 35"/>
          <p:cNvSpPr txBox="1">
            <a:spLocks noChangeArrowheads="1"/>
          </p:cNvSpPr>
          <p:nvPr/>
        </p:nvSpPr>
        <p:spPr bwMode="auto">
          <a:xfrm rot="16200000">
            <a:off x="318705" y="3699624"/>
            <a:ext cx="1177172" cy="391507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xtLst/>
        </p:spPr>
        <p:txBody>
          <a:bodyPr wrap="square" lIns="0" tIns="0" rIns="0" bIns="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10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Design</a:t>
            </a:r>
          </a:p>
        </p:txBody>
      </p:sp>
      <p:sp>
        <p:nvSpPr>
          <p:cNvPr id="130" name="ZoneTexte 35"/>
          <p:cNvSpPr txBox="1">
            <a:spLocks noChangeArrowheads="1"/>
          </p:cNvSpPr>
          <p:nvPr/>
        </p:nvSpPr>
        <p:spPr bwMode="auto">
          <a:xfrm rot="16200000">
            <a:off x="346225" y="4834606"/>
            <a:ext cx="1122132" cy="391507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xtLst/>
        </p:spPr>
        <p:txBody>
          <a:bodyPr wrap="square" lIns="0" tIns="0" rIns="0" bIns="0"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1000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Implementation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8265126" y="3717988"/>
            <a:ext cx="627354" cy="431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>
                <a:latin typeface="Calibri" pitchFamily="34" charset="0"/>
                <a:ea typeface="ＭＳ Ｐゴシック" charset="-128"/>
                <a:cs typeface="Calibri" pitchFamily="34" charset="0"/>
              </a:rPr>
              <a:t>GO Live window</a:t>
            </a:r>
            <a:endParaRPr lang="en-GB" sz="900" dirty="0"/>
          </a:p>
        </p:txBody>
      </p:sp>
      <p:sp>
        <p:nvSpPr>
          <p:cNvPr id="153" name="Right Arrow 152"/>
          <p:cNvSpPr/>
          <p:nvPr/>
        </p:nvSpPr>
        <p:spPr>
          <a:xfrm>
            <a:off x="8469920" y="3438291"/>
            <a:ext cx="206536" cy="220778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154" name="Straight Connector 153"/>
          <p:cNvCxnSpPr/>
          <p:nvPr/>
        </p:nvCxnSpPr>
        <p:spPr>
          <a:xfrm>
            <a:off x="8460432" y="1760687"/>
            <a:ext cx="0" cy="3822439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ZoneTexte 1"/>
          <p:cNvSpPr txBox="1">
            <a:spLocks noChangeArrowheads="1"/>
          </p:cNvSpPr>
          <p:nvPr/>
        </p:nvSpPr>
        <p:spPr bwMode="auto">
          <a:xfrm>
            <a:off x="6456493" y="1020001"/>
            <a:ext cx="822853" cy="32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1200" b="1" dirty="0"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2019</a:t>
            </a:r>
          </a:p>
        </p:txBody>
      </p:sp>
      <p:sp>
        <p:nvSpPr>
          <p:cNvPr id="95" name="Triangle isocèle 58"/>
          <p:cNvSpPr/>
          <p:nvPr/>
        </p:nvSpPr>
        <p:spPr>
          <a:xfrm>
            <a:off x="6696248" y="5672256"/>
            <a:ext cx="108000" cy="117941"/>
          </a:xfrm>
          <a:prstGeom prst="triangle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 anchor="ctr"/>
          <a:lstStyle/>
          <a:p>
            <a:pPr algn="ctr"/>
            <a:endParaRPr lang="en-GB" sz="140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6" name="ZoneTexte 29"/>
          <p:cNvSpPr txBox="1">
            <a:spLocks noChangeArrowheads="1"/>
          </p:cNvSpPr>
          <p:nvPr/>
        </p:nvSpPr>
        <p:spPr bwMode="auto">
          <a:xfrm>
            <a:off x="6387589" y="5823544"/>
            <a:ext cx="70469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fr-FR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Today</a:t>
            </a:r>
          </a:p>
        </p:txBody>
      </p:sp>
      <p:sp>
        <p:nvSpPr>
          <p:cNvPr id="71" name="Pentagon 70"/>
          <p:cNvSpPr/>
          <p:nvPr/>
        </p:nvSpPr>
        <p:spPr>
          <a:xfrm>
            <a:off x="1403648" y="4760847"/>
            <a:ext cx="599621" cy="494130"/>
          </a:xfrm>
          <a:prstGeom prst="homePlate">
            <a:avLst>
              <a:gd name="adj" fmla="val 13375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atin typeface="Calibri" pitchFamily="34" charset="0"/>
                <a:ea typeface="ＭＳ Ｐゴシック" charset="-128"/>
                <a:cs typeface="Calibri" pitchFamily="34" charset="0"/>
              </a:rPr>
              <a:t>Start-up stage</a:t>
            </a:r>
          </a:p>
        </p:txBody>
      </p:sp>
      <p:sp>
        <p:nvSpPr>
          <p:cNvPr id="72" name="Chevron 71"/>
          <p:cNvSpPr/>
          <p:nvPr/>
        </p:nvSpPr>
        <p:spPr>
          <a:xfrm>
            <a:off x="7901914" y="4760847"/>
            <a:ext cx="784885" cy="494130"/>
          </a:xfrm>
          <a:prstGeom prst="chevron">
            <a:avLst>
              <a:gd name="adj" fmla="val 15303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atin typeface="Calibri" pitchFamily="34" charset="0"/>
                <a:ea typeface="ＭＳ Ｐゴシック" charset="-128"/>
                <a:cs typeface="Calibri" pitchFamily="34" charset="0"/>
              </a:rPr>
              <a:t>                         //ru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1119445" y="2637153"/>
            <a:ext cx="575845" cy="494130"/>
          </a:xfrm>
          <a:prstGeom prst="homePlate">
            <a:avLst>
              <a:gd name="adj" fmla="val 13375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atin typeface="Calibri" pitchFamily="34" charset="0"/>
                <a:ea typeface="ＭＳ Ｐゴシック" charset="-128"/>
                <a:cs typeface="Calibri" pitchFamily="34" charset="0"/>
              </a:rPr>
              <a:t>RRIF draft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6749788" y="1776851"/>
            <a:ext cx="0" cy="3822439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Pentagon 65"/>
          <p:cNvSpPr/>
          <p:nvPr/>
        </p:nvSpPr>
        <p:spPr>
          <a:xfrm>
            <a:off x="1115427" y="1845607"/>
            <a:ext cx="5643102" cy="49413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fine future LIBRA operational framework</a:t>
            </a:r>
          </a:p>
        </p:txBody>
      </p:sp>
      <p:sp>
        <p:nvSpPr>
          <p:cNvPr id="69" name="Pentagon 68"/>
          <p:cNvSpPr/>
          <p:nvPr/>
        </p:nvSpPr>
        <p:spPr>
          <a:xfrm>
            <a:off x="1140418" y="3356993"/>
            <a:ext cx="272415" cy="263638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33" name="Pentagon 68">
            <a:extLst>
              <a:ext uri="{FF2B5EF4-FFF2-40B4-BE49-F238E27FC236}">
                <a16:creationId xmlns:a16="http://schemas.microsoft.com/office/drawing/2014/main" id="{5D69EFD4-593F-4D8C-93E1-25A6A14A739D}"/>
              </a:ext>
            </a:extLst>
          </p:cNvPr>
          <p:cNvSpPr/>
          <p:nvPr/>
        </p:nvSpPr>
        <p:spPr>
          <a:xfrm>
            <a:off x="1112530" y="3717032"/>
            <a:ext cx="3302689" cy="176803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latin typeface="Calibri" pitchFamily="34" charset="0"/>
                <a:ea typeface="ＭＳ Ｐゴシック" charset="-128"/>
                <a:cs typeface="Calibri" pitchFamily="34" charset="0"/>
              </a:rPr>
              <a:t>RFP phase lot C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C2CA22E-19D7-4AF9-8C29-C019878150FD}"/>
              </a:ext>
            </a:extLst>
          </p:cNvPr>
          <p:cNvSpPr/>
          <p:nvPr/>
        </p:nvSpPr>
        <p:spPr>
          <a:xfrm>
            <a:off x="1479985" y="3344316"/>
            <a:ext cx="45719" cy="2896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800" b="1">
              <a:solidFill>
                <a:schemeClr val="tx1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705483-29D6-480A-B56F-90E11AA49BD5}"/>
              </a:ext>
            </a:extLst>
          </p:cNvPr>
          <p:cNvSpPr txBox="1"/>
          <p:nvPr/>
        </p:nvSpPr>
        <p:spPr>
          <a:xfrm>
            <a:off x="1502844" y="3356992"/>
            <a:ext cx="17595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Launch B1/B2/F service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9051F87-B9A4-4F95-BD0D-7D0F20CB3392}"/>
              </a:ext>
            </a:extLst>
          </p:cNvPr>
          <p:cNvSpPr/>
          <p:nvPr/>
        </p:nvSpPr>
        <p:spPr>
          <a:xfrm>
            <a:off x="4449756" y="3659069"/>
            <a:ext cx="49950" cy="28093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600" b="1" dirty="0">
              <a:solidFill>
                <a:schemeClr val="tx1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C517FE4-87D8-4BE8-8F4D-94C5E06CB4D2}"/>
              </a:ext>
            </a:extLst>
          </p:cNvPr>
          <p:cNvSpPr txBox="1"/>
          <p:nvPr/>
        </p:nvSpPr>
        <p:spPr>
          <a:xfrm>
            <a:off x="4487991" y="3681704"/>
            <a:ext cx="17595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Launch Lot C service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60B2735-1C36-499C-90D5-418736918D00}"/>
              </a:ext>
            </a:extLst>
          </p:cNvPr>
          <p:cNvSpPr/>
          <p:nvPr/>
        </p:nvSpPr>
        <p:spPr>
          <a:xfrm>
            <a:off x="4788024" y="2600931"/>
            <a:ext cx="45719" cy="578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800" b="1">
              <a:solidFill>
                <a:schemeClr val="tx1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64DE3337-55F5-4200-9FC3-BE95AD91A47C}"/>
              </a:ext>
            </a:extLst>
          </p:cNvPr>
          <p:cNvSpPr/>
          <p:nvPr/>
        </p:nvSpPr>
        <p:spPr>
          <a:xfrm>
            <a:off x="1697829" y="2637153"/>
            <a:ext cx="1037035" cy="494130"/>
          </a:xfrm>
          <a:prstGeom prst="chevron">
            <a:avLst>
              <a:gd name="adj" fmla="val 12684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RRIF PC and assessment</a:t>
            </a: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ED23DF32-D968-4D6D-BE64-68EB1E92076F}"/>
              </a:ext>
            </a:extLst>
          </p:cNvPr>
          <p:cNvSpPr/>
          <p:nvPr/>
        </p:nvSpPr>
        <p:spPr>
          <a:xfrm>
            <a:off x="2843808" y="2637153"/>
            <a:ext cx="1866647" cy="494130"/>
          </a:xfrm>
          <a:prstGeom prst="chevron">
            <a:avLst>
              <a:gd name="adj" fmla="val 12684"/>
            </a:avLst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RRIF validation by NRAs</a:t>
            </a: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F8EE711C-37C7-41A5-A223-9E8BF21DF417}"/>
              </a:ext>
            </a:extLst>
          </p:cNvPr>
          <p:cNvSpPr/>
          <p:nvPr/>
        </p:nvSpPr>
        <p:spPr>
          <a:xfrm>
            <a:off x="1977462" y="4760847"/>
            <a:ext cx="1015150" cy="494130"/>
          </a:xfrm>
          <a:prstGeom prst="chevron">
            <a:avLst>
              <a:gd name="adj" fmla="val 12684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B1/B2 Design stage</a:t>
            </a: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82C97A62-002C-4207-88F0-A13F959231EE}"/>
              </a:ext>
            </a:extLst>
          </p:cNvPr>
          <p:cNvSpPr/>
          <p:nvPr/>
        </p:nvSpPr>
        <p:spPr>
          <a:xfrm>
            <a:off x="2987824" y="4760847"/>
            <a:ext cx="2096699" cy="494130"/>
          </a:xfrm>
          <a:prstGeom prst="chevron">
            <a:avLst>
              <a:gd name="adj" fmla="val 12684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B1/B2 Development stage</a:t>
            </a:r>
          </a:p>
        </p:txBody>
      </p:sp>
      <p:sp>
        <p:nvSpPr>
          <p:cNvPr id="45" name="Arrow: Chevron 44">
            <a:extLst>
              <a:ext uri="{FF2B5EF4-FFF2-40B4-BE49-F238E27FC236}">
                <a16:creationId xmlns:a16="http://schemas.microsoft.com/office/drawing/2014/main" id="{FC599983-FB71-44E9-AC09-4C11F9CBF87D}"/>
              </a:ext>
            </a:extLst>
          </p:cNvPr>
          <p:cNvSpPr/>
          <p:nvPr/>
        </p:nvSpPr>
        <p:spPr>
          <a:xfrm>
            <a:off x="5076056" y="4760847"/>
            <a:ext cx="765864" cy="494130"/>
          </a:xfrm>
          <a:prstGeom prst="chevron">
            <a:avLst>
              <a:gd name="adj" fmla="val 12684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B1/B2 FAT stage</a:t>
            </a:r>
          </a:p>
        </p:txBody>
      </p:sp>
      <p:sp>
        <p:nvSpPr>
          <p:cNvPr id="50" name="Arrow: Chevron 45">
            <a:extLst>
              <a:ext uri="{FF2B5EF4-FFF2-40B4-BE49-F238E27FC236}">
                <a16:creationId xmlns:a16="http://schemas.microsoft.com/office/drawing/2014/main" id="{EDD505E9-DAAF-4DF9-9E5F-3B36EC1D3DDB}"/>
              </a:ext>
            </a:extLst>
          </p:cNvPr>
          <p:cNvSpPr/>
          <p:nvPr/>
        </p:nvSpPr>
        <p:spPr>
          <a:xfrm>
            <a:off x="8469920" y="4760847"/>
            <a:ext cx="216879" cy="494130"/>
          </a:xfrm>
          <a:prstGeom prst="chevron">
            <a:avLst>
              <a:gd name="adj" fmla="val 12684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C00000"/>
            </a:solidFill>
            <a:prstDash val="sysDash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900" b="1" dirty="0">
              <a:solidFill>
                <a:schemeClr val="tx1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51" name="Pentagon 68">
            <a:extLst>
              <a:ext uri="{FF2B5EF4-FFF2-40B4-BE49-F238E27FC236}">
                <a16:creationId xmlns:a16="http://schemas.microsoft.com/office/drawing/2014/main" id="{A8094BF3-503C-492C-8D83-7C27108A266C}"/>
              </a:ext>
            </a:extLst>
          </p:cNvPr>
          <p:cNvSpPr/>
          <p:nvPr/>
        </p:nvSpPr>
        <p:spPr>
          <a:xfrm>
            <a:off x="1125296" y="3972278"/>
            <a:ext cx="4117406" cy="176139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latin typeface="Calibri" pitchFamily="34" charset="0"/>
                <a:ea typeface="ＭＳ Ｐゴシック" charset="-128"/>
                <a:cs typeface="Calibri" pitchFamily="34" charset="0"/>
              </a:rPr>
              <a:t>RFP phase lot D</a:t>
            </a:r>
          </a:p>
        </p:txBody>
      </p:sp>
      <p:sp>
        <p:nvSpPr>
          <p:cNvPr id="52" name="Pentagon 68">
            <a:extLst>
              <a:ext uri="{FF2B5EF4-FFF2-40B4-BE49-F238E27FC236}">
                <a16:creationId xmlns:a16="http://schemas.microsoft.com/office/drawing/2014/main" id="{82B4B4EF-0F0D-4EC5-ACA6-38C57DB1B6AD}"/>
              </a:ext>
            </a:extLst>
          </p:cNvPr>
          <p:cNvSpPr/>
          <p:nvPr/>
        </p:nvSpPr>
        <p:spPr>
          <a:xfrm>
            <a:off x="1115615" y="4221087"/>
            <a:ext cx="5642914" cy="176139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latin typeface="Calibri" pitchFamily="34" charset="0"/>
                <a:ea typeface="ＭＳ Ｐゴシック" charset="-128"/>
                <a:cs typeface="Calibri" pitchFamily="34" charset="0"/>
              </a:rPr>
              <a:t>RFP phase lot 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4F3B7C1-74AD-4CFD-A9C9-D8A328BE8E3B}"/>
              </a:ext>
            </a:extLst>
          </p:cNvPr>
          <p:cNvSpPr/>
          <p:nvPr/>
        </p:nvSpPr>
        <p:spPr>
          <a:xfrm>
            <a:off x="5294624" y="3936843"/>
            <a:ext cx="45719" cy="26161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600" b="1" dirty="0">
              <a:solidFill>
                <a:schemeClr val="tx1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54" name="TextBox 36">
            <a:extLst>
              <a:ext uri="{FF2B5EF4-FFF2-40B4-BE49-F238E27FC236}">
                <a16:creationId xmlns:a16="http://schemas.microsoft.com/office/drawing/2014/main" id="{C5DC19C8-6A51-429E-9490-822E73A90E09}"/>
              </a:ext>
            </a:extLst>
          </p:cNvPr>
          <p:cNvSpPr txBox="1"/>
          <p:nvPr/>
        </p:nvSpPr>
        <p:spPr>
          <a:xfrm>
            <a:off x="5332712" y="3959478"/>
            <a:ext cx="17595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Launch Lot D service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E95265C-0674-4C1E-BF38-4DE5407E5979}"/>
              </a:ext>
            </a:extLst>
          </p:cNvPr>
          <p:cNvSpPr/>
          <p:nvPr/>
        </p:nvSpPr>
        <p:spPr>
          <a:xfrm>
            <a:off x="6804248" y="4205425"/>
            <a:ext cx="45719" cy="26161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600" b="1" dirty="0">
              <a:solidFill>
                <a:schemeClr val="tx1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56" name="TextBox 36">
            <a:extLst>
              <a:ext uri="{FF2B5EF4-FFF2-40B4-BE49-F238E27FC236}">
                <a16:creationId xmlns:a16="http://schemas.microsoft.com/office/drawing/2014/main" id="{2FF399C4-DBF8-4D02-B38F-61900E37F28A}"/>
              </a:ext>
            </a:extLst>
          </p:cNvPr>
          <p:cNvSpPr txBox="1"/>
          <p:nvPr/>
        </p:nvSpPr>
        <p:spPr>
          <a:xfrm>
            <a:off x="6876256" y="4228060"/>
            <a:ext cx="171341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Launch Lot E services</a:t>
            </a:r>
          </a:p>
        </p:txBody>
      </p:sp>
      <p:sp>
        <p:nvSpPr>
          <p:cNvPr id="57" name="TextBox 36">
            <a:extLst>
              <a:ext uri="{FF2B5EF4-FFF2-40B4-BE49-F238E27FC236}">
                <a16:creationId xmlns:a16="http://schemas.microsoft.com/office/drawing/2014/main" id="{FCD82241-417E-46DB-8A24-90869FCF5BEF}"/>
              </a:ext>
            </a:extLst>
          </p:cNvPr>
          <p:cNvSpPr txBox="1"/>
          <p:nvPr/>
        </p:nvSpPr>
        <p:spPr>
          <a:xfrm>
            <a:off x="4788024" y="2780928"/>
            <a:ext cx="17595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RRIF Validated</a:t>
            </a:r>
          </a:p>
        </p:txBody>
      </p:sp>
      <p:sp>
        <p:nvSpPr>
          <p:cNvPr id="60" name="Arrow: Chevron 45">
            <a:extLst>
              <a:ext uri="{FF2B5EF4-FFF2-40B4-BE49-F238E27FC236}">
                <a16:creationId xmlns:a16="http://schemas.microsoft.com/office/drawing/2014/main" id="{C12365BE-A1CD-4C75-B814-12D80DC59040}"/>
              </a:ext>
            </a:extLst>
          </p:cNvPr>
          <p:cNvSpPr/>
          <p:nvPr/>
        </p:nvSpPr>
        <p:spPr>
          <a:xfrm>
            <a:off x="5854683" y="4760847"/>
            <a:ext cx="657085" cy="494130"/>
          </a:xfrm>
          <a:prstGeom prst="chevron">
            <a:avLst>
              <a:gd name="adj" fmla="val 12684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UAT</a:t>
            </a:r>
          </a:p>
        </p:txBody>
      </p:sp>
      <p:sp>
        <p:nvSpPr>
          <p:cNvPr id="61" name="Arrow: Chevron 45">
            <a:extLst>
              <a:ext uri="{FF2B5EF4-FFF2-40B4-BE49-F238E27FC236}">
                <a16:creationId xmlns:a16="http://schemas.microsoft.com/office/drawing/2014/main" id="{B16DC4A3-4A7E-4A85-81C0-D893100FB8CA}"/>
              </a:ext>
            </a:extLst>
          </p:cNvPr>
          <p:cNvSpPr/>
          <p:nvPr/>
        </p:nvSpPr>
        <p:spPr>
          <a:xfrm>
            <a:off x="6524439" y="4760847"/>
            <a:ext cx="1377472" cy="494130"/>
          </a:xfrm>
          <a:prstGeom prst="chevron">
            <a:avLst>
              <a:gd name="adj" fmla="val 12684"/>
            </a:avLst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IOP</a:t>
            </a:r>
          </a:p>
        </p:txBody>
      </p:sp>
      <p:sp>
        <p:nvSpPr>
          <p:cNvPr id="48" name="ZoneTexte 29">
            <a:extLst>
              <a:ext uri="{FF2B5EF4-FFF2-40B4-BE49-F238E27FC236}">
                <a16:creationId xmlns:a16="http://schemas.microsoft.com/office/drawing/2014/main" id="{8F176747-DE03-41C7-AA60-D787BFD494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682" y="5697404"/>
            <a:ext cx="595113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fr-FR" sz="9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B1: Optimization Module; B2: Data Management Module; F: Testing; C: Hosting; D: IT monitoring; E: Financial service</a:t>
            </a:r>
          </a:p>
        </p:txBody>
      </p:sp>
    </p:spTree>
    <p:extLst>
      <p:ext uri="{BB962C8B-B14F-4D97-AF65-F5344CB8AC3E}">
        <p14:creationId xmlns:p14="http://schemas.microsoft.com/office/powerpoint/2010/main" val="1749100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pic 2: </a:t>
            </a:r>
            <a:r>
              <a:rPr lang="en-GB" dirty="0"/>
              <a:t>RR pricing and TSO-TSO settlement rules applied for the RR Platform Go-Live</a:t>
            </a:r>
          </a:p>
        </p:txBody>
      </p:sp>
    </p:spTree>
    <p:extLst>
      <p:ext uri="{BB962C8B-B14F-4D97-AF65-F5344CB8AC3E}">
        <p14:creationId xmlns:p14="http://schemas.microsoft.com/office/powerpoint/2010/main" val="21450240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. RR pricing and TSO-TSO settlement rules applied for the RR Platform Go-Liv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en-GB" smtClean="0"/>
              <a:t>24/06/2019</a:t>
            </a:fld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ighlights </a:t>
            </a:r>
          </a:p>
        </p:txBody>
      </p:sp>
      <p:sp>
        <p:nvSpPr>
          <p:cNvPr id="51" name="Rectangle 8">
            <a:extLst>
              <a:ext uri="{FF2B5EF4-FFF2-40B4-BE49-F238E27FC236}">
                <a16:creationId xmlns:a16="http://schemas.microsoft.com/office/drawing/2014/main" id="{7673D5BB-7E6B-435C-8A3E-68E5B633C045}"/>
              </a:ext>
            </a:extLst>
          </p:cNvPr>
          <p:cNvSpPr/>
          <p:nvPr/>
        </p:nvSpPr>
        <p:spPr>
          <a:xfrm>
            <a:off x="223650" y="1124745"/>
            <a:ext cx="8496944" cy="28716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spcBef>
                <a:spcPct val="20000"/>
              </a:spcBef>
              <a:buClr>
                <a:schemeClr val="tx2"/>
              </a:buClr>
              <a:buFont typeface="+mj-lt"/>
              <a:buAutoNum type="arabicPeriod" startAt="2"/>
            </a:pPr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5C559C-A6B1-4DF5-B3C8-42F090F56F8A}"/>
              </a:ext>
            </a:extLst>
          </p:cNvPr>
          <p:cNvGrpSpPr/>
          <p:nvPr/>
        </p:nvGrpSpPr>
        <p:grpSpPr>
          <a:xfrm>
            <a:off x="286811" y="1124744"/>
            <a:ext cx="7776864" cy="398042"/>
            <a:chOff x="195029" y="1374774"/>
            <a:chExt cx="7776864" cy="398042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893E26B-96C3-4B6B-8B8F-93C7CE0C16CA}"/>
                </a:ext>
              </a:extLst>
            </p:cNvPr>
            <p:cNvCxnSpPr/>
            <p:nvPr/>
          </p:nvCxnSpPr>
          <p:spPr>
            <a:xfrm>
              <a:off x="195029" y="1772816"/>
              <a:ext cx="7776864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84416F7-F7DD-4227-BEDC-B2CF0235D50E}"/>
                </a:ext>
              </a:extLst>
            </p:cNvPr>
            <p:cNvSpPr/>
            <p:nvPr/>
          </p:nvSpPr>
          <p:spPr>
            <a:xfrm>
              <a:off x="195029" y="1374774"/>
              <a:ext cx="4501213" cy="361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b="1" dirty="0">
                  <a:solidFill>
                    <a:srgbClr val="1F497D"/>
                  </a:solidFill>
                </a:rPr>
                <a:t>Pricing proposal (</a:t>
              </a:r>
              <a:r>
                <a:rPr lang="en-GB" b="1" dirty="0">
                  <a:solidFill>
                    <a:srgbClr val="1F497D"/>
                  </a:solidFill>
                  <a:hlinkClick r:id="rId3"/>
                </a:rPr>
                <a:t>link</a:t>
              </a:r>
              <a:r>
                <a:rPr lang="en-GB" b="1" dirty="0">
                  <a:solidFill>
                    <a:srgbClr val="1F497D"/>
                  </a:solidFill>
                </a:rPr>
                <a:t>)</a:t>
              </a:r>
            </a:p>
          </p:txBody>
        </p:sp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A28253E-A7D5-4915-9385-73BC65DD1D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6811" y="1700809"/>
            <a:ext cx="8229600" cy="1777550"/>
          </a:xfrm>
        </p:spPr>
        <p:txBody>
          <a:bodyPr>
            <a:normAutofit/>
          </a:bodyPr>
          <a:lstStyle/>
          <a:p>
            <a:pPr algn="just"/>
            <a:r>
              <a:rPr lang="en-GB" sz="1600" dirty="0"/>
              <a:t>Article 3: General principles </a:t>
            </a:r>
          </a:p>
          <a:p>
            <a:pPr algn="just"/>
            <a:r>
              <a:rPr lang="en-GB" sz="1600" dirty="0"/>
              <a:t>Article 4: Additional Provisions for the Pricing of Standard RR Balancing Energy Product Bids</a:t>
            </a:r>
          </a:p>
          <a:p>
            <a:pPr algn="just"/>
            <a:endParaRPr lang="en-GB" sz="1600" dirty="0"/>
          </a:p>
          <a:p>
            <a:endParaRPr lang="en-GB" sz="1600" dirty="0"/>
          </a:p>
        </p:txBody>
      </p:sp>
      <p:grpSp>
        <p:nvGrpSpPr>
          <p:cNvPr id="12" name="Group 7">
            <a:extLst>
              <a:ext uri="{FF2B5EF4-FFF2-40B4-BE49-F238E27FC236}">
                <a16:creationId xmlns:a16="http://schemas.microsoft.com/office/drawing/2014/main" id="{35ACF531-2F6A-4698-8960-965350F4AD23}"/>
              </a:ext>
            </a:extLst>
          </p:cNvPr>
          <p:cNvGrpSpPr/>
          <p:nvPr/>
        </p:nvGrpSpPr>
        <p:grpSpPr>
          <a:xfrm>
            <a:off x="286811" y="2780928"/>
            <a:ext cx="7776864" cy="398042"/>
            <a:chOff x="195029" y="1374774"/>
            <a:chExt cx="7776864" cy="398042"/>
          </a:xfrm>
        </p:grpSpPr>
        <p:cxnSp>
          <p:nvCxnSpPr>
            <p:cNvPr id="13" name="Straight Connector 8">
              <a:extLst>
                <a:ext uri="{FF2B5EF4-FFF2-40B4-BE49-F238E27FC236}">
                  <a16:creationId xmlns:a16="http://schemas.microsoft.com/office/drawing/2014/main" id="{2CC883AE-E4A8-458C-9941-54CBBDF51792}"/>
                </a:ext>
              </a:extLst>
            </p:cNvPr>
            <p:cNvCxnSpPr/>
            <p:nvPr/>
          </p:nvCxnSpPr>
          <p:spPr>
            <a:xfrm>
              <a:off x="195029" y="1772816"/>
              <a:ext cx="7776864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A66471C-36B2-497F-83CB-05D842AFC1FE}"/>
                </a:ext>
              </a:extLst>
            </p:cNvPr>
            <p:cNvSpPr/>
            <p:nvPr/>
          </p:nvSpPr>
          <p:spPr>
            <a:xfrm>
              <a:off x="195029" y="1374774"/>
              <a:ext cx="4501213" cy="3616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b="1" dirty="0">
                  <a:solidFill>
                    <a:srgbClr val="1F497D"/>
                  </a:solidFill>
                </a:rPr>
                <a:t>TSO-TSO settlement proposal (</a:t>
              </a:r>
              <a:r>
                <a:rPr lang="en-GB" b="1" dirty="0">
                  <a:solidFill>
                    <a:srgbClr val="1F497D"/>
                  </a:solidFill>
                  <a:hlinkClick r:id="rId4"/>
                </a:rPr>
                <a:t>link</a:t>
              </a:r>
              <a:r>
                <a:rPr lang="en-GB" b="1" dirty="0">
                  <a:solidFill>
                    <a:srgbClr val="1F497D"/>
                  </a:solidFill>
                </a:rPr>
                <a:t>)</a:t>
              </a:r>
            </a:p>
          </p:txBody>
        </p:sp>
      </p:grp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7CD7D42-F0E7-459D-947B-F7F86B3A6155}"/>
              </a:ext>
            </a:extLst>
          </p:cNvPr>
          <p:cNvSpPr txBox="1">
            <a:spLocks/>
          </p:cNvSpPr>
          <p:nvPr/>
        </p:nvSpPr>
        <p:spPr>
          <a:xfrm>
            <a:off x="302840" y="2852936"/>
            <a:ext cx="8229600" cy="1777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endParaRPr lang="en-GB" sz="1600" dirty="0"/>
          </a:p>
          <a:p>
            <a:endParaRPr lang="en-GB" sz="1600" dirty="0"/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4FCB987E-80F6-4807-A42A-BCA60AEE6852}"/>
              </a:ext>
            </a:extLst>
          </p:cNvPr>
          <p:cNvSpPr/>
          <p:nvPr/>
        </p:nvSpPr>
        <p:spPr>
          <a:xfrm>
            <a:off x="464503" y="3354426"/>
            <a:ext cx="8083966" cy="16384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ticle 6: Settlement of the intended balancing energy activated for system constraints purposes</a:t>
            </a:r>
          </a:p>
          <a:p>
            <a:pPr algn="just">
              <a:spcBef>
                <a:spcPct val="20000"/>
              </a:spcBef>
              <a:buClr>
                <a:schemeClr val="tx2"/>
              </a:buClr>
            </a:pPr>
            <a:r>
              <a:rPr lang="en-GB" sz="1600" dirty="0"/>
              <a:t>When TERRE goes live, to simplify the calculation, the extra cost due to constraint will be equally paid by the TSOs who evoke the request. In a later stage it will be divided proportionally to the sum of the differences between the flow from CC run and UC run on each interconnector 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42E7C878-40CB-4933-A205-101677442D7C}"/>
              </a:ext>
            </a:extLst>
          </p:cNvPr>
          <p:cNvSpPr/>
          <p:nvPr/>
        </p:nvSpPr>
        <p:spPr>
          <a:xfrm>
            <a:off x="457200" y="5231957"/>
            <a:ext cx="8083966" cy="10053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ct val="20000"/>
              </a:spcBef>
              <a:buClr>
                <a:schemeClr val="tx2"/>
              </a:buClr>
            </a:pPr>
            <a:r>
              <a:rPr lang="en-GB" sz="1600" dirty="0"/>
              <a:t>These rules will be implemented for TERRE go live but may change in the future because the proposals are still not validated by ACER</a:t>
            </a:r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613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CBA9C-3313-448C-9E65-11E456116ACB}" type="datetime1">
              <a:rPr lang="fr-FR" smtClean="0"/>
              <a:t>24/06/2019</a:t>
            </a:fld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opic 3: Algorithm Optimisation Function description-part 1 </a:t>
            </a:r>
          </a:p>
        </p:txBody>
      </p:sp>
    </p:spTree>
    <p:extLst>
      <p:ext uri="{BB962C8B-B14F-4D97-AF65-F5344CB8AC3E}">
        <p14:creationId xmlns:p14="http://schemas.microsoft.com/office/powerpoint/2010/main" val="17068509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. Algorithm Optimisation Function description-part 2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512340"/>
            <a:ext cx="8229600" cy="5085012"/>
          </a:xfrm>
        </p:spPr>
        <p:txBody>
          <a:bodyPr>
            <a:normAutofit/>
          </a:bodyPr>
          <a:lstStyle/>
          <a:p>
            <a:r>
              <a:rPr lang="en-GB" sz="2000" dirty="0"/>
              <a:t>The existing implemented solution in LIBRA allows counter-activations but as agreed in the RRIF, TERRE will monitor counter-activations during the first year of operation and the project is working on solutions to limit them </a:t>
            </a:r>
          </a:p>
          <a:p>
            <a:endParaRPr lang="en-GB" sz="2000" dirty="0"/>
          </a:p>
          <a:p>
            <a:pPr marL="0" indent="0">
              <a:buNone/>
            </a:pPr>
            <a:endParaRPr lang="en-GB" sz="2000" dirty="0"/>
          </a:p>
          <a:p>
            <a:r>
              <a:rPr lang="en-US" sz="2000" dirty="0"/>
              <a:t>Potential prevention of counter-activations:</a:t>
            </a:r>
          </a:p>
          <a:p>
            <a:pPr lvl="1"/>
            <a:r>
              <a:rPr lang="en-US" sz="1600" dirty="0"/>
              <a:t>Theoretical formulation</a:t>
            </a:r>
          </a:p>
          <a:p>
            <a:pPr lvl="1"/>
            <a:r>
              <a:rPr lang="en-US" sz="1600" dirty="0"/>
              <a:t>Implementation has not yet been done </a:t>
            </a:r>
          </a:p>
          <a:p>
            <a:pPr lvl="1"/>
            <a:r>
              <a:rPr lang="en-US" sz="1600" dirty="0"/>
              <a:t>Not possible to conclude if this option can return a feasible solution within the specified time limit </a:t>
            </a:r>
            <a:endParaRPr lang="en-GB" sz="16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23528" y="1068905"/>
            <a:ext cx="8496944" cy="360362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Existing solution</a:t>
            </a:r>
          </a:p>
        </p:txBody>
      </p:sp>
      <p:sp>
        <p:nvSpPr>
          <p:cNvPr id="9" name="Textplatzhalter 5"/>
          <p:cNvSpPr txBox="1">
            <a:spLocks/>
          </p:cNvSpPr>
          <p:nvPr/>
        </p:nvSpPr>
        <p:spPr>
          <a:xfrm>
            <a:off x="323528" y="3029498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2"/>
                </a:solidFill>
              </a:rPr>
              <a:t>Proposal for minimizing counter-activations</a:t>
            </a:r>
          </a:p>
        </p:txBody>
      </p:sp>
      <p:cxnSp>
        <p:nvCxnSpPr>
          <p:cNvPr id="10" name="Gerade Verbindung 9"/>
          <p:cNvCxnSpPr/>
          <p:nvPr/>
        </p:nvCxnSpPr>
        <p:spPr>
          <a:xfrm>
            <a:off x="323528" y="3429000"/>
            <a:ext cx="84969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607506DA-C6B0-4E6F-8422-49A21BF37662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ptimization Algorithm – Counter-activations’ treatment</a:t>
            </a:r>
          </a:p>
        </p:txBody>
      </p:sp>
    </p:spTree>
    <p:extLst>
      <p:ext uri="{BB962C8B-B14F-4D97-AF65-F5344CB8AC3E}">
        <p14:creationId xmlns:p14="http://schemas.microsoft.com/office/powerpoint/2010/main" val="1649669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3" name="Objek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1B08-4580-48F3-B1CA-82F8A9B9E531}" type="datetime1">
              <a:rPr lang="fr-FR" smtClean="0"/>
              <a:t>24/06/2019</a:t>
            </a:fld>
            <a:endParaRPr lang="fr-FR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6A39B-2923-4814-8F57-BD84643AD2B4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23528" y="1052736"/>
            <a:ext cx="8496944" cy="360362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Splitting of needs and bids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2036214" y="1841465"/>
            <a:ext cx="7761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eed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6140670" y="1833877"/>
            <a:ext cx="574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ids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39552" y="2771636"/>
            <a:ext cx="1498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00B050"/>
                </a:solidFill>
              </a:rPr>
              <a:t>Need-to-need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2798353" y="2771636"/>
            <a:ext cx="13415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00B050"/>
                </a:solidFill>
              </a:rPr>
              <a:t>Need-to-bid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599187" y="2771636"/>
            <a:ext cx="1314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00B050"/>
                </a:solidFill>
              </a:rPr>
              <a:t>Bid-to-need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052364" y="2780928"/>
            <a:ext cx="1139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Bid-to-bid</a:t>
            </a:r>
          </a:p>
        </p:txBody>
      </p:sp>
      <p:sp>
        <p:nvSpPr>
          <p:cNvPr id="24" name="Textplatzhalter 5"/>
          <p:cNvSpPr txBox="1">
            <a:spLocks/>
          </p:cNvSpPr>
          <p:nvPr/>
        </p:nvSpPr>
        <p:spPr>
          <a:xfrm>
            <a:off x="323528" y="3523657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tx2"/>
                </a:solidFill>
              </a:rPr>
              <a:t>Objective function</a:t>
            </a:r>
          </a:p>
        </p:txBody>
      </p:sp>
      <p:cxnSp>
        <p:nvCxnSpPr>
          <p:cNvPr id="26" name="Gerade Verbindung 25"/>
          <p:cNvCxnSpPr/>
          <p:nvPr/>
        </p:nvCxnSpPr>
        <p:spPr>
          <a:xfrm>
            <a:off x="323528" y="3956027"/>
            <a:ext cx="849694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6"/>
          <p:cNvSpPr/>
          <p:nvPr/>
        </p:nvSpPr>
        <p:spPr>
          <a:xfrm>
            <a:off x="5844009" y="1845034"/>
            <a:ext cx="1167517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hteck 27"/>
          <p:cNvSpPr/>
          <p:nvPr/>
        </p:nvSpPr>
        <p:spPr>
          <a:xfrm>
            <a:off x="1856549" y="1856250"/>
            <a:ext cx="1167517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hteck 28"/>
          <p:cNvSpPr/>
          <p:nvPr/>
        </p:nvSpPr>
        <p:spPr>
          <a:xfrm>
            <a:off x="539552" y="2779240"/>
            <a:ext cx="1496662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hteck 31"/>
          <p:cNvSpPr/>
          <p:nvPr/>
        </p:nvSpPr>
        <p:spPr>
          <a:xfrm>
            <a:off x="2771800" y="2763249"/>
            <a:ext cx="1368152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6" name="Gerade Verbindung mit Pfeil 35"/>
          <p:cNvCxnSpPr>
            <a:cxnSpLocks/>
            <a:stCxn id="28" idx="2"/>
          </p:cNvCxnSpPr>
          <p:nvPr/>
        </p:nvCxnSpPr>
        <p:spPr>
          <a:xfrm flipH="1">
            <a:off x="1287883" y="2225582"/>
            <a:ext cx="1152425" cy="53194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>
            <a:cxnSpLocks/>
            <a:stCxn id="28" idx="2"/>
            <a:endCxn id="32" idx="0"/>
          </p:cNvCxnSpPr>
          <p:nvPr/>
        </p:nvCxnSpPr>
        <p:spPr>
          <a:xfrm>
            <a:off x="2440308" y="2225582"/>
            <a:ext cx="1015568" cy="537667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/>
          <p:cNvSpPr/>
          <p:nvPr/>
        </p:nvSpPr>
        <p:spPr>
          <a:xfrm>
            <a:off x="4572000" y="2771636"/>
            <a:ext cx="1368517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hteck 40"/>
          <p:cNvSpPr/>
          <p:nvPr/>
        </p:nvSpPr>
        <p:spPr>
          <a:xfrm>
            <a:off x="6927393" y="2780928"/>
            <a:ext cx="1368517" cy="3693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42" name="Gerade Verbindung mit Pfeil 41"/>
          <p:cNvCxnSpPr>
            <a:cxnSpLocks/>
            <a:stCxn id="27" idx="2"/>
          </p:cNvCxnSpPr>
          <p:nvPr/>
        </p:nvCxnSpPr>
        <p:spPr>
          <a:xfrm flipH="1">
            <a:off x="5256259" y="2214366"/>
            <a:ext cx="1171509" cy="54316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cxnSpLocks/>
            <a:stCxn id="27" idx="2"/>
            <a:endCxn id="12" idx="0"/>
          </p:cNvCxnSpPr>
          <p:nvPr/>
        </p:nvCxnSpPr>
        <p:spPr>
          <a:xfrm>
            <a:off x="6427768" y="2214366"/>
            <a:ext cx="1194303" cy="566562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>
          <a:xfrm>
            <a:off x="323528" y="4203409"/>
            <a:ext cx="7404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Maximize</a:t>
            </a:r>
            <a:r>
              <a:rPr lang="en-GB" dirty="0"/>
              <a:t>: Need satisfaction + </a:t>
            </a:r>
            <a:r>
              <a:rPr lang="en-GB" b="1" dirty="0">
                <a:solidFill>
                  <a:srgbClr val="00B050"/>
                </a:solidFill>
              </a:rPr>
              <a:t>Need matching surplus </a:t>
            </a:r>
            <a:r>
              <a:rPr lang="en-GB" dirty="0"/>
              <a:t>– </a:t>
            </a:r>
            <a:r>
              <a:rPr lang="en-GB" b="1" dirty="0">
                <a:solidFill>
                  <a:srgbClr val="FF0000"/>
                </a:solidFill>
              </a:rPr>
              <a:t>Counter activations</a:t>
            </a:r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E7BA40A3-FD1E-46E8-B097-11DBBCB84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70334"/>
            <a:ext cx="8496944" cy="492471"/>
          </a:xfrm>
        </p:spPr>
        <p:txBody>
          <a:bodyPr/>
          <a:lstStyle/>
          <a:p>
            <a:r>
              <a:rPr lang="en-GB" dirty="0"/>
              <a:t>3. Algorithm Optimisation Function description-part 2</a:t>
            </a:r>
          </a:p>
        </p:txBody>
      </p:sp>
      <p:sp>
        <p:nvSpPr>
          <p:cNvPr id="31" name="Textplatzhalter 5">
            <a:extLst>
              <a:ext uri="{FF2B5EF4-FFF2-40B4-BE49-F238E27FC236}">
                <a16:creationId xmlns:a16="http://schemas.microsoft.com/office/drawing/2014/main" id="{17EEBB06-F0CE-4153-902E-8800E705B33B}"/>
              </a:ext>
            </a:extLst>
          </p:cNvPr>
          <p:cNvSpPr txBox="1">
            <a:spLocks/>
          </p:cNvSpPr>
          <p:nvPr/>
        </p:nvSpPr>
        <p:spPr>
          <a:xfrm>
            <a:off x="323528" y="620366"/>
            <a:ext cx="8496944" cy="3603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Optimization Algorithm – Counter-activations’ treatment</a:t>
            </a:r>
          </a:p>
        </p:txBody>
      </p:sp>
    </p:spTree>
    <p:extLst>
      <p:ext uri="{BB962C8B-B14F-4D97-AF65-F5344CB8AC3E}">
        <p14:creationId xmlns:p14="http://schemas.microsoft.com/office/powerpoint/2010/main" val="1169894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Pm8VJRSziYaXDSFM85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RUtXq_T7S8J2C69sR4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RUtXq_T7S8J2C69sR4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RUtXq_T7S8J2C69sR4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RUtXq_T7S8J2C69sR4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IVrKUqQtaiboj6UImj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Pm8VJRSziYaXDSFM85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DDFD41AEF010449D0D055600B60DC5" ma:contentTypeVersion="1" ma:contentTypeDescription="Create a new document." ma:contentTypeScope="" ma:versionID="ef287326ae33b33fea4a2afc557ee891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A1ABF33-A6D7-43E5-A11C-F26F64E6942A}"/>
</file>

<file path=customXml/itemProps2.xml><?xml version="1.0" encoding="utf-8"?>
<ds:datastoreItem xmlns:ds="http://schemas.openxmlformats.org/officeDocument/2006/customXml" ds:itemID="{3B0FD0FE-9176-454C-ACF8-66CF2DD5E47B}"/>
</file>

<file path=customXml/itemProps3.xml><?xml version="1.0" encoding="utf-8"?>
<ds:datastoreItem xmlns:ds="http://schemas.openxmlformats.org/officeDocument/2006/customXml" ds:itemID="{CE6E15AC-FBA3-4C94-A66D-633724841B1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6</TotalTime>
  <Words>1344</Words>
  <Application>Microsoft Office PowerPoint</Application>
  <PresentationFormat>On-screen Show (4:3)</PresentationFormat>
  <Paragraphs>352</Paragraphs>
  <Slides>2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MS PGothic</vt:lpstr>
      <vt:lpstr>MS PGothic</vt:lpstr>
      <vt:lpstr>Arial</vt:lpstr>
      <vt:lpstr>Calibri</vt:lpstr>
      <vt:lpstr>Calibri Light</vt:lpstr>
      <vt:lpstr>Century Gothic</vt:lpstr>
      <vt:lpstr>Wingdings</vt:lpstr>
      <vt:lpstr>Thème Office</vt:lpstr>
      <vt:lpstr>Conception personnalisée</vt:lpstr>
      <vt:lpstr>1_Conception personnalisée</vt:lpstr>
      <vt:lpstr>think-cell Folie</vt:lpstr>
      <vt:lpstr>TERRE  Trans European Replacement Reserves Exchange</vt:lpstr>
      <vt:lpstr>Topic 1: Introduction from TSOs and NRAs</vt:lpstr>
      <vt:lpstr>1. Introduction </vt:lpstr>
      <vt:lpstr>1. Introduction </vt:lpstr>
      <vt:lpstr>Topic 2: RR pricing and TSO-TSO settlement rules applied for the RR Platform Go-Live</vt:lpstr>
      <vt:lpstr>2. RR pricing and TSO-TSO settlement rules applied for the RR Platform Go-Live</vt:lpstr>
      <vt:lpstr>Topic 3: Algorithm Optimisation Function description-part 1 </vt:lpstr>
      <vt:lpstr>3. Algorithm Optimisation Function description-part 2</vt:lpstr>
      <vt:lpstr>3. Algorithm Optimisation Function description-part 2</vt:lpstr>
      <vt:lpstr>3. Algorithm Optimisation Function description-part 2</vt:lpstr>
      <vt:lpstr>3. Algorithm Optimisation Function description-part 2</vt:lpstr>
      <vt:lpstr>Topic 4: RR process timing </vt:lpstr>
      <vt:lpstr>4. RR process timing </vt:lpstr>
      <vt:lpstr>Topic 5: Parallel Run phase, BSP involvement and planning for Go-Live(s) </vt:lpstr>
      <vt:lpstr>5. Parallel Run phase, BSP involvement and planning for Go-Live(s)</vt:lpstr>
      <vt:lpstr>5. Parallel Run phase, BSP involvement and planning for Go-Live(s)</vt:lpstr>
      <vt:lpstr>5. Parallel Run phase, BSP involvement and planning for Go-Live(s)</vt:lpstr>
      <vt:lpstr>5. Parallel Run phase, BSP involvement and planning for Go-Live(s)</vt:lpstr>
      <vt:lpstr>5. Parallel Run phase, BSP involvement and planning for Go-Live(s)</vt:lpstr>
      <vt:lpstr>5. Parallel Run phase, BSP involvement and planning for Go-Live(s)</vt:lpstr>
      <vt:lpstr>Topic 6: Transparency and publication </vt:lpstr>
      <vt:lpstr>6. Transparency and publication </vt:lpstr>
      <vt:lpstr>6. Transparency and publication </vt:lpstr>
      <vt:lpstr>Topic 7: Q&amp;A </vt:lpstr>
      <vt:lpstr>Thanks!</vt:lpstr>
    </vt:vector>
  </TitlesOfParts>
  <Company>R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ENTSO-E</dc:creator>
  <cp:lastModifiedBy>Alexander Dusolt</cp:lastModifiedBy>
  <cp:revision>2106</cp:revision>
  <cp:lastPrinted>2016-07-26T07:12:08Z</cp:lastPrinted>
  <dcterms:created xsi:type="dcterms:W3CDTF">2015-03-04T15:02:46Z</dcterms:created>
  <dcterms:modified xsi:type="dcterms:W3CDTF">2019-06-24T12:3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DDFD41AEF010449D0D055600B60DC5</vt:lpwstr>
  </property>
</Properties>
</file>